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19"/>
  </p:notesMasterIdLst>
  <p:sldIdLst>
    <p:sldId id="283" r:id="rId2"/>
    <p:sldId id="259" r:id="rId3"/>
    <p:sldId id="260" r:id="rId4"/>
    <p:sldId id="284" r:id="rId5"/>
    <p:sldId id="275" r:id="rId6"/>
    <p:sldId id="276" r:id="rId7"/>
    <p:sldId id="262" r:id="rId8"/>
    <p:sldId id="285" r:id="rId9"/>
    <p:sldId id="264" r:id="rId10"/>
    <p:sldId id="270" r:id="rId11"/>
    <p:sldId id="278" r:id="rId12"/>
    <p:sldId id="280" r:id="rId13"/>
    <p:sldId id="272" r:id="rId14"/>
    <p:sldId id="273" r:id="rId15"/>
    <p:sldId id="266" r:id="rId16"/>
    <p:sldId id="274" r:id="rId17"/>
    <p:sldId id="282" r:id="rId1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3" autoAdjust="0"/>
    <p:restoredTop sz="94660"/>
  </p:normalViewPr>
  <p:slideViewPr>
    <p:cSldViewPr snapToGrid="0">
      <p:cViewPr varScale="1">
        <p:scale>
          <a:sx n="73" d="100"/>
          <a:sy n="73" d="100"/>
        </p:scale>
        <p:origin x="618"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855161F-6E0E-413C-8170-74487B620ABB}" type="datetimeFigureOut">
              <a:rPr lang="en-GB" smtClean="0"/>
              <a:t>13/03/2019</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54D810-064E-418E-9252-6C2CFEBB09B0}" type="slidenum">
              <a:rPr lang="en-GB" smtClean="0"/>
              <a:t>‹#›</a:t>
            </a:fld>
            <a:endParaRPr lang="en-GB"/>
          </a:p>
        </p:txBody>
      </p:sp>
    </p:spTree>
    <p:extLst>
      <p:ext uri="{BB962C8B-B14F-4D97-AF65-F5344CB8AC3E}">
        <p14:creationId xmlns:p14="http://schemas.microsoft.com/office/powerpoint/2010/main" val="24451961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b="1">
                <a:solidFill>
                  <a:schemeClr val="tx1"/>
                </a:solidFill>
                <a:latin typeface="Arial" charset="0"/>
              </a:defRPr>
            </a:lvl1pPr>
            <a:lvl2pPr marL="742950" indent="-285750" eaLnBrk="0" hangingPunct="0">
              <a:defRPr sz="1500" b="1">
                <a:solidFill>
                  <a:schemeClr val="tx1"/>
                </a:solidFill>
                <a:latin typeface="Arial" charset="0"/>
              </a:defRPr>
            </a:lvl2pPr>
            <a:lvl3pPr marL="1143000" indent="-228600" eaLnBrk="0" hangingPunct="0">
              <a:defRPr sz="1500" b="1">
                <a:solidFill>
                  <a:schemeClr val="tx1"/>
                </a:solidFill>
                <a:latin typeface="Arial" charset="0"/>
              </a:defRPr>
            </a:lvl3pPr>
            <a:lvl4pPr marL="1600200" indent="-228600" eaLnBrk="0" hangingPunct="0">
              <a:defRPr sz="1500" b="1">
                <a:solidFill>
                  <a:schemeClr val="tx1"/>
                </a:solidFill>
                <a:latin typeface="Arial" charset="0"/>
              </a:defRPr>
            </a:lvl4pPr>
            <a:lvl5pPr marL="2057400" indent="-228600" eaLnBrk="0" hangingPunct="0">
              <a:defRPr sz="1500" b="1">
                <a:solidFill>
                  <a:schemeClr val="tx1"/>
                </a:solidFill>
                <a:latin typeface="Arial" charset="0"/>
              </a:defRPr>
            </a:lvl5pPr>
            <a:lvl6pPr marL="2514600" indent="-228600" eaLnBrk="0" fontAlgn="base" hangingPunct="0">
              <a:spcBef>
                <a:spcPct val="0"/>
              </a:spcBef>
              <a:spcAft>
                <a:spcPct val="0"/>
              </a:spcAft>
              <a:defRPr sz="1500" b="1">
                <a:solidFill>
                  <a:schemeClr val="tx1"/>
                </a:solidFill>
                <a:latin typeface="Arial" charset="0"/>
              </a:defRPr>
            </a:lvl6pPr>
            <a:lvl7pPr marL="2971800" indent="-228600" eaLnBrk="0" fontAlgn="base" hangingPunct="0">
              <a:spcBef>
                <a:spcPct val="0"/>
              </a:spcBef>
              <a:spcAft>
                <a:spcPct val="0"/>
              </a:spcAft>
              <a:defRPr sz="1500" b="1">
                <a:solidFill>
                  <a:schemeClr val="tx1"/>
                </a:solidFill>
                <a:latin typeface="Arial" charset="0"/>
              </a:defRPr>
            </a:lvl7pPr>
            <a:lvl8pPr marL="3429000" indent="-228600" eaLnBrk="0" fontAlgn="base" hangingPunct="0">
              <a:spcBef>
                <a:spcPct val="0"/>
              </a:spcBef>
              <a:spcAft>
                <a:spcPct val="0"/>
              </a:spcAft>
              <a:defRPr sz="1500" b="1">
                <a:solidFill>
                  <a:schemeClr val="tx1"/>
                </a:solidFill>
                <a:latin typeface="Arial" charset="0"/>
              </a:defRPr>
            </a:lvl8pPr>
            <a:lvl9pPr marL="3886200" indent="-228600" eaLnBrk="0" fontAlgn="base" hangingPunct="0">
              <a:spcBef>
                <a:spcPct val="0"/>
              </a:spcBef>
              <a:spcAft>
                <a:spcPct val="0"/>
              </a:spcAft>
              <a:defRPr sz="1500" b="1">
                <a:solidFill>
                  <a:schemeClr val="tx1"/>
                </a:solidFill>
                <a:latin typeface="Arial" charset="0"/>
              </a:defRPr>
            </a:lvl9pPr>
          </a:lstStyle>
          <a:p>
            <a:pPr eaLnBrk="1" hangingPunct="1"/>
            <a:fld id="{FB85EC47-B4E1-4673-AA38-1A29277A6FD7}" type="slidenum">
              <a:rPr lang="en-GB" sz="1200" b="0">
                <a:solidFill>
                  <a:srgbClr val="000000"/>
                </a:solidFill>
              </a:rPr>
              <a:pPr eaLnBrk="1" hangingPunct="1"/>
              <a:t>5</a:t>
            </a:fld>
            <a:endParaRPr lang="en-GB" sz="1200" b="0">
              <a:solidFill>
                <a:srgbClr val="000000"/>
              </a:solidFill>
            </a:endParaRPr>
          </a:p>
        </p:txBody>
      </p:sp>
      <p:sp>
        <p:nvSpPr>
          <p:cNvPr id="180227" name="Rectangle 2"/>
          <p:cNvSpPr>
            <a:spLocks noGrp="1" noRot="1" noChangeAspect="1" noChangeArrowheads="1" noTextEdit="1"/>
          </p:cNvSpPr>
          <p:nvPr>
            <p:ph type="sldImg"/>
          </p:nvPr>
        </p:nvSpPr>
        <p:spPr>
          <a:ln/>
        </p:spPr>
      </p:sp>
      <p:sp>
        <p:nvSpPr>
          <p:cNvPr id="180228" name="Rectangle 3"/>
          <p:cNvSpPr>
            <a:spLocks noGrp="1" noChangeArrowheads="1"/>
          </p:cNvSpPr>
          <p:nvPr>
            <p:ph type="body" idx="1"/>
          </p:nvPr>
        </p:nvSpPr>
        <p:spPr>
          <a:xfrm>
            <a:off x="554151" y="4914134"/>
            <a:ext cx="5845796" cy="22677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smtClean="0"/>
          </a:p>
        </p:txBody>
      </p:sp>
    </p:spTree>
    <p:extLst>
      <p:ext uri="{BB962C8B-B14F-4D97-AF65-F5344CB8AC3E}">
        <p14:creationId xmlns:p14="http://schemas.microsoft.com/office/powerpoint/2010/main" val="4338003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7" name="Picture 6" descr="HD-PanelTitle-GrommetsCombine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ctrTitle"/>
          </p:nvPr>
        </p:nvSpPr>
        <p:spPr>
          <a:xfrm>
            <a:off x="2692398" y="1871131"/>
            <a:ext cx="6815669" cy="1515533"/>
          </a:xfrm>
        </p:spPr>
        <p:txBody>
          <a:bodyPr anchor="b">
            <a:noAutofit/>
          </a:bodyPr>
          <a:lstStyle>
            <a:lvl1pPr algn="ctr">
              <a:defRPr sz="5400">
                <a:effectLst/>
              </a:defRPr>
            </a:lvl1pPr>
          </a:lstStyle>
          <a:p>
            <a:r>
              <a:rPr lang="en-US" smtClean="0"/>
              <a:t>Click to edit Master title style</a:t>
            </a:r>
            <a:endParaRPr lang="en-US" dirty="0"/>
          </a:p>
        </p:txBody>
      </p:sp>
      <p:sp>
        <p:nvSpPr>
          <p:cNvPr id="3" name="Subtitle 2"/>
          <p:cNvSpPr>
            <a:spLocks noGrp="1"/>
          </p:cNvSpPr>
          <p:nvPr>
            <p:ph type="subTitle" idx="1"/>
          </p:nvPr>
        </p:nvSpPr>
        <p:spPr>
          <a:xfrm>
            <a:off x="2692398" y="3657597"/>
            <a:ext cx="6815669" cy="1320802"/>
          </a:xfrm>
        </p:spPr>
        <p:txBody>
          <a:bodyPr anchor="t">
            <a:normAutofit/>
          </a:bodyPr>
          <a:lstStyle>
            <a:lvl1pPr marL="0" indent="0" algn="ctr">
              <a:buNone/>
              <a:defRPr sz="21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a:off x="7983232" y="5037663"/>
            <a:ext cx="897467" cy="279400"/>
          </a:xfrm>
        </p:spPr>
        <p:txBody>
          <a:bodyPr/>
          <a:lstStyle/>
          <a:p>
            <a:fld id="{B61BEF0D-F0BB-DE4B-95CE-6DB70DBA9567}" type="datetimeFigureOut">
              <a:rPr lang="en-US" dirty="0"/>
              <a:pPr/>
              <a:t>3/13/2019</a:t>
            </a:fld>
            <a:endParaRPr lang="en-US" dirty="0"/>
          </a:p>
        </p:txBody>
      </p:sp>
      <p:sp>
        <p:nvSpPr>
          <p:cNvPr id="5" name="Footer Placeholder 4"/>
          <p:cNvSpPr>
            <a:spLocks noGrp="1"/>
          </p:cNvSpPr>
          <p:nvPr>
            <p:ph type="ftr" sz="quarter" idx="11"/>
          </p:nvPr>
        </p:nvSpPr>
        <p:spPr>
          <a:xfrm>
            <a:off x="2692397" y="5037663"/>
            <a:ext cx="5214635" cy="279400"/>
          </a:xfrm>
        </p:spPr>
        <p:txBody>
          <a:bodyPr/>
          <a:lstStyle/>
          <a:p>
            <a:endParaRPr lang="en-US" dirty="0"/>
          </a:p>
        </p:txBody>
      </p:sp>
      <p:sp>
        <p:nvSpPr>
          <p:cNvPr id="6" name="Slide Number Placeholder 5"/>
          <p:cNvSpPr>
            <a:spLocks noGrp="1"/>
          </p:cNvSpPr>
          <p:nvPr>
            <p:ph type="sldNum" sz="quarter" idx="12"/>
          </p:nvPr>
        </p:nvSpPr>
        <p:spPr>
          <a:xfrm>
            <a:off x="8956900" y="5037663"/>
            <a:ext cx="551167" cy="279400"/>
          </a:xfrm>
        </p:spPr>
        <p:txBody>
          <a:bodyPr/>
          <a:lstStyle/>
          <a:p>
            <a:fld id="{D57F1E4F-1CFF-5643-939E-217C01CDF565}" type="slidenum">
              <a:rPr lang="en-US" dirty="0"/>
              <a:pPr/>
              <a:t>‹#›</a:t>
            </a:fld>
            <a:endParaRPr lang="en-US" dirty="0"/>
          </a:p>
        </p:txBody>
      </p:sp>
      <p:cxnSp>
        <p:nvCxnSpPr>
          <p:cNvPr id="15" name="Straight Connector 14"/>
          <p:cNvCxnSpPr/>
          <p:nvPr/>
        </p:nvCxnSpPr>
        <p:spPr>
          <a:xfrm>
            <a:off x="2692399" y="3522131"/>
            <a:ext cx="6815668" cy="0"/>
          </a:xfrm>
          <a:prstGeom prst="line">
            <a:avLst/>
          </a:prstGeom>
          <a:ln>
            <a:solidFill>
              <a:schemeClr val="accent1">
                <a:lumMod val="60000"/>
                <a:lumOff val="40000"/>
              </a:schemeClr>
            </a:solidFill>
          </a:ln>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95401" y="4815415"/>
            <a:ext cx="9609666" cy="566738"/>
          </a:xfrm>
        </p:spPr>
        <p:txBody>
          <a:bodyPr anchor="b">
            <a:normAutofit/>
          </a:bodyPr>
          <a:lstStyle>
            <a:lvl1pPr algn="ctr">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1041427" y="1041399"/>
            <a:ext cx="10105972" cy="3335869"/>
          </a:xfrm>
          <a:prstGeom prst="roundRect">
            <a:avLst>
              <a:gd name="adj" fmla="val 0"/>
            </a:avLst>
          </a:prstGeom>
          <a:ln w="57150" cmpd="thickThin">
            <a:solidFill>
              <a:schemeClr val="tx1">
                <a:lumMod val="50000"/>
                <a:lumOff val="50000"/>
              </a:schemeClr>
            </a:solidFill>
            <a:miter lim="800000"/>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1295401" y="5382153"/>
            <a:ext cx="9609666" cy="493712"/>
          </a:xfrm>
        </p:spPr>
        <p:txBody>
          <a:bodyPr>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3/13/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303868" y="982132"/>
            <a:ext cx="9592732" cy="2954868"/>
          </a:xfrm>
        </p:spPr>
        <p:txBody>
          <a:bodyPr anchor="ctr">
            <a:normAutofit/>
          </a:bodyPr>
          <a:lstStyle>
            <a:lvl1pPr algn="ctr">
              <a:defRPr sz="32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1303868" y="4343399"/>
            <a:ext cx="9592732" cy="1532467"/>
          </a:xfrm>
        </p:spPr>
        <p:txBody>
          <a:bodyPr anchor="ctr">
            <a:normAutofit/>
          </a:bodyPr>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13/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cxnSp>
        <p:nvCxnSpPr>
          <p:cNvPr id="15" name="Straight Connector 14"/>
          <p:cNvCxnSpPr/>
          <p:nvPr/>
        </p:nvCxnSpPr>
        <p:spPr>
          <a:xfrm>
            <a:off x="1396169" y="4140199"/>
            <a:ext cx="9407298" cy="0"/>
          </a:xfrm>
          <a:prstGeom prst="line">
            <a:avLst/>
          </a:prstGeom>
          <a:ln w="15875">
            <a:solidFill>
              <a:schemeClr val="accent1">
                <a:lumMod val="60000"/>
                <a:lumOff val="40000"/>
              </a:schemeClr>
            </a:solidFill>
          </a:ln>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3" y="982132"/>
            <a:ext cx="9296398" cy="2370668"/>
          </a:xfrm>
        </p:spPr>
        <p:txBody>
          <a:bodyPr anchor="ctr">
            <a:normAutofit/>
          </a:bodyPr>
          <a:lstStyle>
            <a:lvl1pPr algn="ctr">
              <a:defRPr sz="3200" b="0" cap="none">
                <a:solidFill>
                  <a:schemeClr val="tx1"/>
                </a:solidFill>
              </a:defRPr>
            </a:lvl1pPr>
          </a:lstStyle>
          <a:p>
            <a:r>
              <a:rPr lang="en-US" smtClean="0"/>
              <a:t>Click to edit Master title style</a:t>
            </a:r>
            <a:endParaRPr lang="en-US" dirty="0"/>
          </a:p>
        </p:txBody>
      </p:sp>
      <p:sp>
        <p:nvSpPr>
          <p:cNvPr id="10" name="Text Placeholder 9"/>
          <p:cNvSpPr>
            <a:spLocks noGrp="1"/>
          </p:cNvSpPr>
          <p:nvPr>
            <p:ph type="body" sz="quarter" idx="13"/>
          </p:nvPr>
        </p:nvSpPr>
        <p:spPr>
          <a:xfrm>
            <a:off x="1674812" y="3352800"/>
            <a:ext cx="8839202" cy="584200"/>
          </a:xfrm>
        </p:spPr>
        <p:txBody>
          <a:bodyPr anchor="ctr">
            <a:normAutofit/>
          </a:bodyPr>
          <a:lstStyle>
            <a:lvl1pPr marL="0" indent="0" algn="r">
              <a:buFontTx/>
              <a:buNone/>
              <a:defRPr sz="20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1295401" y="4343399"/>
            <a:ext cx="9609666" cy="1532467"/>
          </a:xfrm>
        </p:spPr>
        <p:txBody>
          <a:bodyPr anchor="ctr">
            <a:normAutofit/>
          </a:bodyPr>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13/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14" name="TextBox 13"/>
          <p:cNvSpPr txBox="1"/>
          <p:nvPr/>
        </p:nvSpPr>
        <p:spPr>
          <a:xfrm>
            <a:off x="862013" y="879961"/>
            <a:ext cx="609600"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5" name="TextBox 14"/>
          <p:cNvSpPr txBox="1"/>
          <p:nvPr/>
        </p:nvSpPr>
        <p:spPr>
          <a:xfrm>
            <a:off x="10600267" y="2827870"/>
            <a:ext cx="609600"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cxnSp>
        <p:nvCxnSpPr>
          <p:cNvPr id="19" name="Straight Connector 18"/>
          <p:cNvCxnSpPr/>
          <p:nvPr/>
        </p:nvCxnSpPr>
        <p:spPr>
          <a:xfrm>
            <a:off x="1396169" y="4140199"/>
            <a:ext cx="9407298" cy="0"/>
          </a:xfrm>
          <a:prstGeom prst="line">
            <a:avLst/>
          </a:prstGeom>
          <a:ln w="15875">
            <a:solidFill>
              <a:schemeClr val="accent1">
                <a:lumMod val="60000"/>
                <a:lumOff val="40000"/>
              </a:schemeClr>
            </a:solidFill>
          </a:ln>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295402" y="3308581"/>
            <a:ext cx="9609668" cy="1468800"/>
          </a:xfrm>
        </p:spPr>
        <p:txBody>
          <a:bodyPr anchor="b">
            <a:normAutofit/>
          </a:bodyPr>
          <a:lstStyle>
            <a:lvl1pPr algn="l">
              <a:defRPr sz="32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1295401" y="4777381"/>
            <a:ext cx="9609668" cy="860400"/>
          </a:xfrm>
        </p:spPr>
        <p:txBody>
          <a:bodyPr anchor="t">
            <a:normAutofit/>
          </a:bodyPr>
          <a:lstStyle>
            <a:lvl1pPr marL="0" indent="0" algn="l">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13/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1446213" y="982132"/>
            <a:ext cx="9296398" cy="2243668"/>
          </a:xfrm>
        </p:spPr>
        <p:txBody>
          <a:bodyPr anchor="ctr">
            <a:normAutofit/>
          </a:bodyPr>
          <a:lstStyle>
            <a:lvl1pPr algn="ctr">
              <a:defRPr sz="3200" b="0" cap="none">
                <a:solidFill>
                  <a:schemeClr val="tx1"/>
                </a:solidFill>
              </a:defRPr>
            </a:lvl1pPr>
          </a:lstStyle>
          <a:p>
            <a:r>
              <a:rPr lang="en-US" smtClean="0"/>
              <a:t>Click to edit Master title style</a:t>
            </a:r>
            <a:endParaRPr lang="en-US" dirty="0"/>
          </a:p>
        </p:txBody>
      </p:sp>
      <p:sp>
        <p:nvSpPr>
          <p:cNvPr id="14" name="Text Placeholder 2"/>
          <p:cNvSpPr>
            <a:spLocks noGrp="1"/>
          </p:cNvSpPr>
          <p:nvPr>
            <p:ph type="body" idx="13"/>
          </p:nvPr>
        </p:nvSpPr>
        <p:spPr>
          <a:xfrm>
            <a:off x="1295401" y="3639312"/>
            <a:ext cx="9609668" cy="886968"/>
          </a:xfrm>
        </p:spPr>
        <p:txBody>
          <a:bodyPr anchor="b">
            <a:normAutofit/>
          </a:bodyPr>
          <a:lstStyle>
            <a:lvl1pPr marL="0" indent="0" algn="l">
              <a:spcBef>
                <a:spcPts val="0"/>
              </a:spcBef>
              <a:buNone/>
              <a:defRPr sz="24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3" name="Text Placeholder 2"/>
          <p:cNvSpPr>
            <a:spLocks noGrp="1"/>
          </p:cNvSpPr>
          <p:nvPr>
            <p:ph type="body" idx="1"/>
          </p:nvPr>
        </p:nvSpPr>
        <p:spPr>
          <a:xfrm>
            <a:off x="1295401" y="4529667"/>
            <a:ext cx="9609668" cy="1346200"/>
          </a:xfrm>
        </p:spPr>
        <p:txBody>
          <a:bodyPr anchor="t">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13/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
        <p:nvSpPr>
          <p:cNvPr id="12" name="TextBox 11"/>
          <p:cNvSpPr txBox="1"/>
          <p:nvPr/>
        </p:nvSpPr>
        <p:spPr>
          <a:xfrm>
            <a:off x="862013" y="879961"/>
            <a:ext cx="609600"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3" name="TextBox 12"/>
          <p:cNvSpPr txBox="1"/>
          <p:nvPr/>
        </p:nvSpPr>
        <p:spPr>
          <a:xfrm>
            <a:off x="10600267" y="2599261"/>
            <a:ext cx="609600"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cxnSp>
        <p:nvCxnSpPr>
          <p:cNvPr id="26" name="Straight Connector 25"/>
          <p:cNvCxnSpPr/>
          <p:nvPr/>
        </p:nvCxnSpPr>
        <p:spPr>
          <a:xfrm>
            <a:off x="1396169" y="3429000"/>
            <a:ext cx="9407298" cy="0"/>
          </a:xfrm>
          <a:prstGeom prst="line">
            <a:avLst/>
          </a:prstGeom>
          <a:ln w="15875">
            <a:solidFill>
              <a:schemeClr val="accent1">
                <a:lumMod val="60000"/>
                <a:lumOff val="40000"/>
              </a:schemeClr>
            </a:solidFill>
          </a:ln>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1295401" y="982132"/>
            <a:ext cx="9609666" cy="2243668"/>
          </a:xfrm>
        </p:spPr>
        <p:txBody>
          <a:bodyPr vert="horz" lIns="91440" tIns="45720" rIns="91440" bIns="45720" rtlCol="0" anchor="ctr">
            <a:normAutofit/>
          </a:bodyPr>
          <a:lstStyle>
            <a:lvl1pPr>
              <a:defRPr lang="en-US" b="0" dirty="0"/>
            </a:lvl1pPr>
          </a:lstStyle>
          <a:p>
            <a:pPr marL="0" lvl="0"/>
            <a:r>
              <a:rPr lang="en-US" smtClean="0"/>
              <a:t>Click to edit Master title style</a:t>
            </a:r>
            <a:endParaRPr lang="en-US" dirty="0"/>
          </a:p>
        </p:txBody>
      </p:sp>
      <p:sp>
        <p:nvSpPr>
          <p:cNvPr id="11" name="Text Placeholder 2"/>
          <p:cNvSpPr>
            <a:spLocks noGrp="1"/>
          </p:cNvSpPr>
          <p:nvPr>
            <p:ph type="body" idx="13"/>
          </p:nvPr>
        </p:nvSpPr>
        <p:spPr>
          <a:xfrm>
            <a:off x="1295401" y="3630168"/>
            <a:ext cx="9609668" cy="841248"/>
          </a:xfrm>
        </p:spPr>
        <p:txBody>
          <a:bodyPr anchor="b">
            <a:normAutofit/>
          </a:bodyPr>
          <a:lstStyle>
            <a:lvl1pPr marL="0" indent="0" algn="l">
              <a:spcBef>
                <a:spcPts val="0"/>
              </a:spcBef>
              <a:buNone/>
              <a:defRPr sz="2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3" name="Text Placeholder 2"/>
          <p:cNvSpPr>
            <a:spLocks noGrp="1"/>
          </p:cNvSpPr>
          <p:nvPr>
            <p:ph type="body" idx="1"/>
          </p:nvPr>
        </p:nvSpPr>
        <p:spPr>
          <a:xfrm>
            <a:off x="1295400" y="4470399"/>
            <a:ext cx="9609670" cy="1405467"/>
          </a:xfrm>
        </p:spPr>
        <p:txBody>
          <a:bodyPr anchor="t">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13/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cxnSp>
        <p:nvCxnSpPr>
          <p:cNvPr id="15" name="Straight Connector 14"/>
          <p:cNvCxnSpPr/>
          <p:nvPr/>
        </p:nvCxnSpPr>
        <p:spPr>
          <a:xfrm>
            <a:off x="1396169" y="3429000"/>
            <a:ext cx="9407298" cy="0"/>
          </a:xfrm>
          <a:prstGeom prst="line">
            <a:avLst/>
          </a:prstGeom>
          <a:ln w="15875">
            <a:solidFill>
              <a:schemeClr val="accent1">
                <a:lumMod val="60000"/>
                <a:lumOff val="40000"/>
              </a:schemeClr>
            </a:solidFill>
          </a:ln>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13/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cxnSp>
        <p:nvCxnSpPr>
          <p:cNvPr id="14" name="Straight Connector 13"/>
          <p:cNvCxnSpPr/>
          <p:nvPr/>
        </p:nvCxnSpPr>
        <p:spPr>
          <a:xfrm>
            <a:off x="1396169" y="2421466"/>
            <a:ext cx="9407298" cy="0"/>
          </a:xfrm>
          <a:prstGeom prst="line">
            <a:avLst/>
          </a:prstGeom>
          <a:ln w="15875">
            <a:solidFill>
              <a:schemeClr val="accent1">
                <a:lumMod val="60000"/>
                <a:lumOff val="40000"/>
              </a:schemeClr>
            </a:solidFill>
          </a:ln>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99356" y="982131"/>
            <a:ext cx="1890895" cy="4893735"/>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1295398" y="982132"/>
            <a:ext cx="7433025" cy="4893734"/>
          </a:xfrm>
        </p:spPr>
        <p:txBody>
          <a:bodyPr vert="eaVert" ancho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13/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cxnSp>
        <p:nvCxnSpPr>
          <p:cNvPr id="14" name="Straight Connector 13"/>
          <p:cNvCxnSpPr/>
          <p:nvPr/>
        </p:nvCxnSpPr>
        <p:spPr>
          <a:xfrm>
            <a:off x="8863890" y="990600"/>
            <a:ext cx="0" cy="4876800"/>
          </a:xfrm>
          <a:prstGeom prst="line">
            <a:avLst/>
          </a:prstGeom>
          <a:ln w="15875">
            <a:solidFill>
              <a:schemeClr val="accent1">
                <a:lumMod val="60000"/>
                <a:lumOff val="40000"/>
              </a:schemeClr>
            </a:solidFill>
          </a:ln>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cxnSp>
        <p:nvCxnSpPr>
          <p:cNvPr id="7" name="Straight Connector 6"/>
          <p:cNvCxnSpPr/>
          <p:nvPr/>
        </p:nvCxnSpPr>
        <p:spPr>
          <a:xfrm>
            <a:off x="1396169" y="2421466"/>
            <a:ext cx="9407298" cy="0"/>
          </a:xfrm>
          <a:prstGeom prst="line">
            <a:avLst/>
          </a:prstGeom>
          <a:ln>
            <a:solidFill>
              <a:schemeClr val="accent1">
                <a:lumMod val="60000"/>
                <a:lumOff val="40000"/>
              </a:schemeClr>
            </a:solidFill>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05BFA754-D5C3-4E66-96A6-867B257F58DC}" type="datetimeFigureOut">
              <a:rPr lang="en-US" dirty="0"/>
              <a:t>3/13/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D84065D-F351-4B03-BD91-D8A6B8D4B362}"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015069" y="1752606"/>
            <a:ext cx="8158688" cy="1822514"/>
          </a:xfrm>
        </p:spPr>
        <p:txBody>
          <a:bodyPr anchor="b">
            <a:normAutofit/>
          </a:bodyPr>
          <a:lstStyle>
            <a:lvl1pPr algn="ctr">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2015067" y="3846051"/>
            <a:ext cx="8158690" cy="954547"/>
          </a:xfrm>
        </p:spPr>
        <p:txBody>
          <a:bodyPr anchor="t">
            <a:normAutofit/>
          </a:bodyPr>
          <a:lstStyle>
            <a:lvl1pPr marL="0" indent="0" algn="ctr">
              <a:buNone/>
              <a:defRPr sz="24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3/13/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cxnSp>
        <p:nvCxnSpPr>
          <p:cNvPr id="16" name="Straight Connector 15"/>
          <p:cNvCxnSpPr/>
          <p:nvPr/>
        </p:nvCxnSpPr>
        <p:spPr>
          <a:xfrm>
            <a:off x="2012723" y="3710585"/>
            <a:ext cx="8163380" cy="0"/>
          </a:xfrm>
          <a:prstGeom prst="line">
            <a:avLst/>
          </a:prstGeom>
          <a:ln w="15875">
            <a:solidFill>
              <a:schemeClr val="accent1">
                <a:lumMod val="60000"/>
                <a:lumOff val="40000"/>
              </a:schemeClr>
            </a:solidFill>
          </a:ln>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cxnSp>
        <p:nvCxnSpPr>
          <p:cNvPr id="8" name="Straight Connector 7"/>
          <p:cNvCxnSpPr/>
          <p:nvPr/>
        </p:nvCxnSpPr>
        <p:spPr>
          <a:xfrm>
            <a:off x="1396169" y="2421466"/>
            <a:ext cx="9407298" cy="0"/>
          </a:xfrm>
          <a:prstGeom prst="line">
            <a:avLst/>
          </a:prstGeom>
          <a:ln w="15875">
            <a:solidFill>
              <a:schemeClr val="accent1">
                <a:lumMod val="60000"/>
                <a:lumOff val="40000"/>
              </a:schemeClr>
            </a:solidFill>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298448" y="2560320"/>
            <a:ext cx="4718304" cy="3310128"/>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344" y="2560320"/>
            <a:ext cx="4718304" cy="3310128"/>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05BFA754-D5C3-4E66-96A6-867B257F58DC}" type="datetimeFigureOut">
              <a:rPr lang="en-US" dirty="0"/>
              <a:t>3/13/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D84065D-F351-4B03-BD91-D8A6B8D4B362}"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1295400" y="2658533"/>
            <a:ext cx="4718304" cy="576262"/>
          </a:xfrm>
        </p:spPr>
        <p:txBody>
          <a:bodyPr anchor="b">
            <a:noAutofit/>
          </a:bodyPr>
          <a:lstStyle>
            <a:lvl1pPr marL="0" indent="0">
              <a:buNone/>
              <a:defRPr sz="2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295400" y="3243262"/>
            <a:ext cx="4718304" cy="2632605"/>
          </a:xfrm>
        </p:spPr>
        <p:txBody>
          <a:bodyPr anchor="t">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0671" y="2658533"/>
            <a:ext cx="4718304" cy="576262"/>
          </a:xfrm>
        </p:spPr>
        <p:txBody>
          <a:bodyPr anchor="b">
            <a:noAutofit/>
          </a:bodyPr>
          <a:lstStyle>
            <a:lvl1pPr marL="0" indent="0">
              <a:buNone/>
              <a:defRPr sz="28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0671" y="3243262"/>
            <a:ext cx="4718304" cy="2632605"/>
          </a:xfrm>
        </p:spPr>
        <p:txBody>
          <a:bodyPr anchor="t">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3/13/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cxnSp>
        <p:nvCxnSpPr>
          <p:cNvPr id="18" name="Straight Connector 17"/>
          <p:cNvCxnSpPr/>
          <p:nvPr/>
        </p:nvCxnSpPr>
        <p:spPr>
          <a:xfrm>
            <a:off x="1396169" y="2421466"/>
            <a:ext cx="9407298" cy="0"/>
          </a:xfrm>
          <a:prstGeom prst="line">
            <a:avLst/>
          </a:prstGeom>
          <a:ln w="15875">
            <a:solidFill>
              <a:schemeClr val="accent1">
                <a:lumMod val="60000"/>
                <a:lumOff val="40000"/>
              </a:schemeClr>
            </a:solidFill>
          </a:ln>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3/13/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cxnSp>
        <p:nvCxnSpPr>
          <p:cNvPr id="14" name="Straight Connector 13"/>
          <p:cNvCxnSpPr/>
          <p:nvPr/>
        </p:nvCxnSpPr>
        <p:spPr>
          <a:xfrm>
            <a:off x="1396169" y="2421466"/>
            <a:ext cx="9407298" cy="0"/>
          </a:xfrm>
          <a:prstGeom prst="line">
            <a:avLst/>
          </a:prstGeom>
          <a:ln w="15875">
            <a:solidFill>
              <a:schemeClr val="accent1">
                <a:lumMod val="60000"/>
                <a:lumOff val="40000"/>
              </a:schemeClr>
            </a:solidFill>
          </a:ln>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3/13/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93811" y="1388534"/>
            <a:ext cx="3718455" cy="1371600"/>
          </a:xfrm>
        </p:spPr>
        <p:txBody>
          <a:bodyPr anchor="b">
            <a:normAutofit/>
          </a:bodyPr>
          <a:lstStyle>
            <a:lvl1pPr algn="ctr">
              <a:defRPr sz="2400" b="0"/>
            </a:lvl1pPr>
          </a:lstStyle>
          <a:p>
            <a:r>
              <a:rPr lang="en-US" smtClean="0"/>
              <a:t>Click to edit Master title style</a:t>
            </a:r>
            <a:endParaRPr lang="en-US" dirty="0"/>
          </a:p>
        </p:txBody>
      </p:sp>
      <p:sp>
        <p:nvSpPr>
          <p:cNvPr id="3" name="Content Placeholder 2"/>
          <p:cNvSpPr>
            <a:spLocks noGrp="1"/>
          </p:cNvSpPr>
          <p:nvPr>
            <p:ph idx="1"/>
          </p:nvPr>
        </p:nvSpPr>
        <p:spPr>
          <a:xfrm>
            <a:off x="5418668" y="982131"/>
            <a:ext cx="5469466" cy="4893735"/>
          </a:xfrm>
        </p:spPr>
        <p:txBody>
          <a:bodyPr anchor="ct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1293811" y="3031065"/>
            <a:ext cx="3718455" cy="2438404"/>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3/13/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cxnSp>
        <p:nvCxnSpPr>
          <p:cNvPr id="16" name="Straight Connector 15"/>
          <p:cNvCxnSpPr/>
          <p:nvPr/>
        </p:nvCxnSpPr>
        <p:spPr>
          <a:xfrm>
            <a:off x="1396169" y="2912533"/>
            <a:ext cx="3514498" cy="0"/>
          </a:xfrm>
          <a:prstGeom prst="line">
            <a:avLst/>
          </a:prstGeom>
          <a:ln w="15875">
            <a:solidFill>
              <a:schemeClr val="accent1">
                <a:lumMod val="60000"/>
                <a:lumOff val="40000"/>
              </a:schemeClr>
            </a:solidFill>
          </a:ln>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95399" y="1883832"/>
            <a:ext cx="6241816" cy="1371600"/>
          </a:xfrm>
        </p:spPr>
        <p:txBody>
          <a:bodyPr anchor="b">
            <a:normAutofit/>
          </a:bodyPr>
          <a:lstStyle>
            <a:lvl1pPr algn="ctr">
              <a:defRPr sz="2800" b="0"/>
            </a:lvl1pPr>
          </a:lstStyle>
          <a:p>
            <a:r>
              <a:rPr lang="en-US" smtClean="0"/>
              <a:t>Click to edit Master title style</a:t>
            </a:r>
            <a:endParaRPr lang="en-US" dirty="0"/>
          </a:p>
        </p:txBody>
      </p:sp>
      <p:sp>
        <p:nvSpPr>
          <p:cNvPr id="17" name="Picture Placeholder 2"/>
          <p:cNvSpPr>
            <a:spLocks noGrp="1" noChangeAspect="1"/>
          </p:cNvSpPr>
          <p:nvPr>
            <p:ph type="pic" idx="1"/>
          </p:nvPr>
        </p:nvSpPr>
        <p:spPr>
          <a:xfrm>
            <a:off x="8094831" y="1041400"/>
            <a:ext cx="3063347" cy="4775200"/>
          </a:xfrm>
          <a:prstGeom prst="roundRect">
            <a:avLst>
              <a:gd name="adj" fmla="val 0"/>
            </a:avLst>
          </a:prstGeom>
          <a:ln w="57150" cmpd="thickThin">
            <a:solidFill>
              <a:schemeClr val="tx1">
                <a:lumMod val="50000"/>
                <a:lumOff val="50000"/>
              </a:schemeClr>
            </a:solidFill>
            <a:miter lim="800000"/>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1295399" y="3255432"/>
            <a:ext cx="6241816" cy="1828800"/>
          </a:xfrm>
        </p:spPr>
        <p:txBody>
          <a:bodyPr anchor="t">
            <a:normAutofit/>
          </a:bodyPr>
          <a:lstStyle>
            <a:lvl1pPr marL="0" indent="0" algn="ctr">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3/13/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pic>
        <p:nvPicPr>
          <p:cNvPr id="7" name="Picture 6" descr="HD-PanelContent-GrommetsCombined.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Placeholder 1"/>
          <p:cNvSpPr>
            <a:spLocks noGrp="1"/>
          </p:cNvSpPr>
          <p:nvPr>
            <p:ph type="title"/>
          </p:nvPr>
        </p:nvSpPr>
        <p:spPr>
          <a:xfrm>
            <a:off x="1295402" y="982132"/>
            <a:ext cx="9601196" cy="1303867"/>
          </a:xfrm>
          <a:prstGeom prst="rect">
            <a:avLst/>
          </a:prstGeom>
          <a:effectLst/>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295401" y="2556932"/>
            <a:ext cx="9601196" cy="3318936"/>
          </a:xfrm>
          <a:prstGeom prst="rect">
            <a:avLst/>
          </a:prstGeom>
        </p:spPr>
        <p:txBody>
          <a:bodyPr vert="horz" lIns="91440" tIns="45720" rIns="91440" bIns="45720" rtlCol="0" anchor="t">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677501" y="5969000"/>
            <a:ext cx="1600200" cy="279400"/>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fld id="{B61BEF0D-F0BB-DE4B-95CE-6DB70DBA9567}" type="datetimeFigureOut">
              <a:rPr lang="en-US" dirty="0"/>
              <a:pPr/>
              <a:t>3/13/2019</a:t>
            </a:fld>
            <a:endParaRPr lang="en-US" dirty="0"/>
          </a:p>
        </p:txBody>
      </p:sp>
      <p:sp>
        <p:nvSpPr>
          <p:cNvPr id="5" name="Footer Placeholder 4"/>
          <p:cNvSpPr>
            <a:spLocks noGrp="1"/>
          </p:cNvSpPr>
          <p:nvPr>
            <p:ph type="ftr" sz="quarter" idx="3"/>
          </p:nvPr>
        </p:nvSpPr>
        <p:spPr>
          <a:xfrm>
            <a:off x="1295401" y="5969000"/>
            <a:ext cx="7305900" cy="279400"/>
          </a:xfrm>
          <a:prstGeom prst="rect">
            <a:avLst/>
          </a:prstGeom>
        </p:spPr>
        <p:txBody>
          <a:bodyPr vert="horz" lIns="91440" tIns="45720" rIns="91440" bIns="45720" rtlCol="0" anchor="ctr"/>
          <a:lstStyle>
            <a:lvl1pPr algn="l">
              <a:defRPr sz="1000" b="0" i="0">
                <a:solidFill>
                  <a:schemeClr val="tx1"/>
                </a:solidFill>
                <a:effectLst/>
                <a:latin typeface="+mn-lt"/>
              </a:defRPr>
            </a:lvl1pPr>
          </a:lstStyle>
          <a:p>
            <a:endParaRPr lang="en-US" dirty="0"/>
          </a:p>
        </p:txBody>
      </p:sp>
      <p:sp>
        <p:nvSpPr>
          <p:cNvPr id="6" name="Slide Number Placeholder 5"/>
          <p:cNvSpPr>
            <a:spLocks noGrp="1"/>
          </p:cNvSpPr>
          <p:nvPr>
            <p:ph type="sldNum" sz="quarter" idx="4"/>
          </p:nvPr>
        </p:nvSpPr>
        <p:spPr>
          <a:xfrm>
            <a:off x="10353901" y="5969000"/>
            <a:ext cx="542697" cy="279400"/>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fld id="{D57F1E4F-1CFF-5643-939E-217C01CDF565}" type="slidenum">
              <a:rPr lang="en-US" dirty="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68" r:id="rId2"/>
    <p:sldLayoutId id="2147483651" r:id="rId3"/>
    <p:sldLayoutId id="2147483669" r:id="rId4"/>
    <p:sldLayoutId id="2147483653" r:id="rId5"/>
    <p:sldLayoutId id="2147483654" r:id="rId6"/>
    <p:sldLayoutId id="2147483655" r:id="rId7"/>
    <p:sldLayoutId id="2147483656" r:id="rId8"/>
    <p:sldLayoutId id="2147483660" r:id="rId9"/>
    <p:sldLayoutId id="2147483657" r:id="rId10"/>
    <p:sldLayoutId id="2147483663" r:id="rId11"/>
    <p:sldLayoutId id="2147483664" r:id="rId12"/>
    <p:sldLayoutId id="2147483665" r:id="rId13"/>
    <p:sldLayoutId id="2147483666" r:id="rId14"/>
    <p:sldLayoutId id="2147483667" r:id="rId15"/>
    <p:sldLayoutId id="2147483658" r:id="rId16"/>
    <p:sldLayoutId id="2147483659" r:id="rId17"/>
  </p:sldLayoutIdLst>
  <p:txStyles>
    <p:titleStyle>
      <a:lvl1pPr algn="ctr" defTabSz="457200" rtl="0" eaLnBrk="1" latinLnBrk="0" hangingPunct="1">
        <a:spcBef>
          <a:spcPct val="0"/>
        </a:spcBef>
        <a:buNone/>
        <a:defRPr sz="4400" kern="1200" cap="none">
          <a:ln w="3175" cmpd="sng">
            <a:noFill/>
          </a:ln>
          <a:solidFill>
            <a:schemeClr val="tx1">
              <a:lumMod val="85000"/>
              <a:lumOff val="15000"/>
            </a:schemeClr>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accent1"/>
        </a:buClr>
        <a:buSzPct val="115000"/>
        <a:buFont typeface="Arial"/>
        <a:buChar char="•"/>
        <a:defRPr sz="2400" kern="1200" cap="none">
          <a:solidFill>
            <a:schemeClr val="tx1">
              <a:lumMod val="85000"/>
              <a:lumOff val="1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buClr>
        <a:buSzPct val="115000"/>
        <a:buFont typeface="Arial"/>
        <a:buChar char="•"/>
        <a:defRPr sz="2000" kern="1200" cap="none">
          <a:solidFill>
            <a:schemeClr val="tx1">
              <a:lumMod val="85000"/>
              <a:lumOff val="1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buClr>
        <a:buSzPct val="115000"/>
        <a:buFont typeface="Arial"/>
        <a:buChar char="•"/>
        <a:defRPr sz="1800" kern="1200" cap="none">
          <a:solidFill>
            <a:schemeClr val="tx1">
              <a:lumMod val="85000"/>
              <a:lumOff val="1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buClr>
        <a:buSzPct val="115000"/>
        <a:buFont typeface="Arial"/>
        <a:buChar char="•"/>
        <a:defRPr sz="1600" kern="1200" cap="none">
          <a:solidFill>
            <a:schemeClr val="tx1">
              <a:lumMod val="85000"/>
              <a:lumOff val="1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Layout" Target="../slideLayouts/slideLayout4.xml"/><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Layout" Target="../slideLayouts/slideLayout4.xml"/><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4.xml"/><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9.jp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0.jp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Layout" Target="../slideLayouts/slideLayout4.xml"/><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jpg"/><Relationship Id="rId1" Type="http://schemas.openxmlformats.org/officeDocument/2006/relationships/slideLayout" Target="../slideLayouts/slideLayout4.xml"/><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17" Type="http://schemas.openxmlformats.org/officeDocument/2006/relationships/tags" Target="../tags/tag116.xml"/><Relationship Id="rId21" Type="http://schemas.openxmlformats.org/officeDocument/2006/relationships/tags" Target="../tags/tag20.xml"/><Relationship Id="rId42" Type="http://schemas.openxmlformats.org/officeDocument/2006/relationships/tags" Target="../tags/tag41.xml"/><Relationship Id="rId63" Type="http://schemas.openxmlformats.org/officeDocument/2006/relationships/tags" Target="../tags/tag62.xml"/><Relationship Id="rId84" Type="http://schemas.openxmlformats.org/officeDocument/2006/relationships/tags" Target="../tags/tag83.xml"/><Relationship Id="rId138" Type="http://schemas.openxmlformats.org/officeDocument/2006/relationships/tags" Target="../tags/tag137.xml"/><Relationship Id="rId159" Type="http://schemas.openxmlformats.org/officeDocument/2006/relationships/tags" Target="../tags/tag158.xml"/><Relationship Id="rId170" Type="http://schemas.openxmlformats.org/officeDocument/2006/relationships/tags" Target="../tags/tag169.xml"/><Relationship Id="rId191" Type="http://schemas.openxmlformats.org/officeDocument/2006/relationships/tags" Target="../tags/tag190.xml"/><Relationship Id="rId205" Type="http://schemas.openxmlformats.org/officeDocument/2006/relationships/tags" Target="../tags/tag204.xml"/><Relationship Id="rId226" Type="http://schemas.openxmlformats.org/officeDocument/2006/relationships/tags" Target="../tags/tag225.xml"/><Relationship Id="rId247" Type="http://schemas.openxmlformats.org/officeDocument/2006/relationships/tags" Target="../tags/tag246.xml"/><Relationship Id="rId107" Type="http://schemas.openxmlformats.org/officeDocument/2006/relationships/tags" Target="../tags/tag106.xml"/><Relationship Id="rId11" Type="http://schemas.openxmlformats.org/officeDocument/2006/relationships/tags" Target="../tags/tag10.xml"/><Relationship Id="rId32" Type="http://schemas.openxmlformats.org/officeDocument/2006/relationships/tags" Target="../tags/tag31.xml"/><Relationship Id="rId53" Type="http://schemas.openxmlformats.org/officeDocument/2006/relationships/tags" Target="../tags/tag52.xml"/><Relationship Id="rId74" Type="http://schemas.openxmlformats.org/officeDocument/2006/relationships/tags" Target="../tags/tag73.xml"/><Relationship Id="rId128" Type="http://schemas.openxmlformats.org/officeDocument/2006/relationships/tags" Target="../tags/tag127.xml"/><Relationship Id="rId149" Type="http://schemas.openxmlformats.org/officeDocument/2006/relationships/tags" Target="../tags/tag148.xml"/><Relationship Id="rId5" Type="http://schemas.openxmlformats.org/officeDocument/2006/relationships/tags" Target="../tags/tag4.xml"/><Relationship Id="rId95" Type="http://schemas.openxmlformats.org/officeDocument/2006/relationships/tags" Target="../tags/tag94.xml"/><Relationship Id="rId160" Type="http://schemas.openxmlformats.org/officeDocument/2006/relationships/tags" Target="../tags/tag159.xml"/><Relationship Id="rId181" Type="http://schemas.openxmlformats.org/officeDocument/2006/relationships/tags" Target="../tags/tag180.xml"/><Relationship Id="rId216" Type="http://schemas.openxmlformats.org/officeDocument/2006/relationships/tags" Target="../tags/tag215.xml"/><Relationship Id="rId237" Type="http://schemas.openxmlformats.org/officeDocument/2006/relationships/tags" Target="../tags/tag236.xml"/><Relationship Id="rId22" Type="http://schemas.openxmlformats.org/officeDocument/2006/relationships/tags" Target="../tags/tag21.xml"/><Relationship Id="rId43" Type="http://schemas.openxmlformats.org/officeDocument/2006/relationships/tags" Target="../tags/tag42.xml"/><Relationship Id="rId64" Type="http://schemas.openxmlformats.org/officeDocument/2006/relationships/tags" Target="../tags/tag63.xml"/><Relationship Id="rId118" Type="http://schemas.openxmlformats.org/officeDocument/2006/relationships/tags" Target="../tags/tag117.xml"/><Relationship Id="rId139" Type="http://schemas.openxmlformats.org/officeDocument/2006/relationships/tags" Target="../tags/tag138.xml"/><Relationship Id="rId85" Type="http://schemas.openxmlformats.org/officeDocument/2006/relationships/tags" Target="../tags/tag84.xml"/><Relationship Id="rId150" Type="http://schemas.openxmlformats.org/officeDocument/2006/relationships/tags" Target="../tags/tag149.xml"/><Relationship Id="rId171" Type="http://schemas.openxmlformats.org/officeDocument/2006/relationships/tags" Target="../tags/tag170.xml"/><Relationship Id="rId192" Type="http://schemas.openxmlformats.org/officeDocument/2006/relationships/tags" Target="../tags/tag191.xml"/><Relationship Id="rId206" Type="http://schemas.openxmlformats.org/officeDocument/2006/relationships/tags" Target="../tags/tag205.xml"/><Relationship Id="rId227" Type="http://schemas.openxmlformats.org/officeDocument/2006/relationships/tags" Target="../tags/tag226.xml"/><Relationship Id="rId248" Type="http://schemas.openxmlformats.org/officeDocument/2006/relationships/tags" Target="../tags/tag247.xml"/><Relationship Id="rId12" Type="http://schemas.openxmlformats.org/officeDocument/2006/relationships/tags" Target="../tags/tag11.xml"/><Relationship Id="rId33" Type="http://schemas.openxmlformats.org/officeDocument/2006/relationships/tags" Target="../tags/tag32.xml"/><Relationship Id="rId108" Type="http://schemas.openxmlformats.org/officeDocument/2006/relationships/tags" Target="../tags/tag107.xml"/><Relationship Id="rId129" Type="http://schemas.openxmlformats.org/officeDocument/2006/relationships/tags" Target="../tags/tag128.xml"/><Relationship Id="rId54" Type="http://schemas.openxmlformats.org/officeDocument/2006/relationships/tags" Target="../tags/tag53.xml"/><Relationship Id="rId75" Type="http://schemas.openxmlformats.org/officeDocument/2006/relationships/tags" Target="../tags/tag74.xml"/><Relationship Id="rId96" Type="http://schemas.openxmlformats.org/officeDocument/2006/relationships/tags" Target="../tags/tag95.xml"/><Relationship Id="rId140" Type="http://schemas.openxmlformats.org/officeDocument/2006/relationships/tags" Target="../tags/tag139.xml"/><Relationship Id="rId161" Type="http://schemas.openxmlformats.org/officeDocument/2006/relationships/tags" Target="../tags/tag160.xml"/><Relationship Id="rId182" Type="http://schemas.openxmlformats.org/officeDocument/2006/relationships/tags" Target="../tags/tag181.xml"/><Relationship Id="rId217" Type="http://schemas.openxmlformats.org/officeDocument/2006/relationships/tags" Target="../tags/tag216.xml"/><Relationship Id="rId6" Type="http://schemas.openxmlformats.org/officeDocument/2006/relationships/tags" Target="../tags/tag5.xml"/><Relationship Id="rId238" Type="http://schemas.openxmlformats.org/officeDocument/2006/relationships/tags" Target="../tags/tag237.xml"/><Relationship Id="rId23" Type="http://schemas.openxmlformats.org/officeDocument/2006/relationships/tags" Target="../tags/tag22.xml"/><Relationship Id="rId119" Type="http://schemas.openxmlformats.org/officeDocument/2006/relationships/tags" Target="../tags/tag118.xml"/><Relationship Id="rId44" Type="http://schemas.openxmlformats.org/officeDocument/2006/relationships/tags" Target="../tags/tag43.xml"/><Relationship Id="rId65" Type="http://schemas.openxmlformats.org/officeDocument/2006/relationships/tags" Target="../tags/tag64.xml"/><Relationship Id="rId86" Type="http://schemas.openxmlformats.org/officeDocument/2006/relationships/tags" Target="../tags/tag85.xml"/><Relationship Id="rId130" Type="http://schemas.openxmlformats.org/officeDocument/2006/relationships/tags" Target="../tags/tag129.xml"/><Relationship Id="rId151" Type="http://schemas.openxmlformats.org/officeDocument/2006/relationships/tags" Target="../tags/tag150.xml"/><Relationship Id="rId172" Type="http://schemas.openxmlformats.org/officeDocument/2006/relationships/tags" Target="../tags/tag171.xml"/><Relationship Id="rId193" Type="http://schemas.openxmlformats.org/officeDocument/2006/relationships/tags" Target="../tags/tag192.xml"/><Relationship Id="rId207" Type="http://schemas.openxmlformats.org/officeDocument/2006/relationships/tags" Target="../tags/tag206.xml"/><Relationship Id="rId228" Type="http://schemas.openxmlformats.org/officeDocument/2006/relationships/tags" Target="../tags/tag227.xml"/><Relationship Id="rId249" Type="http://schemas.openxmlformats.org/officeDocument/2006/relationships/tags" Target="../tags/tag248.xml"/><Relationship Id="rId13" Type="http://schemas.openxmlformats.org/officeDocument/2006/relationships/tags" Target="../tags/tag12.xml"/><Relationship Id="rId109" Type="http://schemas.openxmlformats.org/officeDocument/2006/relationships/tags" Target="../tags/tag108.xml"/><Relationship Id="rId34" Type="http://schemas.openxmlformats.org/officeDocument/2006/relationships/tags" Target="../tags/tag33.xml"/><Relationship Id="rId55" Type="http://schemas.openxmlformats.org/officeDocument/2006/relationships/tags" Target="../tags/tag54.xml"/><Relationship Id="rId76" Type="http://schemas.openxmlformats.org/officeDocument/2006/relationships/tags" Target="../tags/tag75.xml"/><Relationship Id="rId97" Type="http://schemas.openxmlformats.org/officeDocument/2006/relationships/tags" Target="../tags/tag96.xml"/><Relationship Id="rId120" Type="http://schemas.openxmlformats.org/officeDocument/2006/relationships/tags" Target="../tags/tag119.xml"/><Relationship Id="rId141" Type="http://schemas.openxmlformats.org/officeDocument/2006/relationships/tags" Target="../tags/tag140.xml"/><Relationship Id="rId7" Type="http://schemas.openxmlformats.org/officeDocument/2006/relationships/tags" Target="../tags/tag6.xml"/><Relationship Id="rId162" Type="http://schemas.openxmlformats.org/officeDocument/2006/relationships/tags" Target="../tags/tag161.xml"/><Relationship Id="rId183" Type="http://schemas.openxmlformats.org/officeDocument/2006/relationships/tags" Target="../tags/tag182.xml"/><Relationship Id="rId218" Type="http://schemas.openxmlformats.org/officeDocument/2006/relationships/tags" Target="../tags/tag217.xml"/><Relationship Id="rId239" Type="http://schemas.openxmlformats.org/officeDocument/2006/relationships/tags" Target="../tags/tag238.xml"/><Relationship Id="rId250" Type="http://schemas.openxmlformats.org/officeDocument/2006/relationships/tags" Target="../tags/tag249.xml"/><Relationship Id="rId24" Type="http://schemas.openxmlformats.org/officeDocument/2006/relationships/tags" Target="../tags/tag23.xml"/><Relationship Id="rId45" Type="http://schemas.openxmlformats.org/officeDocument/2006/relationships/tags" Target="../tags/tag44.xml"/><Relationship Id="rId66" Type="http://schemas.openxmlformats.org/officeDocument/2006/relationships/tags" Target="../tags/tag65.xml"/><Relationship Id="rId87" Type="http://schemas.openxmlformats.org/officeDocument/2006/relationships/tags" Target="../tags/tag86.xml"/><Relationship Id="rId110" Type="http://schemas.openxmlformats.org/officeDocument/2006/relationships/tags" Target="../tags/tag109.xml"/><Relationship Id="rId131" Type="http://schemas.openxmlformats.org/officeDocument/2006/relationships/tags" Target="../tags/tag130.xml"/><Relationship Id="rId152" Type="http://schemas.openxmlformats.org/officeDocument/2006/relationships/tags" Target="../tags/tag151.xml"/><Relationship Id="rId173" Type="http://schemas.openxmlformats.org/officeDocument/2006/relationships/tags" Target="../tags/tag172.xml"/><Relationship Id="rId194" Type="http://schemas.openxmlformats.org/officeDocument/2006/relationships/tags" Target="../tags/tag193.xml"/><Relationship Id="rId208" Type="http://schemas.openxmlformats.org/officeDocument/2006/relationships/tags" Target="../tags/tag207.xml"/><Relationship Id="rId229" Type="http://schemas.openxmlformats.org/officeDocument/2006/relationships/tags" Target="../tags/tag228.xml"/><Relationship Id="rId240" Type="http://schemas.openxmlformats.org/officeDocument/2006/relationships/tags" Target="../tags/tag239.xml"/><Relationship Id="rId14" Type="http://schemas.openxmlformats.org/officeDocument/2006/relationships/tags" Target="../tags/tag13.xml"/><Relationship Id="rId35" Type="http://schemas.openxmlformats.org/officeDocument/2006/relationships/tags" Target="../tags/tag34.xml"/><Relationship Id="rId56" Type="http://schemas.openxmlformats.org/officeDocument/2006/relationships/tags" Target="../tags/tag55.xml"/><Relationship Id="rId77" Type="http://schemas.openxmlformats.org/officeDocument/2006/relationships/tags" Target="../tags/tag76.xml"/><Relationship Id="rId100" Type="http://schemas.openxmlformats.org/officeDocument/2006/relationships/tags" Target="../tags/tag99.xml"/><Relationship Id="rId8" Type="http://schemas.openxmlformats.org/officeDocument/2006/relationships/tags" Target="../tags/tag7.xml"/><Relationship Id="rId98" Type="http://schemas.openxmlformats.org/officeDocument/2006/relationships/tags" Target="../tags/tag97.xml"/><Relationship Id="rId121" Type="http://schemas.openxmlformats.org/officeDocument/2006/relationships/tags" Target="../tags/tag120.xml"/><Relationship Id="rId142" Type="http://schemas.openxmlformats.org/officeDocument/2006/relationships/tags" Target="../tags/tag141.xml"/><Relationship Id="rId163" Type="http://schemas.openxmlformats.org/officeDocument/2006/relationships/tags" Target="../tags/tag162.xml"/><Relationship Id="rId184" Type="http://schemas.openxmlformats.org/officeDocument/2006/relationships/tags" Target="../tags/tag183.xml"/><Relationship Id="rId219" Type="http://schemas.openxmlformats.org/officeDocument/2006/relationships/tags" Target="../tags/tag218.xml"/><Relationship Id="rId230" Type="http://schemas.openxmlformats.org/officeDocument/2006/relationships/tags" Target="../tags/tag229.xml"/><Relationship Id="rId251" Type="http://schemas.openxmlformats.org/officeDocument/2006/relationships/slideLayout" Target="../slideLayouts/slideLayout6.xml"/><Relationship Id="rId25" Type="http://schemas.openxmlformats.org/officeDocument/2006/relationships/tags" Target="../tags/tag24.xml"/><Relationship Id="rId46" Type="http://schemas.openxmlformats.org/officeDocument/2006/relationships/tags" Target="../tags/tag45.xml"/><Relationship Id="rId67" Type="http://schemas.openxmlformats.org/officeDocument/2006/relationships/tags" Target="../tags/tag66.xml"/><Relationship Id="rId88" Type="http://schemas.openxmlformats.org/officeDocument/2006/relationships/tags" Target="../tags/tag87.xml"/><Relationship Id="rId111" Type="http://schemas.openxmlformats.org/officeDocument/2006/relationships/tags" Target="../tags/tag110.xml"/><Relationship Id="rId132" Type="http://schemas.openxmlformats.org/officeDocument/2006/relationships/tags" Target="../tags/tag131.xml"/><Relationship Id="rId153" Type="http://schemas.openxmlformats.org/officeDocument/2006/relationships/tags" Target="../tags/tag152.xml"/><Relationship Id="rId174" Type="http://schemas.openxmlformats.org/officeDocument/2006/relationships/tags" Target="../tags/tag173.xml"/><Relationship Id="rId195" Type="http://schemas.openxmlformats.org/officeDocument/2006/relationships/tags" Target="../tags/tag194.xml"/><Relationship Id="rId209" Type="http://schemas.openxmlformats.org/officeDocument/2006/relationships/tags" Target="../tags/tag208.xml"/><Relationship Id="rId220" Type="http://schemas.openxmlformats.org/officeDocument/2006/relationships/tags" Target="../tags/tag219.xml"/><Relationship Id="rId241" Type="http://schemas.openxmlformats.org/officeDocument/2006/relationships/tags" Target="../tags/tag240.xml"/><Relationship Id="rId15" Type="http://schemas.openxmlformats.org/officeDocument/2006/relationships/tags" Target="../tags/tag14.xml"/><Relationship Id="rId36" Type="http://schemas.openxmlformats.org/officeDocument/2006/relationships/tags" Target="../tags/tag35.xml"/><Relationship Id="rId57" Type="http://schemas.openxmlformats.org/officeDocument/2006/relationships/tags" Target="../tags/tag56.xml"/><Relationship Id="rId78" Type="http://schemas.openxmlformats.org/officeDocument/2006/relationships/tags" Target="../tags/tag77.xml"/><Relationship Id="rId99" Type="http://schemas.openxmlformats.org/officeDocument/2006/relationships/tags" Target="../tags/tag98.xml"/><Relationship Id="rId101" Type="http://schemas.openxmlformats.org/officeDocument/2006/relationships/tags" Target="../tags/tag100.xml"/><Relationship Id="rId122" Type="http://schemas.openxmlformats.org/officeDocument/2006/relationships/tags" Target="../tags/tag121.xml"/><Relationship Id="rId143" Type="http://schemas.openxmlformats.org/officeDocument/2006/relationships/tags" Target="../tags/tag142.xml"/><Relationship Id="rId164" Type="http://schemas.openxmlformats.org/officeDocument/2006/relationships/tags" Target="../tags/tag163.xml"/><Relationship Id="rId185" Type="http://schemas.openxmlformats.org/officeDocument/2006/relationships/tags" Target="../tags/tag184.xml"/><Relationship Id="rId9" Type="http://schemas.openxmlformats.org/officeDocument/2006/relationships/tags" Target="../tags/tag8.xml"/><Relationship Id="rId210" Type="http://schemas.openxmlformats.org/officeDocument/2006/relationships/tags" Target="../tags/tag209.xml"/><Relationship Id="rId26" Type="http://schemas.openxmlformats.org/officeDocument/2006/relationships/tags" Target="../tags/tag25.xml"/><Relationship Id="rId231" Type="http://schemas.openxmlformats.org/officeDocument/2006/relationships/tags" Target="../tags/tag230.xml"/><Relationship Id="rId252" Type="http://schemas.openxmlformats.org/officeDocument/2006/relationships/notesSlide" Target="../notesSlides/notesSlide1.xml"/><Relationship Id="rId47" Type="http://schemas.openxmlformats.org/officeDocument/2006/relationships/tags" Target="../tags/tag46.xml"/><Relationship Id="rId68" Type="http://schemas.openxmlformats.org/officeDocument/2006/relationships/tags" Target="../tags/tag67.xml"/><Relationship Id="rId89" Type="http://schemas.openxmlformats.org/officeDocument/2006/relationships/tags" Target="../tags/tag88.xml"/><Relationship Id="rId112" Type="http://schemas.openxmlformats.org/officeDocument/2006/relationships/tags" Target="../tags/tag111.xml"/><Relationship Id="rId133" Type="http://schemas.openxmlformats.org/officeDocument/2006/relationships/tags" Target="../tags/tag132.xml"/><Relationship Id="rId154" Type="http://schemas.openxmlformats.org/officeDocument/2006/relationships/tags" Target="../tags/tag153.xml"/><Relationship Id="rId175" Type="http://schemas.openxmlformats.org/officeDocument/2006/relationships/tags" Target="../tags/tag174.xml"/><Relationship Id="rId196" Type="http://schemas.openxmlformats.org/officeDocument/2006/relationships/tags" Target="../tags/tag195.xml"/><Relationship Id="rId200" Type="http://schemas.openxmlformats.org/officeDocument/2006/relationships/tags" Target="../tags/tag199.xml"/><Relationship Id="rId16" Type="http://schemas.openxmlformats.org/officeDocument/2006/relationships/tags" Target="../tags/tag15.xml"/><Relationship Id="rId221" Type="http://schemas.openxmlformats.org/officeDocument/2006/relationships/tags" Target="../tags/tag220.xml"/><Relationship Id="rId242" Type="http://schemas.openxmlformats.org/officeDocument/2006/relationships/tags" Target="../tags/tag241.xml"/><Relationship Id="rId37" Type="http://schemas.openxmlformats.org/officeDocument/2006/relationships/tags" Target="../tags/tag36.xml"/><Relationship Id="rId58" Type="http://schemas.openxmlformats.org/officeDocument/2006/relationships/tags" Target="../tags/tag57.xml"/><Relationship Id="rId79" Type="http://schemas.openxmlformats.org/officeDocument/2006/relationships/tags" Target="../tags/tag78.xml"/><Relationship Id="rId102" Type="http://schemas.openxmlformats.org/officeDocument/2006/relationships/tags" Target="../tags/tag101.xml"/><Relationship Id="rId123" Type="http://schemas.openxmlformats.org/officeDocument/2006/relationships/tags" Target="../tags/tag122.xml"/><Relationship Id="rId144" Type="http://schemas.openxmlformats.org/officeDocument/2006/relationships/tags" Target="../tags/tag143.xml"/><Relationship Id="rId90" Type="http://schemas.openxmlformats.org/officeDocument/2006/relationships/tags" Target="../tags/tag89.xml"/><Relationship Id="rId165" Type="http://schemas.openxmlformats.org/officeDocument/2006/relationships/tags" Target="../tags/tag164.xml"/><Relationship Id="rId186" Type="http://schemas.openxmlformats.org/officeDocument/2006/relationships/tags" Target="../tags/tag185.xml"/><Relationship Id="rId211" Type="http://schemas.openxmlformats.org/officeDocument/2006/relationships/tags" Target="../tags/tag210.xml"/><Relationship Id="rId232" Type="http://schemas.openxmlformats.org/officeDocument/2006/relationships/tags" Target="../tags/tag231.xml"/><Relationship Id="rId253" Type="http://schemas.openxmlformats.org/officeDocument/2006/relationships/oleObject" Target="../embeddings/oleObject1.bin"/><Relationship Id="rId27" Type="http://schemas.openxmlformats.org/officeDocument/2006/relationships/tags" Target="../tags/tag26.xml"/><Relationship Id="rId48" Type="http://schemas.openxmlformats.org/officeDocument/2006/relationships/tags" Target="../tags/tag47.xml"/><Relationship Id="rId69" Type="http://schemas.openxmlformats.org/officeDocument/2006/relationships/tags" Target="../tags/tag68.xml"/><Relationship Id="rId113" Type="http://schemas.openxmlformats.org/officeDocument/2006/relationships/tags" Target="../tags/tag112.xml"/><Relationship Id="rId134" Type="http://schemas.openxmlformats.org/officeDocument/2006/relationships/tags" Target="../tags/tag133.xml"/><Relationship Id="rId80" Type="http://schemas.openxmlformats.org/officeDocument/2006/relationships/tags" Target="../tags/tag79.xml"/><Relationship Id="rId155" Type="http://schemas.openxmlformats.org/officeDocument/2006/relationships/tags" Target="../tags/tag154.xml"/><Relationship Id="rId176" Type="http://schemas.openxmlformats.org/officeDocument/2006/relationships/tags" Target="../tags/tag175.xml"/><Relationship Id="rId197" Type="http://schemas.openxmlformats.org/officeDocument/2006/relationships/tags" Target="../tags/tag196.xml"/><Relationship Id="rId201" Type="http://schemas.openxmlformats.org/officeDocument/2006/relationships/tags" Target="../tags/tag200.xml"/><Relationship Id="rId222" Type="http://schemas.openxmlformats.org/officeDocument/2006/relationships/tags" Target="../tags/tag221.xml"/><Relationship Id="rId243" Type="http://schemas.openxmlformats.org/officeDocument/2006/relationships/tags" Target="../tags/tag242.xml"/><Relationship Id="rId17" Type="http://schemas.openxmlformats.org/officeDocument/2006/relationships/tags" Target="../tags/tag16.xml"/><Relationship Id="rId38" Type="http://schemas.openxmlformats.org/officeDocument/2006/relationships/tags" Target="../tags/tag37.xml"/><Relationship Id="rId59" Type="http://schemas.openxmlformats.org/officeDocument/2006/relationships/tags" Target="../tags/tag58.xml"/><Relationship Id="rId103" Type="http://schemas.openxmlformats.org/officeDocument/2006/relationships/tags" Target="../tags/tag102.xml"/><Relationship Id="rId124" Type="http://schemas.openxmlformats.org/officeDocument/2006/relationships/tags" Target="../tags/tag123.xml"/><Relationship Id="rId70" Type="http://schemas.openxmlformats.org/officeDocument/2006/relationships/tags" Target="../tags/tag69.xml"/><Relationship Id="rId91" Type="http://schemas.openxmlformats.org/officeDocument/2006/relationships/tags" Target="../tags/tag90.xml"/><Relationship Id="rId145" Type="http://schemas.openxmlformats.org/officeDocument/2006/relationships/tags" Target="../tags/tag144.xml"/><Relationship Id="rId166" Type="http://schemas.openxmlformats.org/officeDocument/2006/relationships/tags" Target="../tags/tag165.xml"/><Relationship Id="rId187" Type="http://schemas.openxmlformats.org/officeDocument/2006/relationships/tags" Target="../tags/tag186.xml"/><Relationship Id="rId1" Type="http://schemas.openxmlformats.org/officeDocument/2006/relationships/vmlDrawing" Target="../drawings/vmlDrawing1.vml"/><Relationship Id="rId212" Type="http://schemas.openxmlformats.org/officeDocument/2006/relationships/tags" Target="../tags/tag211.xml"/><Relationship Id="rId233" Type="http://schemas.openxmlformats.org/officeDocument/2006/relationships/tags" Target="../tags/tag232.xml"/><Relationship Id="rId254" Type="http://schemas.openxmlformats.org/officeDocument/2006/relationships/image" Target="../media/image9.emf"/><Relationship Id="rId28" Type="http://schemas.openxmlformats.org/officeDocument/2006/relationships/tags" Target="../tags/tag27.xml"/><Relationship Id="rId49" Type="http://schemas.openxmlformats.org/officeDocument/2006/relationships/tags" Target="../tags/tag48.xml"/><Relationship Id="rId114" Type="http://schemas.openxmlformats.org/officeDocument/2006/relationships/tags" Target="../tags/tag113.xml"/><Relationship Id="rId60" Type="http://schemas.openxmlformats.org/officeDocument/2006/relationships/tags" Target="../tags/tag59.xml"/><Relationship Id="rId81" Type="http://schemas.openxmlformats.org/officeDocument/2006/relationships/tags" Target="../tags/tag80.xml"/><Relationship Id="rId135" Type="http://schemas.openxmlformats.org/officeDocument/2006/relationships/tags" Target="../tags/tag134.xml"/><Relationship Id="rId156" Type="http://schemas.openxmlformats.org/officeDocument/2006/relationships/tags" Target="../tags/tag155.xml"/><Relationship Id="rId177" Type="http://schemas.openxmlformats.org/officeDocument/2006/relationships/tags" Target="../tags/tag176.xml"/><Relationship Id="rId198" Type="http://schemas.openxmlformats.org/officeDocument/2006/relationships/tags" Target="../tags/tag197.xml"/><Relationship Id="rId202" Type="http://schemas.openxmlformats.org/officeDocument/2006/relationships/tags" Target="../tags/tag201.xml"/><Relationship Id="rId223" Type="http://schemas.openxmlformats.org/officeDocument/2006/relationships/tags" Target="../tags/tag222.xml"/><Relationship Id="rId244" Type="http://schemas.openxmlformats.org/officeDocument/2006/relationships/tags" Target="../tags/tag243.xml"/><Relationship Id="rId18" Type="http://schemas.openxmlformats.org/officeDocument/2006/relationships/tags" Target="../tags/tag17.xml"/><Relationship Id="rId39" Type="http://schemas.openxmlformats.org/officeDocument/2006/relationships/tags" Target="../tags/tag38.xml"/><Relationship Id="rId50" Type="http://schemas.openxmlformats.org/officeDocument/2006/relationships/tags" Target="../tags/tag49.xml"/><Relationship Id="rId104" Type="http://schemas.openxmlformats.org/officeDocument/2006/relationships/tags" Target="../tags/tag103.xml"/><Relationship Id="rId125" Type="http://schemas.openxmlformats.org/officeDocument/2006/relationships/tags" Target="../tags/tag124.xml"/><Relationship Id="rId146" Type="http://schemas.openxmlformats.org/officeDocument/2006/relationships/tags" Target="../tags/tag145.xml"/><Relationship Id="rId167" Type="http://schemas.openxmlformats.org/officeDocument/2006/relationships/tags" Target="../tags/tag166.xml"/><Relationship Id="rId188" Type="http://schemas.openxmlformats.org/officeDocument/2006/relationships/tags" Target="../tags/tag187.xml"/><Relationship Id="rId71" Type="http://schemas.openxmlformats.org/officeDocument/2006/relationships/tags" Target="../tags/tag70.xml"/><Relationship Id="rId92" Type="http://schemas.openxmlformats.org/officeDocument/2006/relationships/tags" Target="../tags/tag91.xml"/><Relationship Id="rId213" Type="http://schemas.openxmlformats.org/officeDocument/2006/relationships/tags" Target="../tags/tag212.xml"/><Relationship Id="rId234" Type="http://schemas.openxmlformats.org/officeDocument/2006/relationships/tags" Target="../tags/tag233.xml"/><Relationship Id="rId2" Type="http://schemas.openxmlformats.org/officeDocument/2006/relationships/tags" Target="../tags/tag1.xml"/><Relationship Id="rId29" Type="http://schemas.openxmlformats.org/officeDocument/2006/relationships/tags" Target="../tags/tag28.xml"/><Relationship Id="rId255" Type="http://schemas.openxmlformats.org/officeDocument/2006/relationships/image" Target="../media/image10.wmf"/><Relationship Id="rId40" Type="http://schemas.openxmlformats.org/officeDocument/2006/relationships/tags" Target="../tags/tag39.xml"/><Relationship Id="rId115" Type="http://schemas.openxmlformats.org/officeDocument/2006/relationships/tags" Target="../tags/tag114.xml"/><Relationship Id="rId136" Type="http://schemas.openxmlformats.org/officeDocument/2006/relationships/tags" Target="../tags/tag135.xml"/><Relationship Id="rId157" Type="http://schemas.openxmlformats.org/officeDocument/2006/relationships/tags" Target="../tags/tag156.xml"/><Relationship Id="rId178" Type="http://schemas.openxmlformats.org/officeDocument/2006/relationships/tags" Target="../tags/tag177.xml"/><Relationship Id="rId61" Type="http://schemas.openxmlformats.org/officeDocument/2006/relationships/tags" Target="../tags/tag60.xml"/><Relationship Id="rId82" Type="http://schemas.openxmlformats.org/officeDocument/2006/relationships/tags" Target="../tags/tag81.xml"/><Relationship Id="rId199" Type="http://schemas.openxmlformats.org/officeDocument/2006/relationships/tags" Target="../tags/tag198.xml"/><Relationship Id="rId203" Type="http://schemas.openxmlformats.org/officeDocument/2006/relationships/tags" Target="../tags/tag202.xml"/><Relationship Id="rId19" Type="http://schemas.openxmlformats.org/officeDocument/2006/relationships/tags" Target="../tags/tag18.xml"/><Relationship Id="rId224" Type="http://schemas.openxmlformats.org/officeDocument/2006/relationships/tags" Target="../tags/tag223.xml"/><Relationship Id="rId245" Type="http://schemas.openxmlformats.org/officeDocument/2006/relationships/tags" Target="../tags/tag244.xml"/><Relationship Id="rId30" Type="http://schemas.openxmlformats.org/officeDocument/2006/relationships/tags" Target="../tags/tag29.xml"/><Relationship Id="rId105" Type="http://schemas.openxmlformats.org/officeDocument/2006/relationships/tags" Target="../tags/tag104.xml"/><Relationship Id="rId126" Type="http://schemas.openxmlformats.org/officeDocument/2006/relationships/tags" Target="../tags/tag125.xml"/><Relationship Id="rId147" Type="http://schemas.openxmlformats.org/officeDocument/2006/relationships/tags" Target="../tags/tag146.xml"/><Relationship Id="rId168" Type="http://schemas.openxmlformats.org/officeDocument/2006/relationships/tags" Target="../tags/tag167.xml"/><Relationship Id="rId51" Type="http://schemas.openxmlformats.org/officeDocument/2006/relationships/tags" Target="../tags/tag50.xml"/><Relationship Id="rId72" Type="http://schemas.openxmlformats.org/officeDocument/2006/relationships/tags" Target="../tags/tag71.xml"/><Relationship Id="rId93" Type="http://schemas.openxmlformats.org/officeDocument/2006/relationships/tags" Target="../tags/tag92.xml"/><Relationship Id="rId189" Type="http://schemas.openxmlformats.org/officeDocument/2006/relationships/tags" Target="../tags/tag188.xml"/><Relationship Id="rId3" Type="http://schemas.openxmlformats.org/officeDocument/2006/relationships/tags" Target="../tags/tag2.xml"/><Relationship Id="rId214" Type="http://schemas.openxmlformats.org/officeDocument/2006/relationships/tags" Target="../tags/tag213.xml"/><Relationship Id="rId235" Type="http://schemas.openxmlformats.org/officeDocument/2006/relationships/tags" Target="../tags/tag234.xml"/><Relationship Id="rId116" Type="http://schemas.openxmlformats.org/officeDocument/2006/relationships/tags" Target="../tags/tag115.xml"/><Relationship Id="rId137" Type="http://schemas.openxmlformats.org/officeDocument/2006/relationships/tags" Target="../tags/tag136.xml"/><Relationship Id="rId158" Type="http://schemas.openxmlformats.org/officeDocument/2006/relationships/tags" Target="../tags/tag157.xml"/><Relationship Id="rId20" Type="http://schemas.openxmlformats.org/officeDocument/2006/relationships/tags" Target="../tags/tag19.xml"/><Relationship Id="rId41" Type="http://schemas.openxmlformats.org/officeDocument/2006/relationships/tags" Target="../tags/tag40.xml"/><Relationship Id="rId62" Type="http://schemas.openxmlformats.org/officeDocument/2006/relationships/tags" Target="../tags/tag61.xml"/><Relationship Id="rId83" Type="http://schemas.openxmlformats.org/officeDocument/2006/relationships/tags" Target="../tags/tag82.xml"/><Relationship Id="rId179" Type="http://schemas.openxmlformats.org/officeDocument/2006/relationships/tags" Target="../tags/tag178.xml"/><Relationship Id="rId190" Type="http://schemas.openxmlformats.org/officeDocument/2006/relationships/tags" Target="../tags/tag189.xml"/><Relationship Id="rId204" Type="http://schemas.openxmlformats.org/officeDocument/2006/relationships/tags" Target="../tags/tag203.xml"/><Relationship Id="rId225" Type="http://schemas.openxmlformats.org/officeDocument/2006/relationships/tags" Target="../tags/tag224.xml"/><Relationship Id="rId246" Type="http://schemas.openxmlformats.org/officeDocument/2006/relationships/tags" Target="../tags/tag245.xml"/><Relationship Id="rId106" Type="http://schemas.openxmlformats.org/officeDocument/2006/relationships/tags" Target="../tags/tag105.xml"/><Relationship Id="rId127" Type="http://schemas.openxmlformats.org/officeDocument/2006/relationships/tags" Target="../tags/tag126.xml"/><Relationship Id="rId10" Type="http://schemas.openxmlformats.org/officeDocument/2006/relationships/tags" Target="../tags/tag9.xml"/><Relationship Id="rId31" Type="http://schemas.openxmlformats.org/officeDocument/2006/relationships/tags" Target="../tags/tag30.xml"/><Relationship Id="rId52" Type="http://schemas.openxmlformats.org/officeDocument/2006/relationships/tags" Target="../tags/tag51.xml"/><Relationship Id="rId73" Type="http://schemas.openxmlformats.org/officeDocument/2006/relationships/tags" Target="../tags/tag72.xml"/><Relationship Id="rId94" Type="http://schemas.openxmlformats.org/officeDocument/2006/relationships/tags" Target="../tags/tag93.xml"/><Relationship Id="rId148" Type="http://schemas.openxmlformats.org/officeDocument/2006/relationships/tags" Target="../tags/tag147.xml"/><Relationship Id="rId169" Type="http://schemas.openxmlformats.org/officeDocument/2006/relationships/tags" Target="../tags/tag168.xml"/><Relationship Id="rId4" Type="http://schemas.openxmlformats.org/officeDocument/2006/relationships/tags" Target="../tags/tag3.xml"/><Relationship Id="rId180" Type="http://schemas.openxmlformats.org/officeDocument/2006/relationships/tags" Target="../tags/tag179.xml"/><Relationship Id="rId215" Type="http://schemas.openxmlformats.org/officeDocument/2006/relationships/tags" Target="../tags/tag214.xml"/><Relationship Id="rId236" Type="http://schemas.openxmlformats.org/officeDocument/2006/relationships/tags" Target="../tags/tag235.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295401" y="1287511"/>
            <a:ext cx="1054699" cy="755970"/>
          </a:xfrm>
          <a:prstGeom prst="rect">
            <a:avLst/>
          </a:prstGeom>
        </p:spPr>
      </p:pic>
      <p:pic>
        <p:nvPicPr>
          <p:cNvPr id="5" name="Picture 4"/>
          <p:cNvPicPr>
            <a:picLocks noChangeAspect="1"/>
          </p:cNvPicPr>
          <p:nvPr/>
        </p:nvPicPr>
        <p:blipFill>
          <a:blip r:embed="rId3"/>
          <a:stretch>
            <a:fillRect/>
          </a:stretch>
        </p:blipFill>
        <p:spPr>
          <a:xfrm>
            <a:off x="4029912" y="1146134"/>
            <a:ext cx="2627604" cy="853514"/>
          </a:xfrm>
          <a:prstGeom prst="rect">
            <a:avLst/>
          </a:prstGeom>
        </p:spPr>
      </p:pic>
      <p:pic>
        <p:nvPicPr>
          <p:cNvPr id="7" name="Picture 6"/>
          <p:cNvPicPr>
            <a:picLocks noChangeAspect="1"/>
          </p:cNvPicPr>
          <p:nvPr/>
        </p:nvPicPr>
        <p:blipFill>
          <a:blip r:embed="rId4"/>
          <a:stretch>
            <a:fillRect/>
          </a:stretch>
        </p:blipFill>
        <p:spPr>
          <a:xfrm>
            <a:off x="8337328" y="1385727"/>
            <a:ext cx="1377815" cy="609653"/>
          </a:xfrm>
          <a:prstGeom prst="rect">
            <a:avLst/>
          </a:prstGeom>
        </p:spPr>
      </p:pic>
      <p:sp>
        <p:nvSpPr>
          <p:cNvPr id="2" name="Title 1"/>
          <p:cNvSpPr>
            <a:spLocks noGrp="1"/>
          </p:cNvSpPr>
          <p:nvPr>
            <p:ph type="title"/>
          </p:nvPr>
        </p:nvSpPr>
        <p:spPr>
          <a:xfrm>
            <a:off x="1295402" y="982132"/>
            <a:ext cx="9601196" cy="1181519"/>
          </a:xfrm>
        </p:spPr>
        <p:txBody>
          <a:bodyPr>
            <a:normAutofit fontScale="90000"/>
          </a:bodyPr>
          <a:lstStyle/>
          <a:p>
            <a:pPr marL="285750" lvl="0" indent="-285750">
              <a:spcBef>
                <a:spcPct val="20000"/>
              </a:spcBef>
              <a:spcAft>
                <a:spcPts val="600"/>
              </a:spcAft>
            </a:pPr>
            <a:r>
              <a:rPr lang="en-GB" sz="2400" b="1" dirty="0" smtClean="0">
                <a:ln>
                  <a:noFill/>
                </a:ln>
                <a:solidFill>
                  <a:prstClr val="black">
                    <a:lumMod val="85000"/>
                    <a:lumOff val="15000"/>
                  </a:prstClr>
                </a:solidFill>
                <a:ea typeface="+mn-ea"/>
                <a:cs typeface="+mn-cs"/>
              </a:rPr>
              <a:t/>
            </a:r>
            <a:br>
              <a:rPr lang="en-GB" sz="2400" b="1" dirty="0" smtClean="0">
                <a:ln>
                  <a:noFill/>
                </a:ln>
                <a:solidFill>
                  <a:prstClr val="black">
                    <a:lumMod val="85000"/>
                    <a:lumOff val="15000"/>
                  </a:prstClr>
                </a:solidFill>
                <a:ea typeface="+mn-ea"/>
                <a:cs typeface="+mn-cs"/>
              </a:rPr>
            </a:br>
            <a:r>
              <a:rPr lang="en-GB" sz="2400" b="1" dirty="0">
                <a:ln>
                  <a:noFill/>
                </a:ln>
                <a:solidFill>
                  <a:prstClr val="black">
                    <a:lumMod val="85000"/>
                    <a:lumOff val="15000"/>
                  </a:prstClr>
                </a:solidFill>
                <a:ea typeface="+mn-ea"/>
                <a:cs typeface="+mn-cs"/>
              </a:rPr>
              <a:t/>
            </a:r>
            <a:br>
              <a:rPr lang="en-GB" sz="2400" b="1" dirty="0">
                <a:ln>
                  <a:noFill/>
                </a:ln>
                <a:solidFill>
                  <a:prstClr val="black">
                    <a:lumMod val="85000"/>
                    <a:lumOff val="15000"/>
                  </a:prstClr>
                </a:solidFill>
                <a:ea typeface="+mn-ea"/>
                <a:cs typeface="+mn-cs"/>
              </a:rPr>
            </a:br>
            <a:r>
              <a:rPr lang="en-GB" sz="2400" b="1" dirty="0" smtClean="0">
                <a:ln>
                  <a:noFill/>
                </a:ln>
                <a:solidFill>
                  <a:prstClr val="black">
                    <a:lumMod val="85000"/>
                    <a:lumOff val="15000"/>
                  </a:prstClr>
                </a:solidFill>
                <a:ea typeface="+mn-ea"/>
                <a:cs typeface="+mn-cs"/>
              </a:rPr>
              <a:t/>
            </a:r>
            <a:br>
              <a:rPr lang="en-GB" sz="2400" b="1" dirty="0" smtClean="0">
                <a:ln>
                  <a:noFill/>
                </a:ln>
                <a:solidFill>
                  <a:prstClr val="black">
                    <a:lumMod val="85000"/>
                    <a:lumOff val="15000"/>
                  </a:prstClr>
                </a:solidFill>
                <a:ea typeface="+mn-ea"/>
                <a:cs typeface="+mn-cs"/>
              </a:rPr>
            </a:br>
            <a:endParaRPr lang="en-GB" sz="2400" b="1" dirty="0">
              <a:ln>
                <a:noFill/>
              </a:ln>
              <a:solidFill>
                <a:srgbClr val="00B050"/>
              </a:solidFill>
              <a:ea typeface="+mn-ea"/>
              <a:cs typeface="+mn-cs"/>
            </a:endParaRPr>
          </a:p>
        </p:txBody>
      </p:sp>
      <p:sp>
        <p:nvSpPr>
          <p:cNvPr id="3" name="Content Placeholder 2"/>
          <p:cNvSpPr>
            <a:spLocks noGrp="1"/>
          </p:cNvSpPr>
          <p:nvPr>
            <p:ph idx="1"/>
          </p:nvPr>
        </p:nvSpPr>
        <p:spPr>
          <a:xfrm>
            <a:off x="1295401" y="2764766"/>
            <a:ext cx="9601196" cy="3429972"/>
          </a:xfrm>
        </p:spPr>
        <p:txBody>
          <a:bodyPr>
            <a:normAutofit/>
          </a:bodyPr>
          <a:lstStyle/>
          <a:p>
            <a:pPr marL="0" indent="0" algn="ctr">
              <a:buNone/>
            </a:pPr>
            <a:r>
              <a:rPr lang="en-GB" b="1" dirty="0" smtClean="0"/>
              <a:t>                  </a:t>
            </a:r>
          </a:p>
          <a:p>
            <a:pPr marL="0" indent="0" algn="ctr">
              <a:buNone/>
            </a:pPr>
            <a:r>
              <a:rPr lang="en-GB" sz="2000" b="1" dirty="0" smtClean="0">
                <a:latin typeface="Times New Roman" panose="02020603050405020304" pitchFamily="18" charset="0"/>
                <a:ea typeface="Calibri" panose="020F0502020204030204" pitchFamily="34" charset="0"/>
              </a:rPr>
              <a:t>How </a:t>
            </a:r>
            <a:r>
              <a:rPr lang="en-GB" sz="2000" b="1" dirty="0">
                <a:latin typeface="Times New Roman" panose="02020603050405020304" pitchFamily="18" charset="0"/>
                <a:ea typeface="Calibri" panose="020F0502020204030204" pitchFamily="34" charset="0"/>
              </a:rPr>
              <a:t>secure are primary health care facilities to provide services for the vulnerable population?: Experience of providers in a maternal and Child Health programme </a:t>
            </a:r>
            <a:endParaRPr lang="en-GB" sz="2000" b="1" dirty="0" smtClean="0"/>
          </a:p>
          <a:p>
            <a:pPr marL="0" indent="0">
              <a:lnSpc>
                <a:spcPts val="1200"/>
              </a:lnSpc>
              <a:spcAft>
                <a:spcPts val="0"/>
              </a:spcAft>
              <a:buNone/>
            </a:pPr>
            <a:r>
              <a:rPr lang="en-GB" sz="1800" dirty="0" smtClean="0">
                <a:latin typeface="Times New Roman" panose="02020603050405020304" pitchFamily="18" charset="0"/>
                <a:ea typeface="Calibri" panose="020F0502020204030204" pitchFamily="34" charset="0"/>
              </a:rPr>
              <a:t>  </a:t>
            </a:r>
          </a:p>
          <a:p>
            <a:pPr marL="0" indent="0">
              <a:lnSpc>
                <a:spcPts val="1200"/>
              </a:lnSpc>
              <a:spcAft>
                <a:spcPts val="0"/>
              </a:spcAft>
              <a:buNone/>
            </a:pPr>
            <a:endParaRPr lang="en-GB" sz="1700" b="1" dirty="0" smtClean="0">
              <a:latin typeface="Arial" panose="020B0604020202020204" pitchFamily="34" charset="0"/>
              <a:ea typeface="Calibri" panose="020F0502020204030204" pitchFamily="34" charset="0"/>
            </a:endParaRPr>
          </a:p>
          <a:p>
            <a:pPr marL="0" indent="0" algn="ctr">
              <a:lnSpc>
                <a:spcPts val="1200"/>
              </a:lnSpc>
              <a:spcAft>
                <a:spcPts val="0"/>
              </a:spcAft>
              <a:buNone/>
            </a:pPr>
            <a:r>
              <a:rPr lang="en-GB" sz="1700" b="1" dirty="0" smtClean="0">
                <a:latin typeface="Arial" panose="020B0604020202020204" pitchFamily="34" charset="0"/>
                <a:ea typeface="Calibri" panose="020F0502020204030204" pitchFamily="34" charset="0"/>
              </a:rPr>
              <a:t>Enyi </a:t>
            </a:r>
            <a:r>
              <a:rPr lang="en-GB" sz="1700" b="1" dirty="0">
                <a:latin typeface="Arial" panose="020B0604020202020204" pitchFamily="34" charset="0"/>
                <a:ea typeface="Calibri" panose="020F0502020204030204" pitchFamily="34" charset="0"/>
              </a:rPr>
              <a:t>Etiaba</a:t>
            </a:r>
            <a:r>
              <a:rPr lang="en-GB" sz="1700" dirty="0">
                <a:latin typeface="Arial" panose="020B0604020202020204" pitchFamily="34" charset="0"/>
                <a:ea typeface="Calibri" panose="020F0502020204030204" pitchFamily="34" charset="0"/>
              </a:rPr>
              <a:t>; </a:t>
            </a:r>
            <a:r>
              <a:rPr lang="en-GB" sz="1700" dirty="0" smtClean="0">
                <a:latin typeface="Arial" panose="020B0604020202020204" pitchFamily="34" charset="0"/>
                <a:ea typeface="Calibri" panose="020F0502020204030204" pitchFamily="34" charset="0"/>
              </a:rPr>
              <a:t>B. </a:t>
            </a:r>
            <a:r>
              <a:rPr lang="en-GB" sz="1700" dirty="0" err="1">
                <a:latin typeface="Arial" panose="020B0604020202020204" pitchFamily="34" charset="0"/>
                <a:ea typeface="Calibri" panose="020F0502020204030204" pitchFamily="34" charset="0"/>
              </a:rPr>
              <a:t>Uzochukwu</a:t>
            </a:r>
            <a:r>
              <a:rPr lang="en-GB" sz="1700" dirty="0">
                <a:latin typeface="Arial" panose="020B0604020202020204" pitchFamily="34" charset="0"/>
                <a:ea typeface="Calibri" panose="020F0502020204030204" pitchFamily="34" charset="0"/>
              </a:rPr>
              <a:t>; </a:t>
            </a:r>
            <a:r>
              <a:rPr lang="en-GB" sz="1700" dirty="0" smtClean="0">
                <a:latin typeface="Arial" panose="020B0604020202020204" pitchFamily="34" charset="0"/>
                <a:ea typeface="Calibri" panose="020F0502020204030204" pitchFamily="34" charset="0"/>
              </a:rPr>
              <a:t>B. </a:t>
            </a:r>
            <a:r>
              <a:rPr lang="en-GB" sz="1700" dirty="0" err="1">
                <a:latin typeface="Arial" panose="020B0604020202020204" pitchFamily="34" charset="0"/>
                <a:ea typeface="Calibri" panose="020F0502020204030204" pitchFamily="34" charset="0"/>
              </a:rPr>
              <a:t>Ebenso</a:t>
            </a:r>
            <a:r>
              <a:rPr lang="en-GB" sz="1700" dirty="0">
                <a:latin typeface="Arial" panose="020B0604020202020204" pitchFamily="34" charset="0"/>
                <a:ea typeface="Calibri" panose="020F0502020204030204" pitchFamily="34" charset="0"/>
              </a:rPr>
              <a:t>; </a:t>
            </a:r>
            <a:r>
              <a:rPr lang="en-GB" sz="1700" dirty="0" smtClean="0">
                <a:latin typeface="Arial" panose="020B0604020202020204" pitchFamily="34" charset="0"/>
                <a:ea typeface="Calibri" panose="020F0502020204030204" pitchFamily="34" charset="0"/>
              </a:rPr>
              <a:t>U. </a:t>
            </a:r>
            <a:r>
              <a:rPr lang="en-GB" sz="1700" dirty="0" err="1">
                <a:latin typeface="Arial" panose="020B0604020202020204" pitchFamily="34" charset="0"/>
                <a:ea typeface="Calibri" panose="020F0502020204030204" pitchFamily="34" charset="0"/>
              </a:rPr>
              <a:t>Agbawodikeizu</a:t>
            </a:r>
            <a:r>
              <a:rPr lang="en-GB" sz="1700" dirty="0">
                <a:latin typeface="Arial" panose="020B0604020202020204" pitchFamily="34" charset="0"/>
                <a:ea typeface="Calibri" panose="020F0502020204030204" pitchFamily="34" charset="0"/>
              </a:rPr>
              <a:t>; </a:t>
            </a:r>
            <a:r>
              <a:rPr lang="en-GB" sz="1700" dirty="0" smtClean="0">
                <a:latin typeface="Arial" panose="020B0604020202020204" pitchFamily="34" charset="0"/>
                <a:ea typeface="Calibri" panose="020F0502020204030204" pitchFamily="34" charset="0"/>
              </a:rPr>
              <a:t>A.  </a:t>
            </a:r>
            <a:r>
              <a:rPr lang="en-GB" sz="1700" dirty="0" err="1">
                <a:latin typeface="Arial" panose="020B0604020202020204" pitchFamily="34" charset="0"/>
                <a:ea typeface="Calibri" panose="020F0502020204030204" pitchFamily="34" charset="0"/>
              </a:rPr>
              <a:t>Manzano</a:t>
            </a:r>
            <a:r>
              <a:rPr lang="en-GB" sz="1700" dirty="0">
                <a:latin typeface="Arial" panose="020B0604020202020204" pitchFamily="34" charset="0"/>
                <a:ea typeface="Calibri" panose="020F0502020204030204" pitchFamily="34" charset="0"/>
              </a:rPr>
              <a:t>; </a:t>
            </a:r>
          </a:p>
          <a:p>
            <a:pPr marL="0" indent="0" algn="ctr">
              <a:lnSpc>
                <a:spcPts val="1200"/>
              </a:lnSpc>
              <a:spcAft>
                <a:spcPts val="0"/>
              </a:spcAft>
              <a:buNone/>
            </a:pPr>
            <a:r>
              <a:rPr lang="en-GB" sz="1700" dirty="0" smtClean="0">
                <a:latin typeface="Arial" panose="020B0604020202020204" pitchFamily="34" charset="0"/>
                <a:ea typeface="Calibri" panose="020F0502020204030204" pitchFamily="34" charset="0"/>
              </a:rPr>
              <a:t>U. </a:t>
            </a:r>
            <a:r>
              <a:rPr lang="en-GB" sz="1700" dirty="0" err="1">
                <a:latin typeface="Arial" panose="020B0604020202020204" pitchFamily="34" charset="0"/>
                <a:ea typeface="Calibri" panose="020F0502020204030204" pitchFamily="34" charset="0"/>
              </a:rPr>
              <a:t>Ogu</a:t>
            </a:r>
            <a:r>
              <a:rPr lang="en-GB" sz="1700" dirty="0">
                <a:latin typeface="Arial" panose="020B0604020202020204" pitchFamily="34" charset="0"/>
                <a:ea typeface="Calibri" panose="020F0502020204030204" pitchFamily="34" charset="0"/>
              </a:rPr>
              <a:t>; </a:t>
            </a:r>
            <a:r>
              <a:rPr lang="en-GB" sz="1700" dirty="0" err="1" smtClean="0">
                <a:latin typeface="Arial" panose="020B0604020202020204" pitchFamily="34" charset="0"/>
                <a:ea typeface="Calibri" panose="020F0502020204030204" pitchFamily="34" charset="0"/>
              </a:rPr>
              <a:t>R.Huss</a:t>
            </a:r>
            <a:r>
              <a:rPr lang="en-GB" sz="1700" dirty="0">
                <a:latin typeface="Arial" panose="020B0604020202020204" pitchFamily="34" charset="0"/>
                <a:ea typeface="Calibri" panose="020F0502020204030204" pitchFamily="34" charset="0"/>
              </a:rPr>
              <a:t>; </a:t>
            </a:r>
            <a:r>
              <a:rPr lang="en-GB" sz="1700" dirty="0" err="1" smtClean="0">
                <a:latin typeface="Arial" panose="020B0604020202020204" pitchFamily="34" charset="0"/>
                <a:ea typeface="Calibri" panose="020F0502020204030204" pitchFamily="34" charset="0"/>
              </a:rPr>
              <a:t>O.Onwujekwe</a:t>
            </a:r>
            <a:r>
              <a:rPr lang="en-GB" sz="1700" dirty="0">
                <a:latin typeface="Arial" panose="020B0604020202020204" pitchFamily="34" charset="0"/>
                <a:ea typeface="Calibri" panose="020F0502020204030204" pitchFamily="34" charset="0"/>
              </a:rPr>
              <a:t>; </a:t>
            </a:r>
            <a:r>
              <a:rPr lang="en-GB" sz="1700" dirty="0" smtClean="0">
                <a:latin typeface="Arial" panose="020B0604020202020204" pitchFamily="34" charset="0"/>
                <a:ea typeface="Calibri" panose="020F0502020204030204" pitchFamily="34" charset="0"/>
              </a:rPr>
              <a:t>N. </a:t>
            </a:r>
            <a:r>
              <a:rPr lang="en-GB" sz="1700" dirty="0" err="1">
                <a:latin typeface="Arial" panose="020B0604020202020204" pitchFamily="34" charset="0"/>
                <a:ea typeface="Calibri" panose="020F0502020204030204" pitchFamily="34" charset="0"/>
              </a:rPr>
              <a:t>Ezumah</a:t>
            </a:r>
            <a:r>
              <a:rPr lang="en-GB" sz="1700" dirty="0">
                <a:latin typeface="Arial" panose="020B0604020202020204" pitchFamily="34" charset="0"/>
                <a:ea typeface="Calibri" panose="020F0502020204030204" pitchFamily="34" charset="0"/>
              </a:rPr>
              <a:t>; </a:t>
            </a:r>
            <a:r>
              <a:rPr lang="en-GB" sz="1700" dirty="0" smtClean="0">
                <a:latin typeface="Arial" panose="020B0604020202020204" pitchFamily="34" charset="0"/>
                <a:ea typeface="Calibri" panose="020F0502020204030204" pitchFamily="34" charset="0"/>
              </a:rPr>
              <a:t>J. </a:t>
            </a:r>
            <a:r>
              <a:rPr lang="en-GB" sz="1700" dirty="0">
                <a:latin typeface="Arial" panose="020B0604020202020204" pitchFamily="34" charset="0"/>
                <a:ea typeface="Calibri" panose="020F0502020204030204" pitchFamily="34" charset="0"/>
              </a:rPr>
              <a:t>Hicks; </a:t>
            </a:r>
            <a:r>
              <a:rPr lang="en-GB" sz="1700" dirty="0" smtClean="0">
                <a:latin typeface="Arial" panose="020B0604020202020204" pitchFamily="34" charset="0"/>
                <a:ea typeface="Calibri" panose="020F0502020204030204" pitchFamily="34" charset="0"/>
              </a:rPr>
              <a:t>J. </a:t>
            </a:r>
            <a:r>
              <a:rPr lang="en-GB" sz="1700" dirty="0">
                <a:latin typeface="Arial" panose="020B0604020202020204" pitchFamily="34" charset="0"/>
                <a:ea typeface="Calibri" panose="020F0502020204030204" pitchFamily="34" charset="0"/>
              </a:rPr>
              <a:t>Newell; </a:t>
            </a:r>
            <a:r>
              <a:rPr lang="en-GB" sz="1700" dirty="0" err="1" smtClean="0">
                <a:latin typeface="Arial" panose="020B0604020202020204" pitchFamily="34" charset="0"/>
                <a:ea typeface="Calibri" panose="020F0502020204030204" pitchFamily="34" charset="0"/>
              </a:rPr>
              <a:t>T.Ensor</a:t>
            </a:r>
            <a:r>
              <a:rPr lang="en-GB" sz="1700" dirty="0">
                <a:latin typeface="Arial" panose="020B0604020202020204" pitchFamily="34" charset="0"/>
                <a:ea typeface="Calibri" panose="020F0502020204030204" pitchFamily="34" charset="0"/>
              </a:rPr>
              <a:t>, </a:t>
            </a:r>
            <a:r>
              <a:rPr lang="en-GB" sz="1700" dirty="0" smtClean="0">
                <a:latin typeface="Arial" panose="020B0604020202020204" pitchFamily="34" charset="0"/>
                <a:ea typeface="Calibri" panose="020F0502020204030204" pitchFamily="34" charset="0"/>
              </a:rPr>
              <a:t>T. </a:t>
            </a:r>
            <a:r>
              <a:rPr lang="en-GB" sz="1700" dirty="0" err="1">
                <a:latin typeface="Arial" panose="020B0604020202020204" pitchFamily="34" charset="0"/>
                <a:ea typeface="Calibri" panose="020F0502020204030204" pitchFamily="34" charset="0"/>
              </a:rPr>
              <a:t>Mirzoev</a:t>
            </a:r>
            <a:r>
              <a:rPr lang="en-GB" sz="1700" dirty="0">
                <a:latin typeface="Arial" panose="020B0604020202020204" pitchFamily="34" charset="0"/>
                <a:ea typeface="Calibri" panose="020F0502020204030204" pitchFamily="34" charset="0"/>
              </a:rPr>
              <a:t>.</a:t>
            </a:r>
          </a:p>
          <a:p>
            <a:pPr marL="1170305" indent="-1170305">
              <a:lnSpc>
                <a:spcPts val="1200"/>
              </a:lnSpc>
              <a:spcAft>
                <a:spcPts val="0"/>
              </a:spcAft>
            </a:pPr>
            <a:r>
              <a:rPr lang="en-GB" sz="1700" i="1" dirty="0">
                <a:latin typeface="Arial" panose="020B0604020202020204" pitchFamily="34" charset="0"/>
                <a:ea typeface="Calibri" panose="020F0502020204030204" pitchFamily="34" charset="0"/>
              </a:rPr>
              <a:t> </a:t>
            </a:r>
            <a:endParaRPr lang="en-GB" sz="1700" dirty="0">
              <a:latin typeface="Arial" panose="020B0604020202020204" pitchFamily="34" charset="0"/>
              <a:ea typeface="Calibri" panose="020F0502020204030204" pitchFamily="34" charset="0"/>
            </a:endParaRPr>
          </a:p>
          <a:p>
            <a:pPr algn="ctr"/>
            <a:r>
              <a:rPr lang="en-GB" b="1" dirty="0">
                <a:solidFill>
                  <a:srgbClr val="FF0000"/>
                </a:solidFill>
              </a:rPr>
              <a:t>5</a:t>
            </a:r>
            <a:r>
              <a:rPr lang="en-GB" b="1" baseline="30000" dirty="0">
                <a:solidFill>
                  <a:srgbClr val="FF0000"/>
                </a:solidFill>
              </a:rPr>
              <a:t>th</a:t>
            </a:r>
            <a:r>
              <a:rPr lang="en-GB" b="1" dirty="0">
                <a:solidFill>
                  <a:srgbClr val="FF0000"/>
                </a:solidFill>
              </a:rPr>
              <a:t> </a:t>
            </a:r>
            <a:r>
              <a:rPr lang="en-GB" b="1" dirty="0" smtClean="0">
                <a:solidFill>
                  <a:srgbClr val="FF0000"/>
                </a:solidFill>
              </a:rPr>
              <a:t>AfHEA Bienniel Conference, Ghana 11-14 march 2019</a:t>
            </a:r>
            <a:endParaRPr lang="en-GB" dirty="0">
              <a:solidFill>
                <a:srgbClr val="FF0000"/>
              </a:solidFill>
            </a:endParaRPr>
          </a:p>
        </p:txBody>
      </p:sp>
    </p:spTree>
    <p:extLst>
      <p:ext uri="{BB962C8B-B14F-4D97-AF65-F5344CB8AC3E}">
        <p14:creationId xmlns:p14="http://schemas.microsoft.com/office/powerpoint/2010/main" val="10901757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POSITIVE EXPERIENCES..</a:t>
            </a:r>
            <a:endParaRPr lang="en-GB" dirty="0"/>
          </a:p>
        </p:txBody>
      </p:sp>
      <p:pic>
        <p:nvPicPr>
          <p:cNvPr id="5" name="Content Placeholder 4"/>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1450975" y="2560639"/>
            <a:ext cx="4413249" cy="1980654"/>
          </a:xfrm>
        </p:spPr>
      </p:pic>
      <p:pic>
        <p:nvPicPr>
          <p:cNvPr id="6" name="Content Placeholder 5"/>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6334126" y="2560639"/>
            <a:ext cx="4413249" cy="1980654"/>
          </a:xfrm>
        </p:spPr>
      </p:pic>
      <p:sp>
        <p:nvSpPr>
          <p:cNvPr id="3" name="Rectangle 2"/>
          <p:cNvSpPr/>
          <p:nvPr/>
        </p:nvSpPr>
        <p:spPr>
          <a:xfrm>
            <a:off x="1295403" y="4541293"/>
            <a:ext cx="9451972" cy="1559529"/>
          </a:xfrm>
          <a:prstGeom prst="rect">
            <a:avLst/>
          </a:prstGeom>
        </p:spPr>
        <p:txBody>
          <a:bodyPr wrap="square">
            <a:spAutoFit/>
          </a:bodyPr>
          <a:lstStyle/>
          <a:p>
            <a:pPr algn="just">
              <a:lnSpc>
                <a:spcPct val="107000"/>
              </a:lnSpc>
              <a:spcAft>
                <a:spcPts val="800"/>
              </a:spcAft>
            </a:pPr>
            <a:r>
              <a:rPr lang="en-US" sz="1200" dirty="0" smtClean="0">
                <a:latin typeface="Times New Roman" panose="02020603050405020304" pitchFamily="18" charset="0"/>
                <a:ea typeface="Calibri" panose="020F0502020204030204" pitchFamily="34" charset="0"/>
                <a:cs typeface="Times New Roman" panose="02020603050405020304" pitchFamily="18" charset="0"/>
              </a:rPr>
              <a:t>“</a:t>
            </a:r>
            <a:r>
              <a:rPr lang="en-US" b="1" i="1" dirty="0" smtClean="0">
                <a:solidFill>
                  <a:srgbClr val="FF0000"/>
                </a:solidFill>
                <a:latin typeface="Times New Roman" panose="02020603050405020304" pitchFamily="18" charset="0"/>
                <a:ea typeface="Calibri" panose="020F0502020204030204" pitchFamily="34" charset="0"/>
                <a:cs typeface="Times New Roman" panose="02020603050405020304" pitchFamily="18" charset="0"/>
              </a:rPr>
              <a:t>When </a:t>
            </a:r>
            <a:r>
              <a:rPr lang="en-US" b="1" i="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the </a:t>
            </a:r>
            <a:r>
              <a:rPr lang="en-US" b="1" i="1" dirty="0" err="1">
                <a:solidFill>
                  <a:srgbClr val="FF0000"/>
                </a:solidFill>
                <a:latin typeface="Times New Roman" panose="02020603050405020304" pitchFamily="18" charset="0"/>
                <a:ea typeface="Calibri" panose="020F0502020204030204" pitchFamily="34" charset="0"/>
                <a:cs typeface="Times New Roman" panose="02020603050405020304" pitchFamily="18" charset="0"/>
              </a:rPr>
              <a:t>Igwe</a:t>
            </a:r>
            <a:r>
              <a:rPr lang="en-US" b="1" i="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 </a:t>
            </a:r>
            <a:r>
              <a:rPr lang="en-US" b="1" i="1" dirty="0" smtClean="0">
                <a:solidFill>
                  <a:srgbClr val="FF0000"/>
                </a:solidFill>
                <a:latin typeface="Times New Roman" panose="02020603050405020304" pitchFamily="18" charset="0"/>
                <a:ea typeface="Calibri" panose="020F0502020204030204" pitchFamily="34" charset="0"/>
                <a:cs typeface="Times New Roman" panose="02020603050405020304" pitchFamily="18" charset="0"/>
              </a:rPr>
              <a:t>(traditional ruler) </a:t>
            </a:r>
            <a:r>
              <a:rPr lang="en-US" b="1" i="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came to visit us, I told him that we </a:t>
            </a:r>
            <a:r>
              <a:rPr lang="en-US" b="1" i="1" dirty="0" smtClean="0">
                <a:solidFill>
                  <a:srgbClr val="FF0000"/>
                </a:solidFill>
                <a:latin typeface="Times New Roman" panose="02020603050405020304" pitchFamily="18" charset="0"/>
                <a:ea typeface="Calibri" panose="020F0502020204030204" pitchFamily="34" charset="0"/>
                <a:cs typeface="Times New Roman" panose="02020603050405020304" pitchFamily="18" charset="0"/>
              </a:rPr>
              <a:t>didn't </a:t>
            </a:r>
            <a:r>
              <a:rPr lang="en-US" b="1" i="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have security</a:t>
            </a:r>
            <a:r>
              <a:rPr lang="en-US" b="1" i="1" dirty="0">
                <a:solidFill>
                  <a:srgbClr val="00B050"/>
                </a:solidFill>
                <a:latin typeface="Times New Roman" panose="02020603050405020304" pitchFamily="18" charset="0"/>
                <a:ea typeface="Calibri" panose="020F0502020204030204" pitchFamily="34" charset="0"/>
                <a:cs typeface="Times New Roman" panose="02020603050405020304" pitchFamily="18" charset="0"/>
              </a:rPr>
              <a:t>, </a:t>
            </a:r>
            <a:r>
              <a:rPr lang="en-US" b="1" i="1" dirty="0">
                <a:latin typeface="Times New Roman" panose="02020603050405020304" pitchFamily="18" charset="0"/>
                <a:ea typeface="Calibri" panose="020F0502020204030204" pitchFamily="34" charset="0"/>
                <a:cs typeface="Times New Roman" panose="02020603050405020304" pitchFamily="18" charset="0"/>
              </a:rPr>
              <a:t>I told him </a:t>
            </a:r>
            <a:r>
              <a:rPr lang="en-US" b="1" i="1" dirty="0" smtClean="0">
                <a:latin typeface="Times New Roman" panose="02020603050405020304" pitchFamily="18" charset="0"/>
                <a:ea typeface="Calibri" panose="020F0502020204030204" pitchFamily="34" charset="0"/>
                <a:cs typeface="Times New Roman" panose="02020603050405020304" pitchFamily="18" charset="0"/>
              </a:rPr>
              <a:t>that </a:t>
            </a:r>
            <a:r>
              <a:rPr lang="en-US" b="1" i="1" dirty="0">
                <a:latin typeface="Times New Roman" panose="02020603050405020304" pitchFamily="18" charset="0"/>
                <a:ea typeface="Calibri" panose="020F0502020204030204" pitchFamily="34" charset="0"/>
                <a:cs typeface="Times New Roman" panose="02020603050405020304" pitchFamily="18" charset="0"/>
              </a:rPr>
              <a:t>some </a:t>
            </a:r>
            <a:r>
              <a:rPr lang="en-US" b="1" i="1" dirty="0" smtClean="0">
                <a:latin typeface="Times New Roman" panose="02020603050405020304" pitchFamily="18" charset="0"/>
                <a:ea typeface="Calibri" panose="020F0502020204030204" pitchFamily="34" charset="0"/>
                <a:cs typeface="Times New Roman" panose="02020603050405020304" pitchFamily="18" charset="0"/>
              </a:rPr>
              <a:t>rogues </a:t>
            </a:r>
            <a:r>
              <a:rPr lang="en-US" b="1" i="1" dirty="0">
                <a:latin typeface="Times New Roman" panose="02020603050405020304" pitchFamily="18" charset="0"/>
                <a:ea typeface="Calibri" panose="020F0502020204030204" pitchFamily="34" charset="0"/>
                <a:cs typeface="Times New Roman" panose="02020603050405020304" pitchFamily="18" charset="0"/>
              </a:rPr>
              <a:t>jumped </a:t>
            </a:r>
            <a:r>
              <a:rPr lang="en-US" b="1" i="1" dirty="0" smtClean="0">
                <a:latin typeface="Times New Roman" panose="02020603050405020304" pitchFamily="18" charset="0"/>
                <a:ea typeface="Calibri" panose="020F0502020204030204" pitchFamily="34" charset="0"/>
                <a:cs typeface="Times New Roman" panose="02020603050405020304" pitchFamily="18" charset="0"/>
              </a:rPr>
              <a:t>into </a:t>
            </a:r>
            <a:r>
              <a:rPr lang="en-US" b="1" i="1" dirty="0">
                <a:latin typeface="Times New Roman" panose="02020603050405020304" pitchFamily="18" charset="0"/>
                <a:ea typeface="Calibri" panose="020F0502020204030204" pitchFamily="34" charset="0"/>
                <a:cs typeface="Times New Roman" panose="02020603050405020304" pitchFamily="18" charset="0"/>
              </a:rPr>
              <a:t>the compound in the night, </a:t>
            </a:r>
            <a:r>
              <a:rPr lang="en-US" b="1" i="1" dirty="0" smtClean="0">
                <a:latin typeface="Times New Roman" panose="02020603050405020304" pitchFamily="18" charset="0"/>
                <a:ea typeface="Calibri" panose="020F0502020204030204" pitchFamily="34" charset="0"/>
                <a:cs typeface="Times New Roman" panose="02020603050405020304" pitchFamily="18" charset="0"/>
              </a:rPr>
              <a:t>after </a:t>
            </a:r>
            <a:r>
              <a:rPr lang="en-US" b="1" i="1" dirty="0">
                <a:latin typeface="Times New Roman" panose="02020603050405020304" pitchFamily="18" charset="0"/>
                <a:ea typeface="Calibri" panose="020F0502020204030204" pitchFamily="34" charset="0"/>
                <a:cs typeface="Times New Roman" panose="02020603050405020304" pitchFamily="18" charset="0"/>
              </a:rPr>
              <a:t>that </a:t>
            </a:r>
            <a:r>
              <a:rPr lang="en-US" b="1" i="1" dirty="0" smtClean="0">
                <a:latin typeface="Times New Roman" panose="02020603050405020304" pitchFamily="18" charset="0"/>
                <a:ea typeface="Calibri" panose="020F0502020204030204" pitchFamily="34" charset="0"/>
                <a:cs typeface="Times New Roman" panose="02020603050405020304" pitchFamily="18" charset="0"/>
              </a:rPr>
              <a:t>incident, </a:t>
            </a:r>
            <a:r>
              <a:rPr lang="en-US" b="1" i="1" dirty="0">
                <a:latin typeface="Times New Roman" panose="02020603050405020304" pitchFamily="18" charset="0"/>
                <a:ea typeface="Calibri" panose="020F0502020204030204" pitchFamily="34" charset="0"/>
                <a:cs typeface="Times New Roman" panose="02020603050405020304" pitchFamily="18" charset="0"/>
              </a:rPr>
              <a:t>I said </a:t>
            </a:r>
            <a:r>
              <a:rPr lang="en-US" b="1" i="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that I will not </a:t>
            </a:r>
            <a:r>
              <a:rPr lang="en-US" b="1" i="1" dirty="0" smtClean="0">
                <a:solidFill>
                  <a:srgbClr val="FF0000"/>
                </a:solidFill>
                <a:latin typeface="Times New Roman" panose="02020603050405020304" pitchFamily="18" charset="0"/>
                <a:ea typeface="Calibri" panose="020F0502020204030204" pitchFamily="34" charset="0"/>
                <a:cs typeface="Times New Roman" panose="02020603050405020304" pitchFamily="18" charset="0"/>
              </a:rPr>
              <a:t>continue</a:t>
            </a:r>
            <a:r>
              <a:rPr lang="en-US" b="1" i="1" dirty="0" smtClean="0">
                <a:solidFill>
                  <a:srgbClr val="00B050"/>
                </a:solidFill>
                <a:latin typeface="Times New Roman" panose="02020603050405020304" pitchFamily="18" charset="0"/>
                <a:ea typeface="Calibri" panose="020F0502020204030204" pitchFamily="34" charset="0"/>
                <a:cs typeface="Times New Roman" panose="02020603050405020304" pitchFamily="18" charset="0"/>
              </a:rPr>
              <a:t>.</a:t>
            </a:r>
            <a:r>
              <a:rPr lang="en-US" b="1" i="1" dirty="0" smtClean="0">
                <a:latin typeface="Times New Roman" panose="02020603050405020304" pitchFamily="18" charset="0"/>
                <a:ea typeface="Calibri" panose="020F0502020204030204" pitchFamily="34" charset="0"/>
                <a:cs typeface="Times New Roman" panose="02020603050405020304" pitchFamily="18" charset="0"/>
              </a:rPr>
              <a:t>. that </a:t>
            </a:r>
            <a:r>
              <a:rPr lang="en-US" b="1" i="1" dirty="0">
                <a:latin typeface="Times New Roman" panose="02020603050405020304" pitchFamily="18" charset="0"/>
                <a:ea typeface="Calibri" panose="020F0502020204030204" pitchFamily="34" charset="0"/>
                <a:cs typeface="Times New Roman" panose="02020603050405020304" pitchFamily="18" charset="0"/>
              </a:rPr>
              <a:t>it is better for them to assign a security man to the facility to be there</a:t>
            </a:r>
            <a:r>
              <a:rPr lang="en-US" b="1" i="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 So, </a:t>
            </a:r>
            <a:r>
              <a:rPr lang="en-US" b="1" i="1" dirty="0" smtClean="0">
                <a:solidFill>
                  <a:srgbClr val="FF0000"/>
                </a:solidFill>
                <a:latin typeface="Times New Roman" panose="02020603050405020304" pitchFamily="18" charset="0"/>
                <a:ea typeface="Calibri" panose="020F0502020204030204" pitchFamily="34" charset="0"/>
                <a:cs typeface="Times New Roman" panose="02020603050405020304" pitchFamily="18" charset="0"/>
              </a:rPr>
              <a:t>…he </a:t>
            </a:r>
            <a:r>
              <a:rPr lang="en-US" b="1" i="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recruited two security men and he was the one paying them</a:t>
            </a:r>
            <a:r>
              <a:rPr lang="en-US" b="1" i="1" dirty="0">
                <a:latin typeface="Times New Roman" panose="02020603050405020304" pitchFamily="18" charset="0"/>
                <a:ea typeface="Calibri" panose="020F0502020204030204" pitchFamily="34" charset="0"/>
                <a:cs typeface="Times New Roman" panose="02020603050405020304" pitchFamily="18" charset="0"/>
              </a:rPr>
              <a:t>, </a:t>
            </a:r>
            <a:r>
              <a:rPr lang="en-US" b="1" i="1" dirty="0" smtClean="0">
                <a:latin typeface="Times New Roman" panose="02020603050405020304" pitchFamily="18" charset="0"/>
                <a:ea typeface="Calibri" panose="020F0502020204030204" pitchFamily="34" charset="0"/>
                <a:cs typeface="Times New Roman" panose="02020603050405020304" pitchFamily="18" charset="0"/>
              </a:rPr>
              <a:t>….he </a:t>
            </a:r>
            <a:r>
              <a:rPr lang="en-US" b="1" i="1" dirty="0">
                <a:latin typeface="Times New Roman" panose="02020603050405020304" pitchFamily="18" charset="0"/>
                <a:ea typeface="Calibri" panose="020F0502020204030204" pitchFamily="34" charset="0"/>
                <a:cs typeface="Times New Roman" panose="02020603050405020304" pitchFamily="18" charset="0"/>
              </a:rPr>
              <a:t>was the one paying them. And </a:t>
            </a:r>
            <a:r>
              <a:rPr lang="en-US" b="1" i="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we were so happy and relaxed</a:t>
            </a:r>
            <a:r>
              <a:rPr lang="en-US" b="1" i="1" dirty="0" smtClean="0">
                <a:latin typeface="Times New Roman" panose="02020603050405020304" pitchFamily="18" charset="0"/>
                <a:ea typeface="Calibri" panose="020F0502020204030204" pitchFamily="34" charset="0"/>
                <a:cs typeface="Times New Roman" panose="02020603050405020304" pitchFamily="18" charset="0"/>
              </a:rPr>
              <a:t>.” (Facility OIC)</a:t>
            </a:r>
            <a:endParaRPr lang="en-GB" b="1" i="1"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4" name="Picture 3"/>
          <p:cNvPicPr>
            <a:picLocks noChangeAspect="1"/>
          </p:cNvPicPr>
          <p:nvPr/>
        </p:nvPicPr>
        <p:blipFill>
          <a:blip r:embed="rId4"/>
          <a:stretch>
            <a:fillRect/>
          </a:stretch>
        </p:blipFill>
        <p:spPr>
          <a:xfrm>
            <a:off x="923625" y="1289364"/>
            <a:ext cx="1054699" cy="755970"/>
          </a:xfrm>
          <a:prstGeom prst="rect">
            <a:avLst/>
          </a:prstGeom>
        </p:spPr>
      </p:pic>
    </p:spTree>
    <p:extLst>
      <p:ext uri="{BB962C8B-B14F-4D97-AF65-F5344CB8AC3E}">
        <p14:creationId xmlns:p14="http://schemas.microsoft.com/office/powerpoint/2010/main" val="303362907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prstClr val="black">
                    <a:lumMod val="85000"/>
                    <a:lumOff val="15000"/>
                  </a:prstClr>
                </a:solidFill>
              </a:rPr>
              <a:t>POSITIVE EXPERIENCES..</a:t>
            </a:r>
            <a:endParaRPr lang="en-GB" dirty="0"/>
          </a:p>
        </p:txBody>
      </p:sp>
      <p:pic>
        <p:nvPicPr>
          <p:cNvPr id="6" name="Content Placeholder 5"/>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1450975" y="2560639"/>
            <a:ext cx="4413249" cy="1970498"/>
          </a:xfrm>
        </p:spPr>
      </p:pic>
      <p:pic>
        <p:nvPicPr>
          <p:cNvPr id="7" name="Content Placeholder 6"/>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6334125" y="2560638"/>
            <a:ext cx="4413249" cy="1970499"/>
          </a:xfrm>
        </p:spPr>
      </p:pic>
      <p:sp>
        <p:nvSpPr>
          <p:cNvPr id="8" name="Rectangle 7"/>
          <p:cNvSpPr/>
          <p:nvPr/>
        </p:nvSpPr>
        <p:spPr>
          <a:xfrm>
            <a:off x="1450975" y="4531137"/>
            <a:ext cx="9445623" cy="1477328"/>
          </a:xfrm>
          <a:prstGeom prst="rect">
            <a:avLst/>
          </a:prstGeom>
        </p:spPr>
        <p:txBody>
          <a:bodyPr wrap="square">
            <a:spAutoFit/>
          </a:bodyPr>
          <a:lstStyle/>
          <a:p>
            <a:r>
              <a:rPr lang="en-GB" b="1" i="1" dirty="0" smtClean="0">
                <a:solidFill>
                  <a:srgbClr val="FF0000"/>
                </a:solidFill>
                <a:latin typeface="Times New Roman" panose="02020603050405020304" pitchFamily="18" charset="0"/>
                <a:ea typeface="Calibri" panose="020F0502020204030204" pitchFamily="34" charset="0"/>
              </a:rPr>
              <a:t>“When </a:t>
            </a:r>
            <a:r>
              <a:rPr lang="en-GB" b="1" i="1" dirty="0">
                <a:solidFill>
                  <a:srgbClr val="FF0000"/>
                </a:solidFill>
                <a:latin typeface="Times New Roman" panose="02020603050405020304" pitchFamily="18" charset="0"/>
                <a:ea typeface="Calibri" panose="020F0502020204030204" pitchFamily="34" charset="0"/>
              </a:rPr>
              <a:t>I came in, there was no security, and I </a:t>
            </a:r>
            <a:r>
              <a:rPr lang="en-GB" b="1" i="1" dirty="0" smtClean="0">
                <a:solidFill>
                  <a:srgbClr val="FF0000"/>
                </a:solidFill>
                <a:latin typeface="Times New Roman" panose="02020603050405020304" pitchFamily="18" charset="0"/>
                <a:ea typeface="Calibri" panose="020F0502020204030204" pitchFamily="34" charset="0"/>
              </a:rPr>
              <a:t>knew </a:t>
            </a:r>
            <a:r>
              <a:rPr lang="en-GB" b="1" i="1" dirty="0">
                <a:solidFill>
                  <a:srgbClr val="FF0000"/>
                </a:solidFill>
                <a:latin typeface="Times New Roman" panose="02020603050405020304" pitchFamily="18" charset="0"/>
                <a:ea typeface="Calibri" panose="020F0502020204030204" pitchFamily="34" charset="0"/>
              </a:rPr>
              <a:t>I will be sleeping here. I am a woman. So I went, </a:t>
            </a:r>
            <a:r>
              <a:rPr lang="en-GB" b="1" i="1" dirty="0" smtClean="0">
                <a:solidFill>
                  <a:srgbClr val="FF0000"/>
                </a:solidFill>
                <a:latin typeface="Times New Roman" panose="02020603050405020304" pitchFamily="18" charset="0"/>
                <a:ea typeface="Calibri" panose="020F0502020204030204" pitchFamily="34" charset="0"/>
              </a:rPr>
              <a:t>and </a:t>
            </a:r>
            <a:r>
              <a:rPr lang="en-GB" b="1" i="1" dirty="0">
                <a:solidFill>
                  <a:srgbClr val="FF0000"/>
                </a:solidFill>
                <a:latin typeface="Times New Roman" panose="02020603050405020304" pitchFamily="18" charset="0"/>
                <a:ea typeface="Calibri" panose="020F0502020204030204" pitchFamily="34" charset="0"/>
              </a:rPr>
              <a:t>I told </a:t>
            </a:r>
            <a:r>
              <a:rPr lang="en-GB" b="1" i="1" dirty="0" smtClean="0">
                <a:solidFill>
                  <a:srgbClr val="FF0000"/>
                </a:solidFill>
                <a:latin typeface="Times New Roman" panose="02020603050405020304" pitchFamily="18" charset="0"/>
                <a:ea typeface="Calibri" panose="020F0502020204030204" pitchFamily="34" charset="0"/>
              </a:rPr>
              <a:t>them (WDC), </a:t>
            </a:r>
            <a:r>
              <a:rPr lang="en-GB" b="1" i="1" dirty="0">
                <a:solidFill>
                  <a:srgbClr val="FF0000"/>
                </a:solidFill>
                <a:latin typeface="Times New Roman" panose="02020603050405020304" pitchFamily="18" charset="0"/>
                <a:ea typeface="Calibri" panose="020F0502020204030204" pitchFamily="34" charset="0"/>
              </a:rPr>
              <a:t>give me security, and with that I can make this place what you want it to be</a:t>
            </a:r>
            <a:r>
              <a:rPr lang="en-GB" b="1" i="1" dirty="0">
                <a:latin typeface="Times New Roman" panose="02020603050405020304" pitchFamily="18" charset="0"/>
                <a:ea typeface="Calibri" panose="020F0502020204030204" pitchFamily="34" charset="0"/>
              </a:rPr>
              <a:t>.</a:t>
            </a:r>
            <a:r>
              <a:rPr lang="en-GB" i="1" dirty="0">
                <a:latin typeface="Times New Roman" panose="02020603050405020304" pitchFamily="18" charset="0"/>
                <a:ea typeface="Calibri" panose="020F0502020204030204" pitchFamily="34" charset="0"/>
              </a:rPr>
              <a:t> </a:t>
            </a:r>
            <a:r>
              <a:rPr lang="en-GB" b="1" i="1" dirty="0">
                <a:latin typeface="Times New Roman" panose="02020603050405020304" pitchFamily="18" charset="0"/>
                <a:ea typeface="Calibri" panose="020F0502020204030204" pitchFamily="34" charset="0"/>
              </a:rPr>
              <a:t>They gave me, and I said, only night watch, that’s what I need, and they gave me one. And since then, we’ve been </a:t>
            </a:r>
            <a:r>
              <a:rPr lang="en-GB" b="1" i="1" dirty="0" smtClean="0">
                <a:latin typeface="Times New Roman" panose="02020603050405020304" pitchFamily="18" charset="0"/>
                <a:ea typeface="Calibri" panose="020F0502020204030204" pitchFamily="34" charset="0"/>
              </a:rPr>
              <a:t>sleeping here; </a:t>
            </a:r>
            <a:r>
              <a:rPr lang="en-GB" b="1" i="1" dirty="0">
                <a:latin typeface="Times New Roman" panose="02020603050405020304" pitchFamily="18" charset="0"/>
                <a:ea typeface="Calibri" panose="020F0502020204030204" pitchFamily="34" charset="0"/>
              </a:rPr>
              <a:t>and when some of them come, they will relax. Because you know most women also are too afraid</a:t>
            </a:r>
            <a:r>
              <a:rPr lang="en-GB" b="1" i="1" dirty="0" smtClean="0">
                <a:latin typeface="Times New Roman" panose="02020603050405020304" pitchFamily="18" charset="0"/>
                <a:ea typeface="Calibri" panose="020F0502020204030204" pitchFamily="34" charset="0"/>
              </a:rPr>
              <a:t>.” (OIC CIF2)</a:t>
            </a:r>
            <a:endParaRPr lang="en-GB" b="1" dirty="0"/>
          </a:p>
        </p:txBody>
      </p:sp>
      <p:pic>
        <p:nvPicPr>
          <p:cNvPr id="9" name="Picture 8"/>
          <p:cNvPicPr>
            <a:picLocks noChangeAspect="1"/>
          </p:cNvPicPr>
          <p:nvPr/>
        </p:nvPicPr>
        <p:blipFill>
          <a:blip r:embed="rId4"/>
          <a:stretch>
            <a:fillRect/>
          </a:stretch>
        </p:blipFill>
        <p:spPr>
          <a:xfrm>
            <a:off x="923625" y="1289364"/>
            <a:ext cx="1054699" cy="755970"/>
          </a:xfrm>
          <a:prstGeom prst="rect">
            <a:avLst/>
          </a:prstGeom>
        </p:spPr>
      </p:pic>
    </p:spTree>
    <p:extLst>
      <p:ext uri="{BB962C8B-B14F-4D97-AF65-F5344CB8AC3E}">
        <p14:creationId xmlns:p14="http://schemas.microsoft.com/office/powerpoint/2010/main" val="66166208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sz="half" idx="1"/>
          </p:nvPr>
        </p:nvPicPr>
        <p:blipFill>
          <a:blip r:embed="rId2"/>
          <a:stretch>
            <a:fillRect/>
          </a:stretch>
        </p:blipFill>
        <p:spPr>
          <a:xfrm>
            <a:off x="1022268" y="1648497"/>
            <a:ext cx="4413887" cy="2485622"/>
          </a:xfrm>
          <a:prstGeom prst="rect">
            <a:avLst/>
          </a:prstGeom>
        </p:spPr>
      </p:pic>
      <p:pic>
        <p:nvPicPr>
          <p:cNvPr id="7" name="Content Placeholder 6"/>
          <p:cNvPicPr>
            <a:picLocks noGrp="1" noChangeAspect="1"/>
          </p:cNvPicPr>
          <p:nvPr>
            <p:ph sz="half" idx="2"/>
          </p:nvPr>
        </p:nvPicPr>
        <p:blipFill>
          <a:blip r:embed="rId3"/>
          <a:stretch>
            <a:fillRect/>
          </a:stretch>
        </p:blipFill>
        <p:spPr>
          <a:xfrm>
            <a:off x="6256533" y="1841680"/>
            <a:ext cx="4413887" cy="2292438"/>
          </a:xfrm>
          <a:prstGeom prst="rect">
            <a:avLst/>
          </a:prstGeom>
        </p:spPr>
      </p:pic>
      <p:sp>
        <p:nvSpPr>
          <p:cNvPr id="9" name="Rectangle 8"/>
          <p:cNvSpPr/>
          <p:nvPr/>
        </p:nvSpPr>
        <p:spPr>
          <a:xfrm>
            <a:off x="1120462" y="4288665"/>
            <a:ext cx="9401577" cy="1508105"/>
          </a:xfrm>
          <a:prstGeom prst="rect">
            <a:avLst/>
          </a:prstGeom>
        </p:spPr>
        <p:txBody>
          <a:bodyPr wrap="square">
            <a:spAutoFit/>
          </a:bodyPr>
          <a:lstStyle/>
          <a:p>
            <a:pPr algn="just">
              <a:lnSpc>
                <a:spcPct val="115000"/>
              </a:lnSpc>
              <a:spcAft>
                <a:spcPts val="1000"/>
              </a:spcAft>
            </a:pPr>
            <a:r>
              <a:rPr lang="en-US" sz="1600" b="1" i="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We and the community supported them by first making sure that there is a security guard here. The security guard is paid by the community to help secure the drugs that were brought here then. The community also assisted in bringing some women to assist the health workers. I don’t have much to say on this but I know that the village health workers do encourage them to come and they are coming. Moreover, the fence, gate and security also encouraged them to come because they are sure of security anytime” </a:t>
            </a:r>
            <a:r>
              <a:rPr lang="en-US" sz="1600" b="1" i="1" dirty="0" smtClean="0">
                <a:solidFill>
                  <a:srgbClr val="FF0000"/>
                </a:solidFill>
                <a:latin typeface="Times New Roman" panose="02020603050405020304" pitchFamily="18" charset="0"/>
                <a:ea typeface="Calibri" panose="020F0502020204030204" pitchFamily="34" charset="0"/>
                <a:cs typeface="Times New Roman" panose="02020603050405020304" pitchFamily="18" charset="0"/>
              </a:rPr>
              <a:t>(WDCs</a:t>
            </a:r>
            <a:r>
              <a:rPr lang="en-US" sz="1600" b="1" i="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 </a:t>
            </a:r>
            <a:r>
              <a:rPr lang="en-US" sz="1600" b="1" i="1" dirty="0" smtClean="0">
                <a:solidFill>
                  <a:srgbClr val="FF0000"/>
                </a:solidFill>
                <a:latin typeface="Times New Roman" panose="02020603050405020304" pitchFamily="18" charset="0"/>
                <a:ea typeface="Calibri" panose="020F0502020204030204" pitchFamily="34" charset="0"/>
                <a:cs typeface="Times New Roman" panose="02020603050405020304" pitchFamily="18" charset="0"/>
              </a:rPr>
              <a:t>C1F2).</a:t>
            </a:r>
            <a:endParaRPr lang="en-GB" sz="1600" b="1" i="1"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0" name="Picture 9"/>
          <p:cNvPicPr>
            <a:picLocks noChangeAspect="1"/>
          </p:cNvPicPr>
          <p:nvPr/>
        </p:nvPicPr>
        <p:blipFill>
          <a:blip r:embed="rId4"/>
          <a:stretch>
            <a:fillRect/>
          </a:stretch>
        </p:blipFill>
        <p:spPr>
          <a:xfrm>
            <a:off x="1344379" y="737981"/>
            <a:ext cx="1054699" cy="755970"/>
          </a:xfrm>
          <a:prstGeom prst="rect">
            <a:avLst/>
          </a:prstGeom>
        </p:spPr>
      </p:pic>
    </p:spTree>
    <p:extLst>
      <p:ext uri="{BB962C8B-B14F-4D97-AF65-F5344CB8AC3E}">
        <p14:creationId xmlns:p14="http://schemas.microsoft.com/office/powerpoint/2010/main" val="92012134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NOT SO POSITIVE…..</a:t>
            </a:r>
            <a:endParaRPr lang="en-GB" dirty="0"/>
          </a:p>
        </p:txBody>
      </p:sp>
      <p:pic>
        <p:nvPicPr>
          <p:cNvPr id="5" name="Content Placeholder 4"/>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1450975" y="2560638"/>
            <a:ext cx="4413249" cy="3309937"/>
          </a:xfrm>
        </p:spPr>
      </p:pic>
      <p:sp>
        <p:nvSpPr>
          <p:cNvPr id="4" name="Content Placeholder 3"/>
          <p:cNvSpPr>
            <a:spLocks noGrp="1"/>
          </p:cNvSpPr>
          <p:nvPr>
            <p:ph sz="half" idx="2"/>
          </p:nvPr>
        </p:nvSpPr>
        <p:spPr/>
        <p:txBody>
          <a:bodyPr>
            <a:normAutofit fontScale="85000" lnSpcReduction="20000"/>
          </a:bodyPr>
          <a:lstStyle/>
          <a:p>
            <a:r>
              <a:rPr lang="en-GB" b="1" i="1" dirty="0" smtClean="0"/>
              <a:t>“</a:t>
            </a:r>
            <a:r>
              <a:rPr lang="en-GB" b="1" i="1" dirty="0" smtClean="0">
                <a:solidFill>
                  <a:srgbClr val="FF0000"/>
                </a:solidFill>
              </a:rPr>
              <a:t>No security, we don’t have any security, we don’t have </a:t>
            </a:r>
            <a:r>
              <a:rPr lang="en-GB" b="1" i="1" dirty="0" smtClean="0">
                <a:solidFill>
                  <a:srgbClr val="FF0000"/>
                </a:solidFill>
              </a:rPr>
              <a:t>a fence</a:t>
            </a:r>
            <a:r>
              <a:rPr lang="en-GB" b="1" i="1" dirty="0" smtClean="0">
                <a:solidFill>
                  <a:srgbClr val="FF0000"/>
                </a:solidFill>
              </a:rPr>
              <a:t>. Look at the house not fenced, the building not fenced so it is a challenge.”</a:t>
            </a:r>
          </a:p>
          <a:p>
            <a:r>
              <a:rPr lang="en-GB" b="1" i="1" dirty="0" smtClean="0"/>
              <a:t>“We work </a:t>
            </a:r>
            <a:r>
              <a:rPr lang="en-GB" b="1" i="1" dirty="0" smtClean="0"/>
              <a:t>alone, </a:t>
            </a:r>
            <a:r>
              <a:rPr lang="en-GB" b="1" i="1" dirty="0" smtClean="0"/>
              <a:t>one person in a shift and in the night a staff working alone here, how can she sleep in this whole hall alone? </a:t>
            </a:r>
            <a:r>
              <a:rPr lang="en-GB" b="1" i="1" dirty="0" smtClean="0">
                <a:solidFill>
                  <a:srgbClr val="FF0000"/>
                </a:solidFill>
              </a:rPr>
              <a:t>At times staying there I may not sleep, I will be awake all night because of fear, no fence, no security, no partner, that is our challenge” </a:t>
            </a:r>
            <a:r>
              <a:rPr lang="en-GB" b="1" i="1" dirty="0" smtClean="0"/>
              <a:t>(Facility OIC)</a:t>
            </a:r>
          </a:p>
          <a:p>
            <a:endParaRPr lang="en-GB" dirty="0"/>
          </a:p>
        </p:txBody>
      </p:sp>
      <p:pic>
        <p:nvPicPr>
          <p:cNvPr id="3" name="Picture 2"/>
          <p:cNvPicPr>
            <a:picLocks noChangeAspect="1"/>
          </p:cNvPicPr>
          <p:nvPr/>
        </p:nvPicPr>
        <p:blipFill>
          <a:blip r:embed="rId3"/>
          <a:stretch>
            <a:fillRect/>
          </a:stretch>
        </p:blipFill>
        <p:spPr>
          <a:xfrm>
            <a:off x="1099681" y="1289205"/>
            <a:ext cx="1054699" cy="755970"/>
          </a:xfrm>
          <a:prstGeom prst="rect">
            <a:avLst/>
          </a:prstGeom>
        </p:spPr>
      </p:pic>
    </p:spTree>
    <p:extLst>
      <p:ext uri="{BB962C8B-B14F-4D97-AF65-F5344CB8AC3E}">
        <p14:creationId xmlns:p14="http://schemas.microsoft.com/office/powerpoint/2010/main" val="302351137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prstClr val="black">
                    <a:lumMod val="85000"/>
                    <a:lumOff val="15000"/>
                  </a:prstClr>
                </a:solidFill>
              </a:rPr>
              <a:t>NOT SO POSITIVE….. </a:t>
            </a:r>
            <a:endParaRPr lang="en-GB" dirty="0"/>
          </a:p>
        </p:txBody>
      </p:sp>
      <p:pic>
        <p:nvPicPr>
          <p:cNvPr id="5" name="Content Placeholder 4"/>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1450975" y="2560638"/>
            <a:ext cx="4413249" cy="3309937"/>
          </a:xfrm>
        </p:spPr>
      </p:pic>
      <p:sp>
        <p:nvSpPr>
          <p:cNvPr id="4" name="Content Placeholder 3"/>
          <p:cNvSpPr>
            <a:spLocks noGrp="1"/>
          </p:cNvSpPr>
          <p:nvPr>
            <p:ph sz="half" idx="2"/>
          </p:nvPr>
        </p:nvSpPr>
        <p:spPr/>
        <p:txBody>
          <a:bodyPr>
            <a:normAutofit fontScale="85000" lnSpcReduction="20000"/>
          </a:bodyPr>
          <a:lstStyle/>
          <a:p>
            <a:r>
              <a:rPr lang="en-GB" b="1" i="1" dirty="0"/>
              <a:t>“But as for the security aspect (sighs) this place is not secured because no gate. </a:t>
            </a:r>
            <a:r>
              <a:rPr lang="en-GB" b="1" i="1" dirty="0">
                <a:solidFill>
                  <a:srgbClr val="FF0000"/>
                </a:solidFill>
              </a:rPr>
              <a:t>The gate that was here was removed immediately I entered </a:t>
            </a:r>
            <a:r>
              <a:rPr lang="en-GB" b="1" i="1" dirty="0" smtClean="0">
                <a:solidFill>
                  <a:srgbClr val="FF0000"/>
                </a:solidFill>
              </a:rPr>
              <a:t>here……And </a:t>
            </a:r>
            <a:r>
              <a:rPr lang="en-GB" b="1" i="1" dirty="0">
                <a:solidFill>
                  <a:srgbClr val="FF0000"/>
                </a:solidFill>
              </a:rPr>
              <a:t>then we complained and complained, the gate was not </a:t>
            </a:r>
            <a:r>
              <a:rPr lang="en-GB" b="1" i="1" dirty="0" smtClean="0">
                <a:solidFill>
                  <a:srgbClr val="FF0000"/>
                </a:solidFill>
              </a:rPr>
              <a:t>put back. </a:t>
            </a:r>
            <a:r>
              <a:rPr lang="en-GB" b="1" i="1" dirty="0">
                <a:solidFill>
                  <a:srgbClr val="FF0000"/>
                </a:solidFill>
              </a:rPr>
              <a:t>The security is zero</a:t>
            </a:r>
            <a:r>
              <a:rPr lang="en-GB" b="1" i="1" dirty="0" smtClean="0">
                <a:solidFill>
                  <a:srgbClr val="FF0000"/>
                </a:solidFill>
              </a:rPr>
              <a:t>……</a:t>
            </a:r>
            <a:r>
              <a:rPr lang="en-GB" b="1" i="1" dirty="0"/>
              <a:t>all of us were complaining about the lack of </a:t>
            </a:r>
            <a:r>
              <a:rPr lang="en-GB" b="1" i="1" dirty="0" smtClean="0"/>
              <a:t>security…First </a:t>
            </a:r>
            <a:r>
              <a:rPr lang="en-GB" b="1" i="1" dirty="0"/>
              <a:t>is to provide conducive environment … secure the environment.”</a:t>
            </a:r>
            <a:endParaRPr lang="en-GB" b="1" dirty="0"/>
          </a:p>
          <a:p>
            <a:r>
              <a:rPr lang="en-GB" b="1" i="1" dirty="0" smtClean="0"/>
              <a:t>(HW- SURE-P Midwife)</a:t>
            </a:r>
            <a:endParaRPr lang="en-GB" b="1" i="1" dirty="0"/>
          </a:p>
        </p:txBody>
      </p:sp>
      <p:pic>
        <p:nvPicPr>
          <p:cNvPr id="3" name="Picture 2"/>
          <p:cNvPicPr>
            <a:picLocks noChangeAspect="1"/>
          </p:cNvPicPr>
          <p:nvPr/>
        </p:nvPicPr>
        <p:blipFill>
          <a:blip r:embed="rId3"/>
          <a:stretch>
            <a:fillRect/>
          </a:stretch>
        </p:blipFill>
        <p:spPr>
          <a:xfrm>
            <a:off x="1048165" y="1289205"/>
            <a:ext cx="1054699" cy="755970"/>
          </a:xfrm>
          <a:prstGeom prst="rect">
            <a:avLst/>
          </a:prstGeom>
        </p:spPr>
      </p:pic>
    </p:spTree>
    <p:extLst>
      <p:ext uri="{BB962C8B-B14F-4D97-AF65-F5344CB8AC3E}">
        <p14:creationId xmlns:p14="http://schemas.microsoft.com/office/powerpoint/2010/main" val="313074741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2" y="982133"/>
            <a:ext cx="9601196" cy="962578"/>
          </a:xfrm>
        </p:spPr>
        <p:txBody>
          <a:bodyPr>
            <a:normAutofit/>
          </a:bodyPr>
          <a:lstStyle/>
          <a:p>
            <a:r>
              <a:rPr lang="en-GB" dirty="0">
                <a:solidFill>
                  <a:prstClr val="black">
                    <a:lumMod val="85000"/>
                    <a:lumOff val="15000"/>
                  </a:prstClr>
                </a:solidFill>
              </a:rPr>
              <a:t>NOT SO POSITIVE….. </a:t>
            </a:r>
            <a:endParaRPr lang="en-GB" dirty="0"/>
          </a:p>
        </p:txBody>
      </p:sp>
      <p:pic>
        <p:nvPicPr>
          <p:cNvPr id="5" name="Content Placeholder 4"/>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1350046" y="2426370"/>
            <a:ext cx="4413249" cy="2356834"/>
          </a:xfrm>
        </p:spPr>
      </p:pic>
      <p:pic>
        <p:nvPicPr>
          <p:cNvPr id="3" name="Content Placeholder 2"/>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6334125" y="2560639"/>
            <a:ext cx="4413249" cy="2256060"/>
          </a:xfrm>
        </p:spPr>
      </p:pic>
      <p:sp>
        <p:nvSpPr>
          <p:cNvPr id="4" name="Rectangle 3"/>
          <p:cNvSpPr/>
          <p:nvPr/>
        </p:nvSpPr>
        <p:spPr>
          <a:xfrm>
            <a:off x="1295403" y="4731688"/>
            <a:ext cx="9451972" cy="1754326"/>
          </a:xfrm>
          <a:prstGeom prst="rect">
            <a:avLst/>
          </a:prstGeom>
        </p:spPr>
        <p:txBody>
          <a:bodyPr wrap="square">
            <a:spAutoFit/>
          </a:bodyPr>
          <a:lstStyle/>
          <a:p>
            <a:pPr algn="just">
              <a:lnSpc>
                <a:spcPct val="150000"/>
              </a:lnSpc>
              <a:spcAft>
                <a:spcPts val="1200"/>
              </a:spcAft>
            </a:pPr>
            <a:r>
              <a:rPr lang="en-GB" sz="1200" b="1" i="1" dirty="0">
                <a:latin typeface="Times New Roman" panose="02020603050405020304" pitchFamily="18" charset="0"/>
                <a:ea typeface="Calibri" panose="020F0502020204030204" pitchFamily="34" charset="0"/>
                <a:cs typeface="Times New Roman" panose="02020603050405020304" pitchFamily="18" charset="0"/>
              </a:rPr>
              <a:t>“</a:t>
            </a:r>
            <a:r>
              <a:rPr lang="en-GB" b="1" i="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Then the security issue is the most important because most pregnant women come in at night to deliver, and it is risky especially with this our large uncompleted building, crossing over to open the gate</a:t>
            </a:r>
            <a:r>
              <a:rPr lang="en-GB" b="1" i="1" dirty="0">
                <a:latin typeface="Times New Roman" panose="02020603050405020304" pitchFamily="18" charset="0"/>
                <a:ea typeface="Calibri" panose="020F0502020204030204" pitchFamily="34" charset="0"/>
                <a:cs typeface="Times New Roman" panose="02020603050405020304" pitchFamily="18" charset="0"/>
              </a:rPr>
              <a:t>. </a:t>
            </a:r>
            <a:r>
              <a:rPr lang="en-GB" b="1" i="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So, in most cases, we have to get somebody to stay there and liaise with the person on the conditions</a:t>
            </a:r>
            <a:r>
              <a:rPr lang="en-GB" b="1" i="1" dirty="0" smtClean="0">
                <a:solidFill>
                  <a:srgbClr val="FF0000"/>
                </a:solidFill>
                <a:latin typeface="Times New Roman" panose="02020603050405020304" pitchFamily="18" charset="0"/>
                <a:ea typeface="Calibri" panose="020F0502020204030204" pitchFamily="34" charset="0"/>
                <a:cs typeface="Times New Roman" panose="02020603050405020304" pitchFamily="18" charset="0"/>
              </a:rPr>
              <a:t>.” (OIC –C2F2)</a:t>
            </a:r>
            <a:endParaRPr lang="en-GB" b="1"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6" name="Picture 5"/>
          <p:cNvPicPr>
            <a:picLocks noChangeAspect="1"/>
          </p:cNvPicPr>
          <p:nvPr/>
        </p:nvPicPr>
        <p:blipFill>
          <a:blip r:embed="rId4"/>
          <a:stretch>
            <a:fillRect/>
          </a:stretch>
        </p:blipFill>
        <p:spPr>
          <a:xfrm>
            <a:off x="1061044" y="1188741"/>
            <a:ext cx="1054699" cy="755970"/>
          </a:xfrm>
          <a:prstGeom prst="rect">
            <a:avLst/>
          </a:prstGeom>
        </p:spPr>
      </p:pic>
    </p:spTree>
    <p:extLst>
      <p:ext uri="{BB962C8B-B14F-4D97-AF65-F5344CB8AC3E}">
        <p14:creationId xmlns:p14="http://schemas.microsoft.com/office/powerpoint/2010/main" val="406424314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2" y="982133"/>
            <a:ext cx="9601196" cy="1052730"/>
          </a:xfrm>
        </p:spPr>
        <p:txBody>
          <a:bodyPr/>
          <a:lstStyle/>
          <a:p>
            <a:r>
              <a:rPr lang="en-GB" dirty="0" smtClean="0"/>
              <a:t>CONTROL CLUSTER </a:t>
            </a:r>
            <a:endParaRPr lang="en-GB" dirty="0"/>
          </a:p>
        </p:txBody>
      </p:sp>
      <p:pic>
        <p:nvPicPr>
          <p:cNvPr id="5" name="Content Placeholder 4"/>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1056069" y="2331076"/>
            <a:ext cx="4159876" cy="2163651"/>
          </a:xfrm>
        </p:spPr>
      </p:pic>
      <p:sp>
        <p:nvSpPr>
          <p:cNvPr id="3" name="Rectangle 2"/>
          <p:cNvSpPr/>
          <p:nvPr/>
        </p:nvSpPr>
        <p:spPr>
          <a:xfrm>
            <a:off x="832834" y="4440954"/>
            <a:ext cx="4653566" cy="1200329"/>
          </a:xfrm>
          <a:prstGeom prst="rect">
            <a:avLst/>
          </a:prstGeom>
        </p:spPr>
        <p:txBody>
          <a:bodyPr wrap="square">
            <a:spAutoFit/>
          </a:bodyPr>
          <a:lstStyle/>
          <a:p>
            <a:r>
              <a:rPr lang="en-GB" b="1" i="1" dirty="0"/>
              <a:t>“</a:t>
            </a:r>
            <a:r>
              <a:rPr lang="en-GB" b="1" i="1" dirty="0">
                <a:solidFill>
                  <a:srgbClr val="FF0000"/>
                </a:solidFill>
              </a:rPr>
              <a:t>Security has never been in this </a:t>
            </a:r>
            <a:r>
              <a:rPr lang="en-GB" b="1" i="1" dirty="0" smtClean="0">
                <a:solidFill>
                  <a:srgbClr val="FF0000"/>
                </a:solidFill>
              </a:rPr>
              <a:t>facility……... </a:t>
            </a:r>
            <a:r>
              <a:rPr lang="en-GB" b="1" i="1" dirty="0">
                <a:solidFill>
                  <a:srgbClr val="FF0000"/>
                </a:solidFill>
              </a:rPr>
              <a:t>You know all the staff here are females, we shouldn’t be seen or stay outside at such odd hours unaccompanied by a male</a:t>
            </a:r>
            <a:r>
              <a:rPr lang="en-GB" b="1" i="1" dirty="0" smtClean="0">
                <a:solidFill>
                  <a:srgbClr val="FF0000"/>
                </a:solidFill>
              </a:rPr>
              <a:t>.” (OIC)</a:t>
            </a:r>
            <a:endParaRPr lang="en-GB" b="1" dirty="0">
              <a:solidFill>
                <a:srgbClr val="FF0000"/>
              </a:solidFill>
            </a:endParaRPr>
          </a:p>
        </p:txBody>
      </p:sp>
      <p:sp>
        <p:nvSpPr>
          <p:cNvPr id="8" name="Rectangle 7"/>
          <p:cNvSpPr/>
          <p:nvPr/>
        </p:nvSpPr>
        <p:spPr>
          <a:xfrm>
            <a:off x="5486400" y="4521360"/>
            <a:ext cx="5825544" cy="1861215"/>
          </a:xfrm>
          <a:prstGeom prst="rect">
            <a:avLst/>
          </a:prstGeom>
        </p:spPr>
        <p:txBody>
          <a:bodyPr wrap="square">
            <a:spAutoFit/>
          </a:bodyPr>
          <a:lstStyle/>
          <a:p>
            <a:pPr algn="just">
              <a:lnSpc>
                <a:spcPct val="107000"/>
              </a:lnSpc>
              <a:spcAft>
                <a:spcPts val="800"/>
              </a:spcAft>
            </a:pPr>
            <a:r>
              <a:rPr lang="en-GB" b="1" i="1" dirty="0" smtClean="0">
                <a:solidFill>
                  <a:srgbClr val="00B050"/>
                </a:solidFill>
                <a:latin typeface="Garamond" panose="02020404030301010803" pitchFamily="18" charset="0"/>
                <a:ea typeface="Calibri" panose="020F0502020204030204" pitchFamily="34" charset="0"/>
                <a:cs typeface="Times New Roman" panose="02020603050405020304" pitchFamily="18" charset="0"/>
              </a:rPr>
              <a:t>“…….But </a:t>
            </a:r>
            <a:r>
              <a:rPr lang="en-GB" b="1" i="1" dirty="0">
                <a:solidFill>
                  <a:srgbClr val="00B050"/>
                </a:solidFill>
                <a:latin typeface="Garamond" panose="02020404030301010803" pitchFamily="18" charset="0"/>
                <a:ea typeface="Calibri" panose="020F0502020204030204" pitchFamily="34" charset="0"/>
                <a:cs typeface="Times New Roman" panose="02020603050405020304" pitchFamily="18" charset="0"/>
              </a:rPr>
              <a:t>since the community promised to extend their security watch to the area of the facility, we started working night shifts. Things then started working well. When the people noticed we now worked night shifts, if they have any medical emergency at night, they rushed to the facility</a:t>
            </a:r>
            <a:r>
              <a:rPr lang="en-GB" b="1" i="1" dirty="0" smtClean="0">
                <a:solidFill>
                  <a:srgbClr val="00B050"/>
                </a:solidFill>
                <a:latin typeface="Garamond" panose="02020404030301010803" pitchFamily="18" charset="0"/>
                <a:ea typeface="Calibri" panose="020F0502020204030204" pitchFamily="34" charset="0"/>
                <a:cs typeface="Times New Roman" panose="02020603050405020304" pitchFamily="18" charset="0"/>
              </a:rPr>
              <a:t>.” (OIC)</a:t>
            </a:r>
            <a:endParaRPr lang="en-GB" sz="1600" b="1" dirty="0">
              <a:solidFill>
                <a:srgbClr val="00B050"/>
              </a:solidFill>
              <a:effectLst/>
              <a:latin typeface="Garamond" panose="02020404030301010803" pitchFamily="18" charset="0"/>
              <a:ea typeface="Calibri" panose="020F0502020204030204" pitchFamily="34" charset="0"/>
              <a:cs typeface="Times New Roman" panose="02020603050405020304" pitchFamily="18" charset="0"/>
            </a:endParaRPr>
          </a:p>
        </p:txBody>
      </p:sp>
      <p:pic>
        <p:nvPicPr>
          <p:cNvPr id="10" name="Content Placeholder 9"/>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5962919" y="2331076"/>
            <a:ext cx="4784456" cy="2190285"/>
          </a:xfrm>
        </p:spPr>
      </p:pic>
      <p:pic>
        <p:nvPicPr>
          <p:cNvPr id="11" name="Picture 10"/>
          <p:cNvPicPr>
            <a:picLocks noChangeAspect="1"/>
          </p:cNvPicPr>
          <p:nvPr/>
        </p:nvPicPr>
        <p:blipFill>
          <a:blip r:embed="rId4"/>
          <a:stretch>
            <a:fillRect/>
          </a:stretch>
        </p:blipFill>
        <p:spPr>
          <a:xfrm>
            <a:off x="1295402" y="1211799"/>
            <a:ext cx="1054699" cy="755970"/>
          </a:xfrm>
          <a:prstGeom prst="rect">
            <a:avLst/>
          </a:prstGeom>
        </p:spPr>
      </p:pic>
    </p:spTree>
    <p:extLst>
      <p:ext uri="{BB962C8B-B14F-4D97-AF65-F5344CB8AC3E}">
        <p14:creationId xmlns:p14="http://schemas.microsoft.com/office/powerpoint/2010/main" val="250064206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KEY MESSAGES</a:t>
            </a:r>
            <a:endParaRPr lang="en-GB" dirty="0"/>
          </a:p>
        </p:txBody>
      </p:sp>
      <p:sp>
        <p:nvSpPr>
          <p:cNvPr id="3" name="Content Placeholder 2"/>
          <p:cNvSpPr>
            <a:spLocks noGrp="1"/>
          </p:cNvSpPr>
          <p:nvPr>
            <p:ph idx="1"/>
          </p:nvPr>
        </p:nvSpPr>
        <p:spPr>
          <a:xfrm>
            <a:off x="1295402" y="2591378"/>
            <a:ext cx="9601196" cy="3318936"/>
          </a:xfrm>
        </p:spPr>
        <p:txBody>
          <a:bodyPr>
            <a:normAutofit/>
          </a:bodyPr>
          <a:lstStyle/>
          <a:p>
            <a:endParaRPr lang="en-GB" dirty="0" smtClean="0"/>
          </a:p>
          <a:p>
            <a:r>
              <a:rPr lang="en-GB" dirty="0" smtClean="0"/>
              <a:t>Facility security (or lack of it) was a critical influence on provision and use of services , especially at night</a:t>
            </a:r>
          </a:p>
          <a:p>
            <a:r>
              <a:rPr lang="en-GB" dirty="0" smtClean="0"/>
              <a:t>Has the potential to negatively impact an otherwise well funded programme</a:t>
            </a:r>
          </a:p>
          <a:p>
            <a:r>
              <a:rPr lang="en-GB" dirty="0" smtClean="0"/>
              <a:t>Facility security should be made a key consideration in planning further maternal and child health programmes.</a:t>
            </a:r>
            <a:endParaRPr lang="en-GB" dirty="0"/>
          </a:p>
        </p:txBody>
      </p:sp>
      <p:pic>
        <p:nvPicPr>
          <p:cNvPr id="4" name="Picture 3"/>
          <p:cNvPicPr>
            <a:picLocks noChangeAspect="1"/>
          </p:cNvPicPr>
          <p:nvPr/>
        </p:nvPicPr>
        <p:blipFill>
          <a:blip r:embed="rId2"/>
          <a:stretch>
            <a:fillRect/>
          </a:stretch>
        </p:blipFill>
        <p:spPr>
          <a:xfrm>
            <a:off x="1885292" y="1287511"/>
            <a:ext cx="1054699" cy="755970"/>
          </a:xfrm>
          <a:prstGeom prst="rect">
            <a:avLst/>
          </a:prstGeom>
        </p:spPr>
      </p:pic>
    </p:spTree>
    <p:extLst>
      <p:ext uri="{BB962C8B-B14F-4D97-AF65-F5344CB8AC3E}">
        <p14:creationId xmlns:p14="http://schemas.microsoft.com/office/powerpoint/2010/main" val="352665114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NIGERIA</a:t>
            </a:r>
            <a:endParaRPr lang="en-GB" dirty="0"/>
          </a:p>
        </p:txBody>
      </p:sp>
      <p:sp>
        <p:nvSpPr>
          <p:cNvPr id="3" name="Content Placeholder 2"/>
          <p:cNvSpPr>
            <a:spLocks noGrp="1"/>
          </p:cNvSpPr>
          <p:nvPr>
            <p:ph idx="1"/>
          </p:nvPr>
        </p:nvSpPr>
        <p:spPr/>
        <p:txBody>
          <a:bodyPr/>
          <a:lstStyle/>
          <a:p>
            <a:r>
              <a:rPr lang="en-GB" dirty="0" smtClean="0"/>
              <a:t>A low middle income country in sub-Saharan Africa</a:t>
            </a:r>
          </a:p>
          <a:p>
            <a:r>
              <a:rPr lang="en-GB" dirty="0" smtClean="0"/>
              <a:t>Estimated population of 180 million</a:t>
            </a:r>
          </a:p>
          <a:p>
            <a:r>
              <a:rPr lang="en-GB" dirty="0" smtClean="0"/>
              <a:t>Has 36 states and a federal capital  territory</a:t>
            </a:r>
          </a:p>
          <a:p>
            <a:r>
              <a:rPr lang="en-GB" dirty="0" smtClean="0"/>
              <a:t>Poor maternal and child health (MCH) indices</a:t>
            </a:r>
          </a:p>
          <a:p>
            <a:r>
              <a:rPr lang="en-GB" dirty="0" smtClean="0"/>
              <a:t>Did not meet MDGs 4 &amp; 5</a:t>
            </a:r>
          </a:p>
          <a:p>
            <a:endParaRPr lang="en-GB" dirty="0"/>
          </a:p>
        </p:txBody>
      </p:sp>
      <p:pic>
        <p:nvPicPr>
          <p:cNvPr id="4" name="Picture 3"/>
          <p:cNvPicPr>
            <a:picLocks noChangeAspect="1"/>
          </p:cNvPicPr>
          <p:nvPr/>
        </p:nvPicPr>
        <p:blipFill>
          <a:blip r:embed="rId2"/>
          <a:stretch>
            <a:fillRect/>
          </a:stretch>
        </p:blipFill>
        <p:spPr>
          <a:xfrm>
            <a:off x="1537563" y="1389640"/>
            <a:ext cx="1054699" cy="755970"/>
          </a:xfrm>
          <a:prstGeom prst="rect">
            <a:avLst/>
          </a:prstGeom>
        </p:spPr>
      </p:pic>
      <p:pic>
        <p:nvPicPr>
          <p:cNvPr id="5" name="Picture 4"/>
          <p:cNvPicPr>
            <a:picLocks noChangeAspect="1"/>
          </p:cNvPicPr>
          <p:nvPr/>
        </p:nvPicPr>
        <p:blipFill>
          <a:blip r:embed="rId3"/>
          <a:stretch>
            <a:fillRect/>
          </a:stretch>
        </p:blipFill>
        <p:spPr>
          <a:xfrm>
            <a:off x="8603088" y="2743200"/>
            <a:ext cx="2653048" cy="2756079"/>
          </a:xfrm>
          <a:prstGeom prst="rect">
            <a:avLst/>
          </a:prstGeom>
        </p:spPr>
      </p:pic>
    </p:spTree>
    <p:extLst>
      <p:ext uri="{BB962C8B-B14F-4D97-AF65-F5344CB8AC3E}">
        <p14:creationId xmlns:p14="http://schemas.microsoft.com/office/powerpoint/2010/main" val="36142731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
            </a:r>
            <a:br>
              <a:rPr lang="en-GB" dirty="0" smtClean="0"/>
            </a:br>
            <a:r>
              <a:rPr lang="en-GB" dirty="0" smtClean="0"/>
              <a:t>SURE-P—</a:t>
            </a:r>
            <a:r>
              <a:rPr lang="en-GB" dirty="0" err="1" smtClean="0">
                <a:solidFill>
                  <a:srgbClr val="FF0000"/>
                </a:solidFill>
              </a:rPr>
              <a:t>SU</a:t>
            </a:r>
            <a:r>
              <a:rPr lang="en-GB" dirty="0" err="1" smtClean="0"/>
              <a:t>bsidy</a:t>
            </a:r>
            <a:r>
              <a:rPr lang="en-GB" dirty="0" smtClean="0"/>
              <a:t> </a:t>
            </a:r>
            <a:r>
              <a:rPr lang="en-GB" dirty="0">
                <a:solidFill>
                  <a:srgbClr val="FF0000"/>
                </a:solidFill>
              </a:rPr>
              <a:t>R</a:t>
            </a:r>
            <a:r>
              <a:rPr lang="en-GB" dirty="0"/>
              <a:t>einvestment and </a:t>
            </a:r>
            <a:r>
              <a:rPr lang="en-GB" dirty="0">
                <a:solidFill>
                  <a:srgbClr val="FF0000"/>
                </a:solidFill>
              </a:rPr>
              <a:t>E</a:t>
            </a:r>
            <a:r>
              <a:rPr lang="en-GB" dirty="0"/>
              <a:t>mpowerment </a:t>
            </a:r>
            <a:r>
              <a:rPr lang="en-GB" dirty="0">
                <a:solidFill>
                  <a:srgbClr val="FF0000"/>
                </a:solidFill>
              </a:rPr>
              <a:t>P</a:t>
            </a:r>
            <a:r>
              <a:rPr lang="en-GB" dirty="0"/>
              <a:t>rogramme</a:t>
            </a:r>
            <a:br>
              <a:rPr lang="en-GB" dirty="0"/>
            </a:br>
            <a:endParaRPr lang="en-GB" dirty="0"/>
          </a:p>
        </p:txBody>
      </p:sp>
      <p:sp>
        <p:nvSpPr>
          <p:cNvPr id="3" name="Content Placeholder 2"/>
          <p:cNvSpPr>
            <a:spLocks noGrp="1"/>
          </p:cNvSpPr>
          <p:nvPr>
            <p:ph idx="1"/>
          </p:nvPr>
        </p:nvSpPr>
        <p:spPr/>
        <p:txBody>
          <a:bodyPr>
            <a:normAutofit/>
          </a:bodyPr>
          <a:lstStyle/>
          <a:p>
            <a:r>
              <a:rPr lang="en-GB" dirty="0" smtClean="0"/>
              <a:t>Demand </a:t>
            </a:r>
            <a:r>
              <a:rPr lang="en-GB" dirty="0"/>
              <a:t>and </a:t>
            </a:r>
            <a:r>
              <a:rPr lang="en-GB" dirty="0" smtClean="0"/>
              <a:t>Supply-side interventions to improve Maternal and Child Health (MCH). </a:t>
            </a:r>
          </a:p>
          <a:p>
            <a:endParaRPr lang="en-GB" dirty="0" smtClean="0"/>
          </a:p>
          <a:p>
            <a:r>
              <a:rPr lang="en-GB" dirty="0" smtClean="0"/>
              <a:t> October 2012 to April 2015</a:t>
            </a:r>
          </a:p>
          <a:p>
            <a:pPr marL="0" indent="0">
              <a:buNone/>
            </a:pPr>
            <a:endParaRPr lang="en-GB" dirty="0" smtClean="0"/>
          </a:p>
          <a:p>
            <a:r>
              <a:rPr lang="en-GB" dirty="0" smtClean="0"/>
              <a:t>A national programme but this evaluation carried out in one of the 36 states (Anambra state)</a:t>
            </a:r>
            <a:endParaRPr lang="en-GB" dirty="0"/>
          </a:p>
        </p:txBody>
      </p:sp>
      <p:pic>
        <p:nvPicPr>
          <p:cNvPr id="4" name="Picture 3"/>
          <p:cNvPicPr>
            <a:picLocks noChangeAspect="1"/>
          </p:cNvPicPr>
          <p:nvPr/>
        </p:nvPicPr>
        <p:blipFill>
          <a:blip r:embed="rId2"/>
          <a:stretch>
            <a:fillRect/>
          </a:stretch>
        </p:blipFill>
        <p:spPr>
          <a:xfrm>
            <a:off x="1295401" y="1256080"/>
            <a:ext cx="1054699" cy="755970"/>
          </a:xfrm>
          <a:prstGeom prst="rect">
            <a:avLst/>
          </a:prstGeom>
        </p:spPr>
      </p:pic>
    </p:spTree>
    <p:extLst>
      <p:ext uri="{BB962C8B-B14F-4D97-AF65-F5344CB8AC3E}">
        <p14:creationId xmlns:p14="http://schemas.microsoft.com/office/powerpoint/2010/main" val="20439197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1589079" y="1338311"/>
            <a:ext cx="1054699" cy="755970"/>
          </a:xfrm>
          <a:prstGeom prst="rect">
            <a:avLst/>
          </a:prstGeom>
        </p:spPr>
      </p:pic>
      <p:sp>
        <p:nvSpPr>
          <p:cNvPr id="2" name="Title 1"/>
          <p:cNvSpPr>
            <a:spLocks noGrp="1"/>
          </p:cNvSpPr>
          <p:nvPr>
            <p:ph type="title"/>
          </p:nvPr>
        </p:nvSpPr>
        <p:spPr/>
        <p:txBody>
          <a:bodyPr/>
          <a:lstStyle/>
          <a:p>
            <a:r>
              <a:rPr lang="en-GB" dirty="0" smtClean="0">
                <a:solidFill>
                  <a:prstClr val="black">
                    <a:lumMod val="85000"/>
                    <a:lumOff val="15000"/>
                  </a:prstClr>
                </a:solidFill>
              </a:rPr>
              <a:t>    PROGRAMME </a:t>
            </a:r>
            <a:r>
              <a:rPr lang="en-GB" dirty="0">
                <a:solidFill>
                  <a:prstClr val="black">
                    <a:lumMod val="85000"/>
                    <a:lumOff val="15000"/>
                  </a:prstClr>
                </a:solidFill>
              </a:rPr>
              <a:t>COMPONENTS</a:t>
            </a:r>
            <a:endParaRPr lang="en-GB" dirty="0"/>
          </a:p>
        </p:txBody>
      </p:sp>
      <p:sp>
        <p:nvSpPr>
          <p:cNvPr id="3" name="Text Placeholder 2"/>
          <p:cNvSpPr>
            <a:spLocks noGrp="1"/>
          </p:cNvSpPr>
          <p:nvPr>
            <p:ph type="body" idx="1"/>
          </p:nvPr>
        </p:nvSpPr>
        <p:spPr/>
        <p:txBody>
          <a:bodyPr/>
          <a:lstStyle/>
          <a:p>
            <a:pPr algn="ctr"/>
            <a:r>
              <a:rPr lang="en-GB" dirty="0" smtClean="0">
                <a:solidFill>
                  <a:srgbClr val="00B050"/>
                </a:solidFill>
              </a:rPr>
              <a:t>Supply</a:t>
            </a:r>
            <a:endParaRPr lang="en-GB" dirty="0">
              <a:solidFill>
                <a:srgbClr val="00B050"/>
              </a:solidFill>
            </a:endParaRPr>
          </a:p>
        </p:txBody>
      </p:sp>
      <p:sp>
        <p:nvSpPr>
          <p:cNvPr id="4" name="Content Placeholder 3"/>
          <p:cNvSpPr>
            <a:spLocks noGrp="1"/>
          </p:cNvSpPr>
          <p:nvPr>
            <p:ph sz="half" idx="2"/>
          </p:nvPr>
        </p:nvSpPr>
        <p:spPr/>
        <p:txBody>
          <a:bodyPr>
            <a:normAutofit fontScale="92500" lnSpcReduction="10000"/>
          </a:bodyPr>
          <a:lstStyle/>
          <a:p>
            <a:r>
              <a:rPr lang="en-GB" dirty="0" smtClean="0"/>
              <a:t>Deployment of trained midwives</a:t>
            </a:r>
          </a:p>
          <a:p>
            <a:r>
              <a:rPr lang="en-GB" dirty="0" smtClean="0"/>
              <a:t>Village Health Workers (VHWs)</a:t>
            </a:r>
          </a:p>
          <a:p>
            <a:r>
              <a:rPr lang="en-GB" dirty="0" smtClean="0"/>
              <a:t>Activation of Ward Development Committees (WDCs)</a:t>
            </a:r>
          </a:p>
          <a:p>
            <a:r>
              <a:rPr lang="en-GB" dirty="0" smtClean="0"/>
              <a:t>Infrastructure Upgrade</a:t>
            </a:r>
          </a:p>
          <a:p>
            <a:r>
              <a:rPr lang="en-GB" dirty="0" smtClean="0"/>
              <a:t>Medicines and Consumables</a:t>
            </a:r>
          </a:p>
          <a:p>
            <a:endParaRPr lang="en-GB" dirty="0"/>
          </a:p>
        </p:txBody>
      </p:sp>
      <p:sp>
        <p:nvSpPr>
          <p:cNvPr id="5" name="Text Placeholder 4"/>
          <p:cNvSpPr>
            <a:spLocks noGrp="1"/>
          </p:cNvSpPr>
          <p:nvPr>
            <p:ph type="body" sz="quarter" idx="3"/>
          </p:nvPr>
        </p:nvSpPr>
        <p:spPr/>
        <p:txBody>
          <a:bodyPr/>
          <a:lstStyle/>
          <a:p>
            <a:pPr algn="ctr"/>
            <a:r>
              <a:rPr lang="en-GB" dirty="0" smtClean="0">
                <a:solidFill>
                  <a:srgbClr val="00B050"/>
                </a:solidFill>
              </a:rPr>
              <a:t>Demand</a:t>
            </a:r>
            <a:endParaRPr lang="en-GB" dirty="0">
              <a:solidFill>
                <a:srgbClr val="00B050"/>
              </a:solidFill>
            </a:endParaRPr>
          </a:p>
        </p:txBody>
      </p:sp>
      <p:sp>
        <p:nvSpPr>
          <p:cNvPr id="6" name="Content Placeholder 5"/>
          <p:cNvSpPr>
            <a:spLocks noGrp="1"/>
          </p:cNvSpPr>
          <p:nvPr>
            <p:ph sz="quarter" idx="4"/>
          </p:nvPr>
        </p:nvSpPr>
        <p:spPr/>
        <p:txBody>
          <a:bodyPr/>
          <a:lstStyle/>
          <a:p>
            <a:r>
              <a:rPr lang="en-GB" dirty="0" smtClean="0"/>
              <a:t>Conditional Cash transfer (CCT) as incentive to utilize services</a:t>
            </a:r>
            <a:endParaRPr lang="en-GB" dirty="0"/>
          </a:p>
        </p:txBody>
      </p:sp>
    </p:spTree>
    <p:extLst>
      <p:ext uri="{BB962C8B-B14F-4D97-AF65-F5344CB8AC3E}">
        <p14:creationId xmlns:p14="http://schemas.microsoft.com/office/powerpoint/2010/main" val="8926524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b="1">
                <a:solidFill>
                  <a:schemeClr val="tx1"/>
                </a:solidFill>
                <a:latin typeface="Arial" charset="0"/>
              </a:defRPr>
            </a:lvl1pPr>
            <a:lvl2pPr marL="757228" indent="-291243" eaLnBrk="0" hangingPunct="0">
              <a:defRPr sz="1500" b="1">
                <a:solidFill>
                  <a:schemeClr val="tx1"/>
                </a:solidFill>
                <a:latin typeface="Arial" charset="0"/>
              </a:defRPr>
            </a:lvl2pPr>
            <a:lvl3pPr marL="1164967" indent="-232996" eaLnBrk="0" hangingPunct="0">
              <a:defRPr sz="1500" b="1">
                <a:solidFill>
                  <a:schemeClr val="tx1"/>
                </a:solidFill>
                <a:latin typeface="Arial" charset="0"/>
              </a:defRPr>
            </a:lvl3pPr>
            <a:lvl4pPr marL="1630955" indent="-232996" eaLnBrk="0" hangingPunct="0">
              <a:defRPr sz="1500" b="1">
                <a:solidFill>
                  <a:schemeClr val="tx1"/>
                </a:solidFill>
                <a:latin typeface="Arial" charset="0"/>
              </a:defRPr>
            </a:lvl4pPr>
            <a:lvl5pPr marL="2096941" indent="-232996" eaLnBrk="0" hangingPunct="0">
              <a:defRPr sz="1500" b="1">
                <a:solidFill>
                  <a:schemeClr val="tx1"/>
                </a:solidFill>
                <a:latin typeface="Arial" charset="0"/>
              </a:defRPr>
            </a:lvl5pPr>
            <a:lvl6pPr marL="2562929" indent="-232996" eaLnBrk="0" fontAlgn="base" hangingPunct="0">
              <a:spcBef>
                <a:spcPct val="0"/>
              </a:spcBef>
              <a:spcAft>
                <a:spcPct val="0"/>
              </a:spcAft>
              <a:defRPr sz="1500" b="1">
                <a:solidFill>
                  <a:schemeClr val="tx1"/>
                </a:solidFill>
                <a:latin typeface="Arial" charset="0"/>
              </a:defRPr>
            </a:lvl6pPr>
            <a:lvl7pPr marL="3028915" indent="-232996" eaLnBrk="0" fontAlgn="base" hangingPunct="0">
              <a:spcBef>
                <a:spcPct val="0"/>
              </a:spcBef>
              <a:spcAft>
                <a:spcPct val="0"/>
              </a:spcAft>
              <a:defRPr sz="1500" b="1">
                <a:solidFill>
                  <a:schemeClr val="tx1"/>
                </a:solidFill>
                <a:latin typeface="Arial" charset="0"/>
              </a:defRPr>
            </a:lvl7pPr>
            <a:lvl8pPr marL="3494902" indent="-232996" eaLnBrk="0" fontAlgn="base" hangingPunct="0">
              <a:spcBef>
                <a:spcPct val="0"/>
              </a:spcBef>
              <a:spcAft>
                <a:spcPct val="0"/>
              </a:spcAft>
              <a:defRPr sz="1500" b="1">
                <a:solidFill>
                  <a:schemeClr val="tx1"/>
                </a:solidFill>
                <a:latin typeface="Arial" charset="0"/>
              </a:defRPr>
            </a:lvl8pPr>
            <a:lvl9pPr marL="3960888" indent="-232996" eaLnBrk="0" fontAlgn="base" hangingPunct="0">
              <a:spcBef>
                <a:spcPct val="0"/>
              </a:spcBef>
              <a:spcAft>
                <a:spcPct val="0"/>
              </a:spcAft>
              <a:defRPr sz="1500" b="1">
                <a:solidFill>
                  <a:schemeClr val="tx1"/>
                </a:solidFill>
                <a:latin typeface="Arial" charset="0"/>
              </a:defRPr>
            </a:lvl9pPr>
          </a:lstStyle>
          <a:p>
            <a:pPr eaLnBrk="1" hangingPunct="1"/>
            <a:fld id="{C319C0D2-ABEA-49AF-9CCA-1A93BE665F1D}" type="slidenum">
              <a:rPr lang="en-GB" sz="1000">
                <a:solidFill>
                  <a:srgbClr val="000000"/>
                </a:solidFill>
              </a:rPr>
              <a:pPr eaLnBrk="1" hangingPunct="1"/>
              <a:t>5</a:t>
            </a:fld>
            <a:endParaRPr lang="en-GB" sz="1000" dirty="0">
              <a:solidFill>
                <a:srgbClr val="000000"/>
              </a:solidFill>
            </a:endParaRPr>
          </a:p>
        </p:txBody>
      </p:sp>
      <p:graphicFrame>
        <p:nvGraphicFramePr>
          <p:cNvPr id="4098" name="Object 2" hidden="1"/>
          <p:cNvGraphicFramePr>
            <a:graphicFrameLocks noChangeAspect="1"/>
          </p:cNvGraphicFramePr>
          <p:nvPr>
            <p:custDataLst>
              <p:tags r:id="rId2"/>
            </p:custDataLst>
          </p:nvPr>
        </p:nvGraphicFramePr>
        <p:xfrm>
          <a:off x="1524000" y="0"/>
          <a:ext cx="161984" cy="161974"/>
        </p:xfrm>
        <a:graphic>
          <a:graphicData uri="http://schemas.openxmlformats.org/presentationml/2006/ole">
            <mc:AlternateContent xmlns:mc="http://schemas.openxmlformats.org/markup-compatibility/2006">
              <mc:Choice xmlns:v="urn:schemas-microsoft-com:vml" Requires="v">
                <p:oleObj spid="_x0000_s1043" name="think-cell Slide" r:id="rId253" imgW="6350000" imgH="6350000" progId="">
                  <p:embed/>
                </p:oleObj>
              </mc:Choice>
              <mc:Fallback>
                <p:oleObj name="think-cell Slide" r:id="rId253" imgW="6350000" imgH="6350000" progId="">
                  <p:embed/>
                  <p:pic>
                    <p:nvPicPr>
                      <p:cNvPr id="0" name=""/>
                      <p:cNvPicPr>
                        <a:picLocks noChangeAspect="1" noChangeArrowheads="1"/>
                      </p:cNvPicPr>
                      <p:nvPr/>
                    </p:nvPicPr>
                    <p:blipFill>
                      <a:blip r:embed="rId254">
                        <a:extLst>
                          <a:ext uri="{28A0092B-C50C-407E-A947-70E740481C1C}">
                            <a14:useLocalDpi xmlns:a14="http://schemas.microsoft.com/office/drawing/2010/main" val="0"/>
                          </a:ext>
                        </a:extLst>
                      </a:blip>
                      <a:srcRect/>
                      <a:stretch>
                        <a:fillRect/>
                      </a:stretch>
                    </p:blipFill>
                    <p:spPr bwMode="auto">
                      <a:xfrm>
                        <a:off x="152400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00" name="Oval 3"/>
          <p:cNvSpPr>
            <a:spLocks noChangeArrowheads="1"/>
          </p:cNvSpPr>
          <p:nvPr>
            <p:custDataLst>
              <p:tags r:id="rId3"/>
            </p:custDataLst>
          </p:nvPr>
        </p:nvSpPr>
        <p:spPr bwMode="gray">
          <a:xfrm>
            <a:off x="2421392" y="1530671"/>
            <a:ext cx="5322796" cy="4063939"/>
          </a:xfrm>
          <a:prstGeom prst="ellipse">
            <a:avLst/>
          </a:prstGeom>
          <a:noFill/>
          <a:ln w="9525">
            <a:solidFill>
              <a:schemeClr val="hlink"/>
            </a:solidFill>
            <a:prstDash val="dash"/>
            <a:round/>
            <a:headEnd/>
            <a:tailEnd/>
          </a:ln>
          <a:extLst>
            <a:ext uri="{909E8E84-426E-40DD-AFC4-6F175D3DCCD1}">
              <a14:hiddenFill xmlns:a14="http://schemas.microsoft.com/office/drawing/2010/main">
                <a:solidFill>
                  <a:srgbClr val="FFFFFF"/>
                </a:solidFill>
              </a14:hiddenFill>
            </a:ext>
          </a:extLst>
        </p:spPr>
        <p:txBody>
          <a:bodyPr wrap="none" lIns="93196" tIns="46599" rIns="93196" bIns="46599" anchor="ctr"/>
          <a:lstStyle/>
          <a:p>
            <a:pPr fontAlgn="base">
              <a:spcBef>
                <a:spcPct val="0"/>
              </a:spcBef>
              <a:spcAft>
                <a:spcPct val="0"/>
              </a:spcAft>
            </a:pPr>
            <a:endParaRPr lang="en-GB" sz="1500" b="1">
              <a:solidFill>
                <a:srgbClr val="000000"/>
              </a:solidFill>
              <a:ea typeface="ＭＳ Ｐゴシック" charset="0"/>
              <a:cs typeface="Arial" charset="0"/>
            </a:endParaRPr>
          </a:p>
        </p:txBody>
      </p:sp>
      <p:sp>
        <p:nvSpPr>
          <p:cNvPr id="4101" name="Rectangle 4"/>
          <p:cNvSpPr>
            <a:spLocks noChangeArrowheads="1"/>
          </p:cNvSpPr>
          <p:nvPr>
            <p:custDataLst>
              <p:tags r:id="rId4"/>
            </p:custDataLst>
          </p:nvPr>
        </p:nvSpPr>
        <p:spPr bwMode="auto">
          <a:xfrm>
            <a:off x="1731351" y="3999162"/>
            <a:ext cx="1917891" cy="195827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196" tIns="46599" rIns="93196" bIns="46599" anchor="ctr"/>
          <a:lstStyle/>
          <a:p>
            <a:pPr fontAlgn="base">
              <a:spcBef>
                <a:spcPct val="0"/>
              </a:spcBef>
              <a:spcAft>
                <a:spcPct val="0"/>
              </a:spcAft>
            </a:pPr>
            <a:endParaRPr lang="en-GB" sz="1500" b="1">
              <a:solidFill>
                <a:srgbClr val="000000"/>
              </a:solidFill>
              <a:ea typeface="ＭＳ Ｐゴシック" charset="0"/>
              <a:cs typeface="Arial" charset="0"/>
            </a:endParaRPr>
          </a:p>
        </p:txBody>
      </p:sp>
      <p:sp>
        <p:nvSpPr>
          <p:cNvPr id="4102" name="Rectangle 5"/>
          <p:cNvSpPr>
            <a:spLocks noChangeArrowheads="1"/>
          </p:cNvSpPr>
          <p:nvPr>
            <p:custDataLst>
              <p:tags r:id="rId5"/>
            </p:custDataLst>
          </p:nvPr>
        </p:nvSpPr>
        <p:spPr bwMode="auto">
          <a:xfrm>
            <a:off x="6305770" y="4025078"/>
            <a:ext cx="1917891" cy="195827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196" tIns="46599" rIns="93196" bIns="46599" anchor="ctr"/>
          <a:lstStyle/>
          <a:p>
            <a:pPr fontAlgn="base">
              <a:spcBef>
                <a:spcPct val="0"/>
              </a:spcBef>
              <a:spcAft>
                <a:spcPct val="0"/>
              </a:spcAft>
            </a:pPr>
            <a:endParaRPr lang="en-GB" sz="1500" b="1">
              <a:solidFill>
                <a:srgbClr val="000000"/>
              </a:solidFill>
              <a:ea typeface="ＭＳ Ｐゴシック" charset="0"/>
              <a:cs typeface="Arial" charset="0"/>
            </a:endParaRPr>
          </a:p>
        </p:txBody>
      </p:sp>
      <p:sp>
        <p:nvSpPr>
          <p:cNvPr id="4103" name="Rectangle 6"/>
          <p:cNvSpPr>
            <a:spLocks noChangeArrowheads="1"/>
          </p:cNvSpPr>
          <p:nvPr>
            <p:custDataLst>
              <p:tags r:id="rId6"/>
            </p:custDataLst>
          </p:nvPr>
        </p:nvSpPr>
        <p:spPr bwMode="auto">
          <a:xfrm>
            <a:off x="6367324" y="921647"/>
            <a:ext cx="1917891" cy="195827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196" tIns="46599" rIns="93196" bIns="46599" anchor="ctr"/>
          <a:lstStyle/>
          <a:p>
            <a:pPr fontAlgn="base">
              <a:spcBef>
                <a:spcPct val="0"/>
              </a:spcBef>
              <a:spcAft>
                <a:spcPct val="0"/>
              </a:spcAft>
            </a:pPr>
            <a:endParaRPr lang="en-GB" sz="1500" b="1">
              <a:solidFill>
                <a:srgbClr val="000000"/>
              </a:solidFill>
              <a:ea typeface="ＭＳ Ｐゴシック" charset="0"/>
              <a:cs typeface="Arial" charset="0"/>
            </a:endParaRPr>
          </a:p>
        </p:txBody>
      </p:sp>
      <p:sp>
        <p:nvSpPr>
          <p:cNvPr id="4104" name="Rectangle 7"/>
          <p:cNvSpPr>
            <a:spLocks noChangeArrowheads="1"/>
          </p:cNvSpPr>
          <p:nvPr>
            <p:custDataLst>
              <p:tags r:id="rId7"/>
            </p:custDataLst>
          </p:nvPr>
        </p:nvSpPr>
        <p:spPr bwMode="auto">
          <a:xfrm>
            <a:off x="1838250" y="884381"/>
            <a:ext cx="1917891" cy="195827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196" tIns="46599" rIns="93196" bIns="46599" anchor="ctr"/>
          <a:lstStyle/>
          <a:p>
            <a:pPr fontAlgn="base">
              <a:spcBef>
                <a:spcPct val="0"/>
              </a:spcBef>
              <a:spcAft>
                <a:spcPct val="0"/>
              </a:spcAft>
            </a:pPr>
            <a:endParaRPr lang="en-GB" sz="1500" b="1">
              <a:solidFill>
                <a:srgbClr val="000000"/>
              </a:solidFill>
              <a:ea typeface="ＭＳ Ｐゴシック" charset="0"/>
              <a:cs typeface="Arial" charset="0"/>
            </a:endParaRPr>
          </a:p>
        </p:txBody>
      </p:sp>
      <p:sp>
        <p:nvSpPr>
          <p:cNvPr id="4105" name="Rectangle 8"/>
          <p:cNvSpPr>
            <a:spLocks noGrp="1" noChangeArrowheads="1"/>
          </p:cNvSpPr>
          <p:nvPr>
            <p:ph type="title"/>
            <p:custDataLst>
              <p:tags r:id="rId8"/>
            </p:custDataLst>
          </p:nvPr>
        </p:nvSpPr>
        <p:spPr>
          <a:xfrm>
            <a:off x="1645500" y="425993"/>
            <a:ext cx="8923691" cy="576630"/>
          </a:xfrm>
        </p:spPr>
        <p:txBody>
          <a:bodyPr>
            <a:noAutofit/>
          </a:bodyPr>
          <a:lstStyle/>
          <a:p>
            <a:pPr eaLnBrk="1" hangingPunct="1"/>
            <a:r>
              <a:rPr lang="en-GB" sz="2000" b="1" dirty="0" smtClean="0"/>
              <a:t>PROGRAMME STRUCTURE</a:t>
            </a:r>
          </a:p>
        </p:txBody>
      </p:sp>
      <p:sp>
        <p:nvSpPr>
          <p:cNvPr id="4106" name="McK 5. Source"/>
          <p:cNvSpPr>
            <a:spLocks noChangeArrowheads="1"/>
          </p:cNvSpPr>
          <p:nvPr>
            <p:custDataLst>
              <p:tags r:id="rId9"/>
            </p:custDataLst>
          </p:nvPr>
        </p:nvSpPr>
        <p:spPr bwMode="gray">
          <a:xfrm>
            <a:off x="1633351" y="6511061"/>
            <a:ext cx="7002570" cy="155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p>
            <a:pPr marL="621316" indent="-621316" defTabSz="912556" fontAlgn="base">
              <a:spcBef>
                <a:spcPct val="0"/>
              </a:spcBef>
              <a:spcAft>
                <a:spcPct val="0"/>
              </a:spcAft>
              <a:tabLst>
                <a:tab pos="624551" algn="l"/>
              </a:tabLst>
            </a:pPr>
            <a:r>
              <a:rPr lang="en-GB" sz="1000" b="1" dirty="0">
                <a:solidFill>
                  <a:srgbClr val="000000"/>
                </a:solidFill>
                <a:ea typeface="ＭＳ Ｐゴシック" charset="0"/>
                <a:cs typeface="Arial" charset="0"/>
              </a:rPr>
              <a:t>SOURCE: MCH PIU </a:t>
            </a:r>
          </a:p>
        </p:txBody>
      </p:sp>
      <p:grpSp>
        <p:nvGrpSpPr>
          <p:cNvPr id="4107" name="Group 4"/>
          <p:cNvGrpSpPr>
            <a:grpSpLocks/>
          </p:cNvGrpSpPr>
          <p:nvPr>
            <p:custDataLst>
              <p:tags r:id="rId10"/>
            </p:custDataLst>
          </p:nvPr>
        </p:nvGrpSpPr>
        <p:grpSpPr bwMode="auto">
          <a:xfrm>
            <a:off x="3592537" y="4072039"/>
            <a:ext cx="1017260" cy="599306"/>
            <a:chOff x="0" y="402"/>
            <a:chExt cx="5645" cy="2423"/>
          </a:xfrm>
        </p:grpSpPr>
        <p:sp>
          <p:nvSpPr>
            <p:cNvPr id="4313" name="Freeform 5"/>
            <p:cNvSpPr>
              <a:spLocks/>
            </p:cNvSpPr>
            <p:nvPr>
              <p:custDataLst>
                <p:tags r:id="rId212"/>
              </p:custDataLst>
            </p:nvPr>
          </p:nvSpPr>
          <p:spPr bwMode="gray">
            <a:xfrm>
              <a:off x="0" y="402"/>
              <a:ext cx="5645" cy="831"/>
            </a:xfrm>
            <a:custGeom>
              <a:avLst/>
              <a:gdLst>
                <a:gd name="T0" fmla="*/ 210 w 5507"/>
                <a:gd name="T1" fmla="*/ 1 h 1310"/>
                <a:gd name="T2" fmla="*/ 635 w 5507"/>
                <a:gd name="T3" fmla="*/ 1 h 1310"/>
                <a:gd name="T4" fmla="*/ 1206 w 5507"/>
                <a:gd name="T5" fmla="*/ 1 h 1310"/>
                <a:gd name="T6" fmla="*/ 1859 w 5507"/>
                <a:gd name="T7" fmla="*/ 1 h 1310"/>
                <a:gd name="T8" fmla="*/ 2556 w 5507"/>
                <a:gd name="T9" fmla="*/ 1 h 1310"/>
                <a:gd name="T10" fmla="*/ 3269 w 5507"/>
                <a:gd name="T11" fmla="*/ 1 h 1310"/>
                <a:gd name="T12" fmla="*/ 3939 w 5507"/>
                <a:gd name="T13" fmla="*/ 1 h 1310"/>
                <a:gd name="T14" fmla="*/ 4522 w 5507"/>
                <a:gd name="T15" fmla="*/ 1 h 1310"/>
                <a:gd name="T16" fmla="*/ 4991 w 5507"/>
                <a:gd name="T17" fmla="*/ 1 h 1310"/>
                <a:gd name="T18" fmla="*/ 5262 w 5507"/>
                <a:gd name="T19" fmla="*/ 1 h 1310"/>
                <a:gd name="T20" fmla="*/ 5413 w 5507"/>
                <a:gd name="T21" fmla="*/ 1 h 1310"/>
                <a:gd name="T22" fmla="*/ 5571 w 5507"/>
                <a:gd name="T23" fmla="*/ 1 h 1310"/>
                <a:gd name="T24" fmla="*/ 5770 w 5507"/>
                <a:gd name="T25" fmla="*/ 1 h 1310"/>
                <a:gd name="T26" fmla="*/ 5958 w 5507"/>
                <a:gd name="T27" fmla="*/ 1 h 1310"/>
                <a:gd name="T28" fmla="*/ 6175 w 5507"/>
                <a:gd name="T29" fmla="*/ 1 h 1310"/>
                <a:gd name="T30" fmla="*/ 6400 w 5507"/>
                <a:gd name="T31" fmla="*/ 1 h 1310"/>
                <a:gd name="T32" fmla="*/ 6650 w 5507"/>
                <a:gd name="T33" fmla="*/ 1 h 1310"/>
                <a:gd name="T34" fmla="*/ 6938 w 5507"/>
                <a:gd name="T35" fmla="*/ 1 h 1310"/>
                <a:gd name="T36" fmla="*/ 7505 w 5507"/>
                <a:gd name="T37" fmla="*/ 1 h 1310"/>
                <a:gd name="T38" fmla="*/ 8063 w 5507"/>
                <a:gd name="T39" fmla="*/ 1 h 1310"/>
                <a:gd name="T40" fmla="*/ 8606 w 5507"/>
                <a:gd name="T41" fmla="*/ 1 h 1310"/>
                <a:gd name="T42" fmla="*/ 9123 w 5507"/>
                <a:gd name="T43" fmla="*/ 1 h 1310"/>
                <a:gd name="T44" fmla="*/ 9585 w 5507"/>
                <a:gd name="T45" fmla="*/ 1 h 1310"/>
                <a:gd name="T46" fmla="*/ 9957 w 5507"/>
                <a:gd name="T47" fmla="*/ 1 h 1310"/>
                <a:gd name="T48" fmla="*/ 10258 w 5507"/>
                <a:gd name="T49" fmla="*/ 1 h 1310"/>
                <a:gd name="T50" fmla="*/ 10428 w 5507"/>
                <a:gd name="T51" fmla="*/ 1 h 1310"/>
                <a:gd name="T52" fmla="*/ 10418 w 5507"/>
                <a:gd name="T53" fmla="*/ 1 h 1310"/>
                <a:gd name="T54" fmla="*/ 10248 w 5507"/>
                <a:gd name="T55" fmla="*/ 1 h 1310"/>
                <a:gd name="T56" fmla="*/ 10033 w 5507"/>
                <a:gd name="T57" fmla="*/ 1 h 1310"/>
                <a:gd name="T58" fmla="*/ 9957 w 5507"/>
                <a:gd name="T59" fmla="*/ 1 h 1310"/>
                <a:gd name="T60" fmla="*/ 9811 w 5507"/>
                <a:gd name="T61" fmla="*/ 1 h 1310"/>
                <a:gd name="T62" fmla="*/ 9619 w 5507"/>
                <a:gd name="T63" fmla="*/ 1 h 1310"/>
                <a:gd name="T64" fmla="*/ 9366 w 5507"/>
                <a:gd name="T65" fmla="*/ 1 h 1310"/>
                <a:gd name="T66" fmla="*/ 9071 w 5507"/>
                <a:gd name="T67" fmla="*/ 1 h 1310"/>
                <a:gd name="T68" fmla="*/ 8741 w 5507"/>
                <a:gd name="T69" fmla="*/ 1 h 1310"/>
                <a:gd name="T70" fmla="*/ 8375 w 5507"/>
                <a:gd name="T71" fmla="*/ 1 h 1310"/>
                <a:gd name="T72" fmla="*/ 7981 w 5507"/>
                <a:gd name="T73" fmla="*/ 1 h 1310"/>
                <a:gd name="T74" fmla="*/ 7601 w 5507"/>
                <a:gd name="T75" fmla="*/ 1 h 1310"/>
                <a:gd name="T76" fmla="*/ 7273 w 5507"/>
                <a:gd name="T77" fmla="*/ 1 h 1310"/>
                <a:gd name="T78" fmla="*/ 6932 w 5507"/>
                <a:gd name="T79" fmla="*/ 1 h 1310"/>
                <a:gd name="T80" fmla="*/ 6607 w 5507"/>
                <a:gd name="T81" fmla="*/ 1 h 1310"/>
                <a:gd name="T82" fmla="*/ 6304 w 5507"/>
                <a:gd name="T83" fmla="*/ 1 h 1310"/>
                <a:gd name="T84" fmla="*/ 6019 w 5507"/>
                <a:gd name="T85" fmla="*/ 1 h 1310"/>
                <a:gd name="T86" fmla="*/ 5760 w 5507"/>
                <a:gd name="T87" fmla="*/ 1 h 1310"/>
                <a:gd name="T88" fmla="*/ 5534 w 5507"/>
                <a:gd name="T89" fmla="*/ 1 h 1310"/>
                <a:gd name="T90" fmla="*/ 5350 w 5507"/>
                <a:gd name="T91" fmla="*/ 1 h 1310"/>
                <a:gd name="T92" fmla="*/ 5153 w 5507"/>
                <a:gd name="T93" fmla="*/ 1 h 1310"/>
                <a:gd name="T94" fmla="*/ 4696 w 5507"/>
                <a:gd name="T95" fmla="*/ 1 h 1310"/>
                <a:gd name="T96" fmla="*/ 4117 w 5507"/>
                <a:gd name="T97" fmla="*/ 1 h 1310"/>
                <a:gd name="T98" fmla="*/ 3427 w 5507"/>
                <a:gd name="T99" fmla="*/ 1 h 1310"/>
                <a:gd name="T100" fmla="*/ 2702 w 5507"/>
                <a:gd name="T101" fmla="*/ 1 h 1310"/>
                <a:gd name="T102" fmla="*/ 1991 w 5507"/>
                <a:gd name="T103" fmla="*/ 1 h 1310"/>
                <a:gd name="T104" fmla="*/ 1349 w 5507"/>
                <a:gd name="T105" fmla="*/ 1 h 1310"/>
                <a:gd name="T106" fmla="*/ 820 w 5507"/>
                <a:gd name="T107" fmla="*/ 1 h 1310"/>
                <a:gd name="T108" fmla="*/ 460 w 5507"/>
                <a:gd name="T109" fmla="*/ 1 h 1310"/>
                <a:gd name="T110" fmla="*/ 313 w 5507"/>
                <a:gd name="T111" fmla="*/ 1 h 1310"/>
                <a:gd name="T112" fmla="*/ 124 w 5507"/>
                <a:gd name="T113" fmla="*/ 1 h 13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507"/>
                <a:gd name="T172" fmla="*/ 0 h 1310"/>
                <a:gd name="T173" fmla="*/ 5507 w 5507"/>
                <a:gd name="T174" fmla="*/ 1310 h 13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507" h="1310">
                  <a:moveTo>
                    <a:pt x="0" y="1281"/>
                  </a:moveTo>
                  <a:lnTo>
                    <a:pt x="0" y="1264"/>
                  </a:lnTo>
                  <a:lnTo>
                    <a:pt x="18" y="1253"/>
                  </a:lnTo>
                  <a:lnTo>
                    <a:pt x="41" y="1236"/>
                  </a:lnTo>
                  <a:lnTo>
                    <a:pt x="64" y="1219"/>
                  </a:lnTo>
                  <a:lnTo>
                    <a:pt x="87" y="1205"/>
                  </a:lnTo>
                  <a:lnTo>
                    <a:pt x="110" y="1185"/>
                  </a:lnTo>
                  <a:lnTo>
                    <a:pt x="137" y="1165"/>
                  </a:lnTo>
                  <a:lnTo>
                    <a:pt x="165" y="1148"/>
                  </a:lnTo>
                  <a:lnTo>
                    <a:pt x="197" y="1125"/>
                  </a:lnTo>
                  <a:lnTo>
                    <a:pt x="229" y="1105"/>
                  </a:lnTo>
                  <a:lnTo>
                    <a:pt x="260" y="1082"/>
                  </a:lnTo>
                  <a:lnTo>
                    <a:pt x="297" y="1062"/>
                  </a:lnTo>
                  <a:lnTo>
                    <a:pt x="334" y="1039"/>
                  </a:lnTo>
                  <a:lnTo>
                    <a:pt x="379" y="1017"/>
                  </a:lnTo>
                  <a:lnTo>
                    <a:pt x="416" y="991"/>
                  </a:lnTo>
                  <a:lnTo>
                    <a:pt x="457" y="965"/>
                  </a:lnTo>
                  <a:lnTo>
                    <a:pt x="498" y="943"/>
                  </a:lnTo>
                  <a:lnTo>
                    <a:pt x="544" y="917"/>
                  </a:lnTo>
                  <a:lnTo>
                    <a:pt x="585" y="891"/>
                  </a:lnTo>
                  <a:lnTo>
                    <a:pt x="635" y="866"/>
                  </a:lnTo>
                  <a:lnTo>
                    <a:pt x="681" y="837"/>
                  </a:lnTo>
                  <a:lnTo>
                    <a:pt x="727" y="814"/>
                  </a:lnTo>
                  <a:lnTo>
                    <a:pt x="777" y="786"/>
                  </a:lnTo>
                  <a:lnTo>
                    <a:pt x="827" y="760"/>
                  </a:lnTo>
                  <a:lnTo>
                    <a:pt x="873" y="732"/>
                  </a:lnTo>
                  <a:lnTo>
                    <a:pt x="928" y="706"/>
                  </a:lnTo>
                  <a:lnTo>
                    <a:pt x="978" y="678"/>
                  </a:lnTo>
                  <a:lnTo>
                    <a:pt x="1028" y="652"/>
                  </a:lnTo>
                  <a:lnTo>
                    <a:pt x="1083" y="624"/>
                  </a:lnTo>
                  <a:lnTo>
                    <a:pt x="1133" y="598"/>
                  </a:lnTo>
                  <a:lnTo>
                    <a:pt x="1188" y="570"/>
                  </a:lnTo>
                  <a:lnTo>
                    <a:pt x="1239" y="547"/>
                  </a:lnTo>
                  <a:lnTo>
                    <a:pt x="1289" y="518"/>
                  </a:lnTo>
                  <a:lnTo>
                    <a:pt x="1344" y="493"/>
                  </a:lnTo>
                  <a:lnTo>
                    <a:pt x="1398" y="464"/>
                  </a:lnTo>
                  <a:lnTo>
                    <a:pt x="1453" y="439"/>
                  </a:lnTo>
                  <a:lnTo>
                    <a:pt x="1508" y="416"/>
                  </a:lnTo>
                  <a:lnTo>
                    <a:pt x="1563" y="387"/>
                  </a:lnTo>
                  <a:lnTo>
                    <a:pt x="1613" y="364"/>
                  </a:lnTo>
                  <a:lnTo>
                    <a:pt x="1668" y="342"/>
                  </a:lnTo>
                  <a:lnTo>
                    <a:pt x="1718" y="316"/>
                  </a:lnTo>
                  <a:lnTo>
                    <a:pt x="1769" y="293"/>
                  </a:lnTo>
                  <a:lnTo>
                    <a:pt x="1819" y="268"/>
                  </a:lnTo>
                  <a:lnTo>
                    <a:pt x="1874" y="248"/>
                  </a:lnTo>
                  <a:lnTo>
                    <a:pt x="1919" y="228"/>
                  </a:lnTo>
                  <a:lnTo>
                    <a:pt x="1970" y="208"/>
                  </a:lnTo>
                  <a:lnTo>
                    <a:pt x="2015" y="185"/>
                  </a:lnTo>
                  <a:lnTo>
                    <a:pt x="2070" y="171"/>
                  </a:lnTo>
                  <a:lnTo>
                    <a:pt x="2116" y="151"/>
                  </a:lnTo>
                  <a:lnTo>
                    <a:pt x="2162" y="134"/>
                  </a:lnTo>
                  <a:lnTo>
                    <a:pt x="2207" y="117"/>
                  </a:lnTo>
                  <a:lnTo>
                    <a:pt x="2253" y="103"/>
                  </a:lnTo>
                  <a:lnTo>
                    <a:pt x="2294" y="85"/>
                  </a:lnTo>
                  <a:lnTo>
                    <a:pt x="2340" y="74"/>
                  </a:lnTo>
                  <a:lnTo>
                    <a:pt x="2376" y="60"/>
                  </a:lnTo>
                  <a:lnTo>
                    <a:pt x="2418" y="48"/>
                  </a:lnTo>
                  <a:lnTo>
                    <a:pt x="2454" y="37"/>
                  </a:lnTo>
                  <a:lnTo>
                    <a:pt x="2495" y="28"/>
                  </a:lnTo>
                  <a:lnTo>
                    <a:pt x="2527" y="20"/>
                  </a:lnTo>
                  <a:lnTo>
                    <a:pt x="2564" y="14"/>
                  </a:lnTo>
                  <a:lnTo>
                    <a:pt x="2596" y="9"/>
                  </a:lnTo>
                  <a:lnTo>
                    <a:pt x="2623" y="3"/>
                  </a:lnTo>
                  <a:lnTo>
                    <a:pt x="2651" y="0"/>
                  </a:lnTo>
                  <a:lnTo>
                    <a:pt x="2683" y="0"/>
                  </a:lnTo>
                  <a:lnTo>
                    <a:pt x="2701" y="0"/>
                  </a:lnTo>
                  <a:lnTo>
                    <a:pt x="2719" y="0"/>
                  </a:lnTo>
                  <a:lnTo>
                    <a:pt x="2738" y="0"/>
                  </a:lnTo>
                  <a:lnTo>
                    <a:pt x="2756" y="3"/>
                  </a:lnTo>
                  <a:lnTo>
                    <a:pt x="2765" y="3"/>
                  </a:lnTo>
                  <a:lnTo>
                    <a:pt x="2774" y="6"/>
                  </a:lnTo>
                  <a:lnTo>
                    <a:pt x="2783" y="9"/>
                  </a:lnTo>
                  <a:lnTo>
                    <a:pt x="2797" y="11"/>
                  </a:lnTo>
                  <a:lnTo>
                    <a:pt x="2806" y="11"/>
                  </a:lnTo>
                  <a:lnTo>
                    <a:pt x="2820" y="11"/>
                  </a:lnTo>
                  <a:lnTo>
                    <a:pt x="2829" y="14"/>
                  </a:lnTo>
                  <a:lnTo>
                    <a:pt x="2843" y="20"/>
                  </a:lnTo>
                  <a:lnTo>
                    <a:pt x="2856" y="23"/>
                  </a:lnTo>
                  <a:lnTo>
                    <a:pt x="2865" y="23"/>
                  </a:lnTo>
                  <a:lnTo>
                    <a:pt x="2879" y="26"/>
                  </a:lnTo>
                  <a:lnTo>
                    <a:pt x="2893" y="31"/>
                  </a:lnTo>
                  <a:lnTo>
                    <a:pt x="2907" y="31"/>
                  </a:lnTo>
                  <a:lnTo>
                    <a:pt x="2916" y="37"/>
                  </a:lnTo>
                  <a:lnTo>
                    <a:pt x="2929" y="40"/>
                  </a:lnTo>
                  <a:lnTo>
                    <a:pt x="2943" y="46"/>
                  </a:lnTo>
                  <a:lnTo>
                    <a:pt x="2957" y="48"/>
                  </a:lnTo>
                  <a:lnTo>
                    <a:pt x="2971" y="51"/>
                  </a:lnTo>
                  <a:lnTo>
                    <a:pt x="2984" y="57"/>
                  </a:lnTo>
                  <a:lnTo>
                    <a:pt x="2998" y="60"/>
                  </a:lnTo>
                  <a:lnTo>
                    <a:pt x="3012" y="65"/>
                  </a:lnTo>
                  <a:lnTo>
                    <a:pt x="3030" y="71"/>
                  </a:lnTo>
                  <a:lnTo>
                    <a:pt x="3039" y="74"/>
                  </a:lnTo>
                  <a:lnTo>
                    <a:pt x="3057" y="80"/>
                  </a:lnTo>
                  <a:lnTo>
                    <a:pt x="3071" y="83"/>
                  </a:lnTo>
                  <a:lnTo>
                    <a:pt x="3085" y="88"/>
                  </a:lnTo>
                  <a:lnTo>
                    <a:pt x="3099" y="94"/>
                  </a:lnTo>
                  <a:lnTo>
                    <a:pt x="3117" y="100"/>
                  </a:lnTo>
                  <a:lnTo>
                    <a:pt x="3131" y="105"/>
                  </a:lnTo>
                  <a:lnTo>
                    <a:pt x="3144" y="108"/>
                  </a:lnTo>
                  <a:lnTo>
                    <a:pt x="3163" y="117"/>
                  </a:lnTo>
                  <a:lnTo>
                    <a:pt x="3181" y="120"/>
                  </a:lnTo>
                  <a:lnTo>
                    <a:pt x="3195" y="125"/>
                  </a:lnTo>
                  <a:lnTo>
                    <a:pt x="3208" y="131"/>
                  </a:lnTo>
                  <a:lnTo>
                    <a:pt x="3227" y="137"/>
                  </a:lnTo>
                  <a:lnTo>
                    <a:pt x="3245" y="142"/>
                  </a:lnTo>
                  <a:lnTo>
                    <a:pt x="3263" y="151"/>
                  </a:lnTo>
                  <a:lnTo>
                    <a:pt x="3277" y="157"/>
                  </a:lnTo>
                  <a:lnTo>
                    <a:pt x="3295" y="162"/>
                  </a:lnTo>
                  <a:lnTo>
                    <a:pt x="3313" y="171"/>
                  </a:lnTo>
                  <a:lnTo>
                    <a:pt x="3332" y="174"/>
                  </a:lnTo>
                  <a:lnTo>
                    <a:pt x="3345" y="182"/>
                  </a:lnTo>
                  <a:lnTo>
                    <a:pt x="3364" y="185"/>
                  </a:lnTo>
                  <a:lnTo>
                    <a:pt x="3382" y="194"/>
                  </a:lnTo>
                  <a:lnTo>
                    <a:pt x="3400" y="202"/>
                  </a:lnTo>
                  <a:lnTo>
                    <a:pt x="3418" y="208"/>
                  </a:lnTo>
                  <a:lnTo>
                    <a:pt x="3437" y="214"/>
                  </a:lnTo>
                  <a:lnTo>
                    <a:pt x="3455" y="222"/>
                  </a:lnTo>
                  <a:lnTo>
                    <a:pt x="3473" y="228"/>
                  </a:lnTo>
                  <a:lnTo>
                    <a:pt x="3492" y="236"/>
                  </a:lnTo>
                  <a:lnTo>
                    <a:pt x="3510" y="242"/>
                  </a:lnTo>
                  <a:lnTo>
                    <a:pt x="3528" y="251"/>
                  </a:lnTo>
                  <a:lnTo>
                    <a:pt x="3546" y="256"/>
                  </a:lnTo>
                  <a:lnTo>
                    <a:pt x="3569" y="265"/>
                  </a:lnTo>
                  <a:lnTo>
                    <a:pt x="3588" y="273"/>
                  </a:lnTo>
                  <a:lnTo>
                    <a:pt x="3610" y="279"/>
                  </a:lnTo>
                  <a:lnTo>
                    <a:pt x="3647" y="296"/>
                  </a:lnTo>
                  <a:lnTo>
                    <a:pt x="3688" y="310"/>
                  </a:lnTo>
                  <a:lnTo>
                    <a:pt x="3729" y="325"/>
                  </a:lnTo>
                  <a:lnTo>
                    <a:pt x="3770" y="342"/>
                  </a:lnTo>
                  <a:lnTo>
                    <a:pt x="3816" y="356"/>
                  </a:lnTo>
                  <a:lnTo>
                    <a:pt x="3853" y="376"/>
                  </a:lnTo>
                  <a:lnTo>
                    <a:pt x="3898" y="390"/>
                  </a:lnTo>
                  <a:lnTo>
                    <a:pt x="3944" y="407"/>
                  </a:lnTo>
                  <a:lnTo>
                    <a:pt x="3981" y="424"/>
                  </a:lnTo>
                  <a:lnTo>
                    <a:pt x="4026" y="441"/>
                  </a:lnTo>
                  <a:lnTo>
                    <a:pt x="4067" y="461"/>
                  </a:lnTo>
                  <a:lnTo>
                    <a:pt x="4109" y="476"/>
                  </a:lnTo>
                  <a:lnTo>
                    <a:pt x="4150" y="493"/>
                  </a:lnTo>
                  <a:lnTo>
                    <a:pt x="4195" y="510"/>
                  </a:lnTo>
                  <a:lnTo>
                    <a:pt x="4237" y="527"/>
                  </a:lnTo>
                  <a:lnTo>
                    <a:pt x="4278" y="547"/>
                  </a:lnTo>
                  <a:lnTo>
                    <a:pt x="4319" y="564"/>
                  </a:lnTo>
                  <a:lnTo>
                    <a:pt x="4364" y="578"/>
                  </a:lnTo>
                  <a:lnTo>
                    <a:pt x="4401" y="598"/>
                  </a:lnTo>
                  <a:lnTo>
                    <a:pt x="4442" y="615"/>
                  </a:lnTo>
                  <a:lnTo>
                    <a:pt x="4483" y="632"/>
                  </a:lnTo>
                  <a:lnTo>
                    <a:pt x="4524" y="649"/>
                  </a:lnTo>
                  <a:lnTo>
                    <a:pt x="4561" y="666"/>
                  </a:lnTo>
                  <a:lnTo>
                    <a:pt x="4607" y="686"/>
                  </a:lnTo>
                  <a:lnTo>
                    <a:pt x="4639" y="701"/>
                  </a:lnTo>
                  <a:lnTo>
                    <a:pt x="4680" y="718"/>
                  </a:lnTo>
                  <a:lnTo>
                    <a:pt x="4721" y="735"/>
                  </a:lnTo>
                  <a:lnTo>
                    <a:pt x="4757" y="752"/>
                  </a:lnTo>
                  <a:lnTo>
                    <a:pt x="4794" y="769"/>
                  </a:lnTo>
                  <a:lnTo>
                    <a:pt x="4831" y="786"/>
                  </a:lnTo>
                  <a:lnTo>
                    <a:pt x="4867" y="803"/>
                  </a:lnTo>
                  <a:lnTo>
                    <a:pt x="4904" y="817"/>
                  </a:lnTo>
                  <a:lnTo>
                    <a:pt x="4936" y="834"/>
                  </a:lnTo>
                  <a:lnTo>
                    <a:pt x="4968" y="849"/>
                  </a:lnTo>
                  <a:lnTo>
                    <a:pt x="5000" y="863"/>
                  </a:lnTo>
                  <a:lnTo>
                    <a:pt x="5036" y="880"/>
                  </a:lnTo>
                  <a:lnTo>
                    <a:pt x="5064" y="894"/>
                  </a:lnTo>
                  <a:lnTo>
                    <a:pt x="5096" y="908"/>
                  </a:lnTo>
                  <a:lnTo>
                    <a:pt x="5128" y="923"/>
                  </a:lnTo>
                  <a:lnTo>
                    <a:pt x="5155" y="937"/>
                  </a:lnTo>
                  <a:lnTo>
                    <a:pt x="5183" y="951"/>
                  </a:lnTo>
                  <a:lnTo>
                    <a:pt x="5210" y="965"/>
                  </a:lnTo>
                  <a:lnTo>
                    <a:pt x="5233" y="977"/>
                  </a:lnTo>
                  <a:lnTo>
                    <a:pt x="5260" y="988"/>
                  </a:lnTo>
                  <a:lnTo>
                    <a:pt x="5283" y="1002"/>
                  </a:lnTo>
                  <a:lnTo>
                    <a:pt x="5310" y="1011"/>
                  </a:lnTo>
                  <a:lnTo>
                    <a:pt x="5329" y="1022"/>
                  </a:lnTo>
                  <a:lnTo>
                    <a:pt x="5352" y="1037"/>
                  </a:lnTo>
                  <a:lnTo>
                    <a:pt x="5370" y="1045"/>
                  </a:lnTo>
                  <a:lnTo>
                    <a:pt x="5388" y="1056"/>
                  </a:lnTo>
                  <a:lnTo>
                    <a:pt x="5406" y="1065"/>
                  </a:lnTo>
                  <a:lnTo>
                    <a:pt x="5420" y="1071"/>
                  </a:lnTo>
                  <a:lnTo>
                    <a:pt x="5438" y="1082"/>
                  </a:lnTo>
                  <a:lnTo>
                    <a:pt x="5452" y="1091"/>
                  </a:lnTo>
                  <a:lnTo>
                    <a:pt x="5461" y="1096"/>
                  </a:lnTo>
                  <a:lnTo>
                    <a:pt x="5475" y="1105"/>
                  </a:lnTo>
                  <a:lnTo>
                    <a:pt x="5480" y="1111"/>
                  </a:lnTo>
                  <a:lnTo>
                    <a:pt x="5489" y="1116"/>
                  </a:lnTo>
                  <a:lnTo>
                    <a:pt x="5498" y="1122"/>
                  </a:lnTo>
                  <a:lnTo>
                    <a:pt x="5502" y="1128"/>
                  </a:lnTo>
                  <a:lnTo>
                    <a:pt x="5507" y="1136"/>
                  </a:lnTo>
                  <a:lnTo>
                    <a:pt x="5507" y="1139"/>
                  </a:lnTo>
                  <a:lnTo>
                    <a:pt x="5493" y="1148"/>
                  </a:lnTo>
                  <a:lnTo>
                    <a:pt x="5475" y="1156"/>
                  </a:lnTo>
                  <a:lnTo>
                    <a:pt x="5457" y="1165"/>
                  </a:lnTo>
                  <a:lnTo>
                    <a:pt x="5443" y="1170"/>
                  </a:lnTo>
                  <a:lnTo>
                    <a:pt x="5434" y="1170"/>
                  </a:lnTo>
                  <a:lnTo>
                    <a:pt x="5420" y="1176"/>
                  </a:lnTo>
                  <a:lnTo>
                    <a:pt x="5411" y="1179"/>
                  </a:lnTo>
                  <a:lnTo>
                    <a:pt x="5402" y="1179"/>
                  </a:lnTo>
                  <a:lnTo>
                    <a:pt x="5384" y="1185"/>
                  </a:lnTo>
                  <a:lnTo>
                    <a:pt x="5365" y="1187"/>
                  </a:lnTo>
                  <a:lnTo>
                    <a:pt x="5342" y="1187"/>
                  </a:lnTo>
                  <a:lnTo>
                    <a:pt x="5324" y="1190"/>
                  </a:lnTo>
                  <a:lnTo>
                    <a:pt x="5310" y="1190"/>
                  </a:lnTo>
                  <a:lnTo>
                    <a:pt x="5297" y="1190"/>
                  </a:lnTo>
                  <a:lnTo>
                    <a:pt x="5283" y="1187"/>
                  </a:lnTo>
                  <a:lnTo>
                    <a:pt x="5274" y="1185"/>
                  </a:lnTo>
                  <a:lnTo>
                    <a:pt x="5269" y="1182"/>
                  </a:lnTo>
                  <a:lnTo>
                    <a:pt x="5274" y="1179"/>
                  </a:lnTo>
                  <a:lnTo>
                    <a:pt x="5269" y="1176"/>
                  </a:lnTo>
                  <a:lnTo>
                    <a:pt x="5265" y="1170"/>
                  </a:lnTo>
                  <a:lnTo>
                    <a:pt x="5256" y="1165"/>
                  </a:lnTo>
                  <a:lnTo>
                    <a:pt x="5247" y="1159"/>
                  </a:lnTo>
                  <a:lnTo>
                    <a:pt x="5233" y="1150"/>
                  </a:lnTo>
                  <a:lnTo>
                    <a:pt x="5219" y="1142"/>
                  </a:lnTo>
                  <a:lnTo>
                    <a:pt x="5210" y="1136"/>
                  </a:lnTo>
                  <a:lnTo>
                    <a:pt x="5201" y="1131"/>
                  </a:lnTo>
                  <a:lnTo>
                    <a:pt x="5187" y="1125"/>
                  </a:lnTo>
                  <a:lnTo>
                    <a:pt x="5178" y="1122"/>
                  </a:lnTo>
                  <a:lnTo>
                    <a:pt x="5164" y="1116"/>
                  </a:lnTo>
                  <a:lnTo>
                    <a:pt x="5155" y="1108"/>
                  </a:lnTo>
                  <a:lnTo>
                    <a:pt x="5141" y="1102"/>
                  </a:lnTo>
                  <a:lnTo>
                    <a:pt x="5128" y="1093"/>
                  </a:lnTo>
                  <a:lnTo>
                    <a:pt x="5114" y="1088"/>
                  </a:lnTo>
                  <a:lnTo>
                    <a:pt x="5100" y="1079"/>
                  </a:lnTo>
                  <a:lnTo>
                    <a:pt x="5087" y="1071"/>
                  </a:lnTo>
                  <a:lnTo>
                    <a:pt x="5073" y="1065"/>
                  </a:lnTo>
                  <a:lnTo>
                    <a:pt x="5055" y="1054"/>
                  </a:lnTo>
                  <a:lnTo>
                    <a:pt x="5036" y="1045"/>
                  </a:lnTo>
                  <a:lnTo>
                    <a:pt x="5018" y="1039"/>
                  </a:lnTo>
                  <a:lnTo>
                    <a:pt x="5000" y="1028"/>
                  </a:lnTo>
                  <a:lnTo>
                    <a:pt x="4981" y="1019"/>
                  </a:lnTo>
                  <a:lnTo>
                    <a:pt x="4963" y="1011"/>
                  </a:lnTo>
                  <a:lnTo>
                    <a:pt x="4940" y="1002"/>
                  </a:lnTo>
                  <a:lnTo>
                    <a:pt x="4922" y="994"/>
                  </a:lnTo>
                  <a:lnTo>
                    <a:pt x="4904" y="982"/>
                  </a:lnTo>
                  <a:lnTo>
                    <a:pt x="4881" y="971"/>
                  </a:lnTo>
                  <a:lnTo>
                    <a:pt x="4858" y="962"/>
                  </a:lnTo>
                  <a:lnTo>
                    <a:pt x="4835" y="951"/>
                  </a:lnTo>
                  <a:lnTo>
                    <a:pt x="4817" y="940"/>
                  </a:lnTo>
                  <a:lnTo>
                    <a:pt x="4794" y="931"/>
                  </a:lnTo>
                  <a:lnTo>
                    <a:pt x="4767" y="920"/>
                  </a:lnTo>
                  <a:lnTo>
                    <a:pt x="4744" y="908"/>
                  </a:lnTo>
                  <a:lnTo>
                    <a:pt x="4721" y="897"/>
                  </a:lnTo>
                  <a:lnTo>
                    <a:pt x="4694" y="886"/>
                  </a:lnTo>
                  <a:lnTo>
                    <a:pt x="4671" y="874"/>
                  </a:lnTo>
                  <a:lnTo>
                    <a:pt x="4643" y="863"/>
                  </a:lnTo>
                  <a:lnTo>
                    <a:pt x="4620" y="851"/>
                  </a:lnTo>
                  <a:lnTo>
                    <a:pt x="4593" y="840"/>
                  </a:lnTo>
                  <a:lnTo>
                    <a:pt x="4561" y="829"/>
                  </a:lnTo>
                  <a:lnTo>
                    <a:pt x="4543" y="817"/>
                  </a:lnTo>
                  <a:lnTo>
                    <a:pt x="4511" y="803"/>
                  </a:lnTo>
                  <a:lnTo>
                    <a:pt x="4488" y="794"/>
                  </a:lnTo>
                  <a:lnTo>
                    <a:pt x="4456" y="777"/>
                  </a:lnTo>
                  <a:lnTo>
                    <a:pt x="4428" y="766"/>
                  </a:lnTo>
                  <a:lnTo>
                    <a:pt x="4401" y="755"/>
                  </a:lnTo>
                  <a:lnTo>
                    <a:pt x="4369" y="743"/>
                  </a:lnTo>
                  <a:lnTo>
                    <a:pt x="4342" y="729"/>
                  </a:lnTo>
                  <a:lnTo>
                    <a:pt x="4314" y="718"/>
                  </a:lnTo>
                  <a:lnTo>
                    <a:pt x="4282" y="706"/>
                  </a:lnTo>
                  <a:lnTo>
                    <a:pt x="4250" y="692"/>
                  </a:lnTo>
                  <a:lnTo>
                    <a:pt x="4223" y="681"/>
                  </a:lnTo>
                  <a:lnTo>
                    <a:pt x="4195" y="666"/>
                  </a:lnTo>
                  <a:lnTo>
                    <a:pt x="4163" y="655"/>
                  </a:lnTo>
                  <a:lnTo>
                    <a:pt x="4131" y="644"/>
                  </a:lnTo>
                  <a:lnTo>
                    <a:pt x="4099" y="629"/>
                  </a:lnTo>
                  <a:lnTo>
                    <a:pt x="4072" y="618"/>
                  </a:lnTo>
                  <a:lnTo>
                    <a:pt x="4045" y="609"/>
                  </a:lnTo>
                  <a:lnTo>
                    <a:pt x="4017" y="598"/>
                  </a:lnTo>
                  <a:lnTo>
                    <a:pt x="3994" y="587"/>
                  </a:lnTo>
                  <a:lnTo>
                    <a:pt x="3967" y="575"/>
                  </a:lnTo>
                  <a:lnTo>
                    <a:pt x="3944" y="564"/>
                  </a:lnTo>
                  <a:lnTo>
                    <a:pt x="3921" y="555"/>
                  </a:lnTo>
                  <a:lnTo>
                    <a:pt x="3889" y="547"/>
                  </a:lnTo>
                  <a:lnTo>
                    <a:pt x="3871" y="535"/>
                  </a:lnTo>
                  <a:lnTo>
                    <a:pt x="3839" y="527"/>
                  </a:lnTo>
                  <a:lnTo>
                    <a:pt x="3821" y="515"/>
                  </a:lnTo>
                  <a:lnTo>
                    <a:pt x="3789" y="507"/>
                  </a:lnTo>
                  <a:lnTo>
                    <a:pt x="3766" y="495"/>
                  </a:lnTo>
                  <a:lnTo>
                    <a:pt x="3743" y="484"/>
                  </a:lnTo>
                  <a:lnTo>
                    <a:pt x="3720" y="476"/>
                  </a:lnTo>
                  <a:lnTo>
                    <a:pt x="3693" y="467"/>
                  </a:lnTo>
                  <a:lnTo>
                    <a:pt x="3670" y="461"/>
                  </a:lnTo>
                  <a:lnTo>
                    <a:pt x="3642" y="450"/>
                  </a:lnTo>
                  <a:lnTo>
                    <a:pt x="3620" y="439"/>
                  </a:lnTo>
                  <a:lnTo>
                    <a:pt x="3597" y="430"/>
                  </a:lnTo>
                  <a:lnTo>
                    <a:pt x="3569" y="421"/>
                  </a:lnTo>
                  <a:lnTo>
                    <a:pt x="3546" y="413"/>
                  </a:lnTo>
                  <a:lnTo>
                    <a:pt x="3519" y="404"/>
                  </a:lnTo>
                  <a:lnTo>
                    <a:pt x="3496" y="396"/>
                  </a:lnTo>
                  <a:lnTo>
                    <a:pt x="3473" y="387"/>
                  </a:lnTo>
                  <a:lnTo>
                    <a:pt x="3455" y="376"/>
                  </a:lnTo>
                  <a:lnTo>
                    <a:pt x="3428" y="367"/>
                  </a:lnTo>
                  <a:lnTo>
                    <a:pt x="3405" y="362"/>
                  </a:lnTo>
                  <a:lnTo>
                    <a:pt x="3382" y="353"/>
                  </a:lnTo>
                  <a:lnTo>
                    <a:pt x="3359" y="345"/>
                  </a:lnTo>
                  <a:lnTo>
                    <a:pt x="3336" y="336"/>
                  </a:lnTo>
                  <a:lnTo>
                    <a:pt x="3313" y="330"/>
                  </a:lnTo>
                  <a:lnTo>
                    <a:pt x="3290" y="322"/>
                  </a:lnTo>
                  <a:lnTo>
                    <a:pt x="3268" y="313"/>
                  </a:lnTo>
                  <a:lnTo>
                    <a:pt x="3249" y="308"/>
                  </a:lnTo>
                  <a:lnTo>
                    <a:pt x="3227" y="299"/>
                  </a:lnTo>
                  <a:lnTo>
                    <a:pt x="3204" y="290"/>
                  </a:lnTo>
                  <a:lnTo>
                    <a:pt x="3181" y="285"/>
                  </a:lnTo>
                  <a:lnTo>
                    <a:pt x="3163" y="279"/>
                  </a:lnTo>
                  <a:lnTo>
                    <a:pt x="3144" y="271"/>
                  </a:lnTo>
                  <a:lnTo>
                    <a:pt x="3121" y="265"/>
                  </a:lnTo>
                  <a:lnTo>
                    <a:pt x="3103" y="259"/>
                  </a:lnTo>
                  <a:lnTo>
                    <a:pt x="3085" y="251"/>
                  </a:lnTo>
                  <a:lnTo>
                    <a:pt x="3062" y="248"/>
                  </a:lnTo>
                  <a:lnTo>
                    <a:pt x="3044" y="242"/>
                  </a:lnTo>
                  <a:lnTo>
                    <a:pt x="3025" y="236"/>
                  </a:lnTo>
                  <a:lnTo>
                    <a:pt x="3007" y="228"/>
                  </a:lnTo>
                  <a:lnTo>
                    <a:pt x="2993" y="225"/>
                  </a:lnTo>
                  <a:lnTo>
                    <a:pt x="2975" y="219"/>
                  </a:lnTo>
                  <a:lnTo>
                    <a:pt x="2957" y="214"/>
                  </a:lnTo>
                  <a:lnTo>
                    <a:pt x="2943" y="208"/>
                  </a:lnTo>
                  <a:lnTo>
                    <a:pt x="2925" y="205"/>
                  </a:lnTo>
                  <a:lnTo>
                    <a:pt x="2907" y="199"/>
                  </a:lnTo>
                  <a:lnTo>
                    <a:pt x="2888" y="196"/>
                  </a:lnTo>
                  <a:lnTo>
                    <a:pt x="2875" y="194"/>
                  </a:lnTo>
                  <a:lnTo>
                    <a:pt x="2861" y="188"/>
                  </a:lnTo>
                  <a:lnTo>
                    <a:pt x="2852" y="185"/>
                  </a:lnTo>
                  <a:lnTo>
                    <a:pt x="2838" y="182"/>
                  </a:lnTo>
                  <a:lnTo>
                    <a:pt x="2820" y="179"/>
                  </a:lnTo>
                  <a:lnTo>
                    <a:pt x="2811" y="174"/>
                  </a:lnTo>
                  <a:lnTo>
                    <a:pt x="2801" y="171"/>
                  </a:lnTo>
                  <a:lnTo>
                    <a:pt x="2783" y="171"/>
                  </a:lnTo>
                  <a:lnTo>
                    <a:pt x="2774" y="168"/>
                  </a:lnTo>
                  <a:lnTo>
                    <a:pt x="2765" y="165"/>
                  </a:lnTo>
                  <a:lnTo>
                    <a:pt x="2756" y="162"/>
                  </a:lnTo>
                  <a:lnTo>
                    <a:pt x="2733" y="159"/>
                  </a:lnTo>
                  <a:lnTo>
                    <a:pt x="2706" y="159"/>
                  </a:lnTo>
                  <a:lnTo>
                    <a:pt x="2674" y="159"/>
                  </a:lnTo>
                  <a:lnTo>
                    <a:pt x="2651" y="162"/>
                  </a:lnTo>
                  <a:lnTo>
                    <a:pt x="2614" y="165"/>
                  </a:lnTo>
                  <a:lnTo>
                    <a:pt x="2582" y="171"/>
                  </a:lnTo>
                  <a:lnTo>
                    <a:pt x="2546" y="179"/>
                  </a:lnTo>
                  <a:lnTo>
                    <a:pt x="2509" y="191"/>
                  </a:lnTo>
                  <a:lnTo>
                    <a:pt x="2468" y="199"/>
                  </a:lnTo>
                  <a:lnTo>
                    <a:pt x="2431" y="211"/>
                  </a:lnTo>
                  <a:lnTo>
                    <a:pt x="2386" y="225"/>
                  </a:lnTo>
                  <a:lnTo>
                    <a:pt x="2344" y="239"/>
                  </a:lnTo>
                  <a:lnTo>
                    <a:pt x="2299" y="253"/>
                  </a:lnTo>
                  <a:lnTo>
                    <a:pt x="2253" y="268"/>
                  </a:lnTo>
                  <a:lnTo>
                    <a:pt x="2207" y="288"/>
                  </a:lnTo>
                  <a:lnTo>
                    <a:pt x="2162" y="310"/>
                  </a:lnTo>
                  <a:lnTo>
                    <a:pt x="2111" y="327"/>
                  </a:lnTo>
                  <a:lnTo>
                    <a:pt x="2061" y="347"/>
                  </a:lnTo>
                  <a:lnTo>
                    <a:pt x="2011" y="367"/>
                  </a:lnTo>
                  <a:lnTo>
                    <a:pt x="1961" y="393"/>
                  </a:lnTo>
                  <a:lnTo>
                    <a:pt x="1906" y="416"/>
                  </a:lnTo>
                  <a:lnTo>
                    <a:pt x="1855" y="439"/>
                  </a:lnTo>
                  <a:lnTo>
                    <a:pt x="1801" y="464"/>
                  </a:lnTo>
                  <a:lnTo>
                    <a:pt x="1750" y="493"/>
                  </a:lnTo>
                  <a:lnTo>
                    <a:pt x="1691" y="515"/>
                  </a:lnTo>
                  <a:lnTo>
                    <a:pt x="1636" y="541"/>
                  </a:lnTo>
                  <a:lnTo>
                    <a:pt x="1581" y="570"/>
                  </a:lnTo>
                  <a:lnTo>
                    <a:pt x="1531" y="598"/>
                  </a:lnTo>
                  <a:lnTo>
                    <a:pt x="1472" y="624"/>
                  </a:lnTo>
                  <a:lnTo>
                    <a:pt x="1421" y="652"/>
                  </a:lnTo>
                  <a:lnTo>
                    <a:pt x="1366" y="681"/>
                  </a:lnTo>
                  <a:lnTo>
                    <a:pt x="1316" y="709"/>
                  </a:lnTo>
                  <a:lnTo>
                    <a:pt x="1257" y="735"/>
                  </a:lnTo>
                  <a:lnTo>
                    <a:pt x="1207" y="763"/>
                  </a:lnTo>
                  <a:lnTo>
                    <a:pt x="1152" y="792"/>
                  </a:lnTo>
                  <a:lnTo>
                    <a:pt x="1101" y="817"/>
                  </a:lnTo>
                  <a:lnTo>
                    <a:pt x="1047" y="846"/>
                  </a:lnTo>
                  <a:lnTo>
                    <a:pt x="996" y="874"/>
                  </a:lnTo>
                  <a:lnTo>
                    <a:pt x="946" y="900"/>
                  </a:lnTo>
                  <a:lnTo>
                    <a:pt x="896" y="928"/>
                  </a:lnTo>
                  <a:lnTo>
                    <a:pt x="845" y="954"/>
                  </a:lnTo>
                  <a:lnTo>
                    <a:pt x="800" y="980"/>
                  </a:lnTo>
                  <a:lnTo>
                    <a:pt x="754" y="1005"/>
                  </a:lnTo>
                  <a:lnTo>
                    <a:pt x="708" y="1031"/>
                  </a:lnTo>
                  <a:lnTo>
                    <a:pt x="663" y="1054"/>
                  </a:lnTo>
                  <a:lnTo>
                    <a:pt x="622" y="1076"/>
                  </a:lnTo>
                  <a:lnTo>
                    <a:pt x="580" y="1099"/>
                  </a:lnTo>
                  <a:lnTo>
                    <a:pt x="544" y="1122"/>
                  </a:lnTo>
                  <a:lnTo>
                    <a:pt x="503" y="1142"/>
                  </a:lnTo>
                  <a:lnTo>
                    <a:pt x="466" y="1162"/>
                  </a:lnTo>
                  <a:lnTo>
                    <a:pt x="430" y="1182"/>
                  </a:lnTo>
                  <a:lnTo>
                    <a:pt x="398" y="1199"/>
                  </a:lnTo>
                  <a:lnTo>
                    <a:pt x="366" y="1216"/>
                  </a:lnTo>
                  <a:lnTo>
                    <a:pt x="343" y="1230"/>
                  </a:lnTo>
                  <a:lnTo>
                    <a:pt x="311" y="1244"/>
                  </a:lnTo>
                  <a:lnTo>
                    <a:pt x="288" y="1261"/>
                  </a:lnTo>
                  <a:lnTo>
                    <a:pt x="260" y="1270"/>
                  </a:lnTo>
                  <a:lnTo>
                    <a:pt x="242" y="1281"/>
                  </a:lnTo>
                  <a:lnTo>
                    <a:pt x="229" y="1287"/>
                  </a:lnTo>
                  <a:lnTo>
                    <a:pt x="210" y="1299"/>
                  </a:lnTo>
                  <a:lnTo>
                    <a:pt x="201" y="1304"/>
                  </a:lnTo>
                  <a:lnTo>
                    <a:pt x="187" y="1307"/>
                  </a:lnTo>
                  <a:lnTo>
                    <a:pt x="183" y="1307"/>
                  </a:lnTo>
                  <a:lnTo>
                    <a:pt x="178" y="1310"/>
                  </a:lnTo>
                  <a:lnTo>
                    <a:pt x="165" y="1307"/>
                  </a:lnTo>
                  <a:lnTo>
                    <a:pt x="155" y="1307"/>
                  </a:lnTo>
                  <a:lnTo>
                    <a:pt x="137" y="1304"/>
                  </a:lnTo>
                  <a:lnTo>
                    <a:pt x="123" y="1304"/>
                  </a:lnTo>
                  <a:lnTo>
                    <a:pt x="105" y="1299"/>
                  </a:lnTo>
                  <a:lnTo>
                    <a:pt x="91" y="1299"/>
                  </a:lnTo>
                  <a:lnTo>
                    <a:pt x="73" y="1296"/>
                  </a:lnTo>
                  <a:lnTo>
                    <a:pt x="64" y="1293"/>
                  </a:lnTo>
                  <a:lnTo>
                    <a:pt x="46" y="1287"/>
                  </a:lnTo>
                  <a:lnTo>
                    <a:pt x="32" y="1287"/>
                  </a:lnTo>
                  <a:lnTo>
                    <a:pt x="18" y="1284"/>
                  </a:lnTo>
                  <a:lnTo>
                    <a:pt x="9" y="1284"/>
                  </a:lnTo>
                  <a:lnTo>
                    <a:pt x="0" y="1281"/>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14" name="Freeform 6"/>
            <p:cNvSpPr>
              <a:spLocks/>
            </p:cNvSpPr>
            <p:nvPr>
              <p:custDataLst>
                <p:tags r:id="rId213"/>
              </p:custDataLst>
            </p:nvPr>
          </p:nvSpPr>
          <p:spPr bwMode="gray">
            <a:xfrm>
              <a:off x="0" y="1175"/>
              <a:ext cx="5547" cy="378"/>
            </a:xfrm>
            <a:custGeom>
              <a:avLst/>
              <a:gdLst>
                <a:gd name="T0" fmla="*/ 137 w 5411"/>
                <a:gd name="T1" fmla="*/ 23 h 413"/>
                <a:gd name="T2" fmla="*/ 419 w 5411"/>
                <a:gd name="T3" fmla="*/ 27 h 413"/>
                <a:gd name="T4" fmla="*/ 792 w 5411"/>
                <a:gd name="T5" fmla="*/ 29 h 413"/>
                <a:gd name="T6" fmla="*/ 1235 w 5411"/>
                <a:gd name="T7" fmla="*/ 32 h 413"/>
                <a:gd name="T8" fmla="*/ 1745 w 5411"/>
                <a:gd name="T9" fmla="*/ 35 h 413"/>
                <a:gd name="T10" fmla="*/ 2301 w 5411"/>
                <a:gd name="T11" fmla="*/ 38 h 413"/>
                <a:gd name="T12" fmla="*/ 2885 w 5411"/>
                <a:gd name="T13" fmla="*/ 38 h 413"/>
                <a:gd name="T14" fmla="*/ 3504 w 5411"/>
                <a:gd name="T15" fmla="*/ 41 h 413"/>
                <a:gd name="T16" fmla="*/ 4129 w 5411"/>
                <a:gd name="T17" fmla="*/ 41 h 413"/>
                <a:gd name="T18" fmla="*/ 4759 w 5411"/>
                <a:gd name="T19" fmla="*/ 41 h 413"/>
                <a:gd name="T20" fmla="*/ 5374 w 5411"/>
                <a:gd name="T21" fmla="*/ 41 h 413"/>
                <a:gd name="T22" fmla="*/ 5964 w 5411"/>
                <a:gd name="T23" fmla="*/ 39 h 413"/>
                <a:gd name="T24" fmla="*/ 6526 w 5411"/>
                <a:gd name="T25" fmla="*/ 38 h 413"/>
                <a:gd name="T26" fmla="*/ 7032 w 5411"/>
                <a:gd name="T27" fmla="*/ 35 h 413"/>
                <a:gd name="T28" fmla="*/ 7519 w 5411"/>
                <a:gd name="T29" fmla="*/ 32 h 413"/>
                <a:gd name="T30" fmla="*/ 7972 w 5411"/>
                <a:gd name="T31" fmla="*/ 31 h 413"/>
                <a:gd name="T32" fmla="*/ 8402 w 5411"/>
                <a:gd name="T33" fmla="*/ 27 h 413"/>
                <a:gd name="T34" fmla="*/ 8785 w 5411"/>
                <a:gd name="T35" fmla="*/ 25 h 413"/>
                <a:gd name="T36" fmla="*/ 9130 w 5411"/>
                <a:gd name="T37" fmla="*/ 23 h 413"/>
                <a:gd name="T38" fmla="*/ 9436 w 5411"/>
                <a:gd name="T39" fmla="*/ 19 h 413"/>
                <a:gd name="T40" fmla="*/ 9704 w 5411"/>
                <a:gd name="T41" fmla="*/ 16 h 413"/>
                <a:gd name="T42" fmla="*/ 9927 w 5411"/>
                <a:gd name="T43" fmla="*/ 15 h 413"/>
                <a:gd name="T44" fmla="*/ 10097 w 5411"/>
                <a:gd name="T45" fmla="*/ 13 h 413"/>
                <a:gd name="T46" fmla="*/ 10233 w 5411"/>
                <a:gd name="T47" fmla="*/ 12 h 413"/>
                <a:gd name="T48" fmla="*/ 10318 w 5411"/>
                <a:gd name="T49" fmla="*/ 11 h 413"/>
                <a:gd name="T50" fmla="*/ 9982 w 5411"/>
                <a:gd name="T51" fmla="*/ 3 h 413"/>
                <a:gd name="T52" fmla="*/ 9839 w 5411"/>
                <a:gd name="T53" fmla="*/ 5 h 413"/>
                <a:gd name="T54" fmla="*/ 9639 w 5411"/>
                <a:gd name="T55" fmla="*/ 5 h 413"/>
                <a:gd name="T56" fmla="*/ 9352 w 5411"/>
                <a:gd name="T57" fmla="*/ 5 h 413"/>
                <a:gd name="T58" fmla="*/ 9016 w 5411"/>
                <a:gd name="T59" fmla="*/ 9 h 413"/>
                <a:gd name="T60" fmla="*/ 8628 w 5411"/>
                <a:gd name="T61" fmla="*/ 12 h 413"/>
                <a:gd name="T62" fmla="*/ 8190 w 5411"/>
                <a:gd name="T63" fmla="*/ 14 h 413"/>
                <a:gd name="T64" fmla="*/ 7704 w 5411"/>
                <a:gd name="T65" fmla="*/ 16 h 413"/>
                <a:gd name="T66" fmla="*/ 7193 w 5411"/>
                <a:gd name="T67" fmla="*/ 19 h 413"/>
                <a:gd name="T68" fmla="*/ 6640 w 5411"/>
                <a:gd name="T69" fmla="*/ 23 h 413"/>
                <a:gd name="T70" fmla="*/ 6066 w 5411"/>
                <a:gd name="T71" fmla="*/ 25 h 413"/>
                <a:gd name="T72" fmla="*/ 5482 w 5411"/>
                <a:gd name="T73" fmla="*/ 25 h 413"/>
                <a:gd name="T74" fmla="*/ 4868 w 5411"/>
                <a:gd name="T75" fmla="*/ 27 h 413"/>
                <a:gd name="T76" fmla="*/ 4278 w 5411"/>
                <a:gd name="T77" fmla="*/ 27 h 413"/>
                <a:gd name="T78" fmla="*/ 3722 w 5411"/>
                <a:gd name="T79" fmla="*/ 27 h 413"/>
                <a:gd name="T80" fmla="*/ 3190 w 5411"/>
                <a:gd name="T81" fmla="*/ 27 h 413"/>
                <a:gd name="T82" fmla="*/ 2699 w 5411"/>
                <a:gd name="T83" fmla="*/ 25 h 413"/>
                <a:gd name="T84" fmla="*/ 2242 w 5411"/>
                <a:gd name="T85" fmla="*/ 24 h 413"/>
                <a:gd name="T86" fmla="*/ 1838 w 5411"/>
                <a:gd name="T87" fmla="*/ 23 h 413"/>
                <a:gd name="T88" fmla="*/ 1449 w 5411"/>
                <a:gd name="T89" fmla="*/ 21 h 413"/>
                <a:gd name="T90" fmla="*/ 1141 w 5411"/>
                <a:gd name="T91" fmla="*/ 19 h 413"/>
                <a:gd name="T92" fmla="*/ 869 w 5411"/>
                <a:gd name="T93" fmla="*/ 17 h 413"/>
                <a:gd name="T94" fmla="*/ 657 w 5411"/>
                <a:gd name="T95" fmla="*/ 16 h 413"/>
                <a:gd name="T96" fmla="*/ 514 w 5411"/>
                <a:gd name="T97" fmla="*/ 14 h 413"/>
                <a:gd name="T98" fmla="*/ 410 w 5411"/>
                <a:gd name="T99" fmla="*/ 14 h 413"/>
                <a:gd name="T100" fmla="*/ 252 w 5411"/>
                <a:gd name="T101" fmla="*/ 14 h 413"/>
                <a:gd name="T102" fmla="*/ 74 w 5411"/>
                <a:gd name="T103" fmla="*/ 17 h 413"/>
                <a:gd name="T104" fmla="*/ 0 w 5411"/>
                <a:gd name="T105" fmla="*/ 19 h 41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411"/>
                <a:gd name="T160" fmla="*/ 0 h 413"/>
                <a:gd name="T161" fmla="*/ 5411 w 5411"/>
                <a:gd name="T162" fmla="*/ 413 h 41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411" h="413">
                  <a:moveTo>
                    <a:pt x="0" y="199"/>
                  </a:moveTo>
                  <a:lnTo>
                    <a:pt x="5" y="208"/>
                  </a:lnTo>
                  <a:lnTo>
                    <a:pt x="23" y="213"/>
                  </a:lnTo>
                  <a:lnTo>
                    <a:pt x="46" y="222"/>
                  </a:lnTo>
                  <a:lnTo>
                    <a:pt x="73" y="231"/>
                  </a:lnTo>
                  <a:lnTo>
                    <a:pt x="96" y="239"/>
                  </a:lnTo>
                  <a:lnTo>
                    <a:pt x="123" y="248"/>
                  </a:lnTo>
                  <a:lnTo>
                    <a:pt x="155" y="253"/>
                  </a:lnTo>
                  <a:lnTo>
                    <a:pt x="187" y="262"/>
                  </a:lnTo>
                  <a:lnTo>
                    <a:pt x="219" y="268"/>
                  </a:lnTo>
                  <a:lnTo>
                    <a:pt x="256" y="273"/>
                  </a:lnTo>
                  <a:lnTo>
                    <a:pt x="292" y="282"/>
                  </a:lnTo>
                  <a:lnTo>
                    <a:pt x="334" y="287"/>
                  </a:lnTo>
                  <a:lnTo>
                    <a:pt x="375" y="293"/>
                  </a:lnTo>
                  <a:lnTo>
                    <a:pt x="416" y="299"/>
                  </a:lnTo>
                  <a:lnTo>
                    <a:pt x="462" y="307"/>
                  </a:lnTo>
                  <a:lnTo>
                    <a:pt x="507" y="313"/>
                  </a:lnTo>
                  <a:lnTo>
                    <a:pt x="553" y="319"/>
                  </a:lnTo>
                  <a:lnTo>
                    <a:pt x="599" y="324"/>
                  </a:lnTo>
                  <a:lnTo>
                    <a:pt x="649" y="330"/>
                  </a:lnTo>
                  <a:lnTo>
                    <a:pt x="699" y="336"/>
                  </a:lnTo>
                  <a:lnTo>
                    <a:pt x="750" y="339"/>
                  </a:lnTo>
                  <a:lnTo>
                    <a:pt x="804" y="344"/>
                  </a:lnTo>
                  <a:lnTo>
                    <a:pt x="859" y="350"/>
                  </a:lnTo>
                  <a:lnTo>
                    <a:pt x="914" y="356"/>
                  </a:lnTo>
                  <a:lnTo>
                    <a:pt x="969" y="359"/>
                  </a:lnTo>
                  <a:lnTo>
                    <a:pt x="1028" y="364"/>
                  </a:lnTo>
                  <a:lnTo>
                    <a:pt x="1088" y="367"/>
                  </a:lnTo>
                  <a:lnTo>
                    <a:pt x="1147" y="373"/>
                  </a:lnTo>
                  <a:lnTo>
                    <a:pt x="1207" y="376"/>
                  </a:lnTo>
                  <a:lnTo>
                    <a:pt x="1266" y="379"/>
                  </a:lnTo>
                  <a:lnTo>
                    <a:pt x="1325" y="384"/>
                  </a:lnTo>
                  <a:lnTo>
                    <a:pt x="1394" y="390"/>
                  </a:lnTo>
                  <a:lnTo>
                    <a:pt x="1453" y="390"/>
                  </a:lnTo>
                  <a:lnTo>
                    <a:pt x="1513" y="393"/>
                  </a:lnTo>
                  <a:lnTo>
                    <a:pt x="1577" y="396"/>
                  </a:lnTo>
                  <a:lnTo>
                    <a:pt x="1645" y="399"/>
                  </a:lnTo>
                  <a:lnTo>
                    <a:pt x="1709" y="401"/>
                  </a:lnTo>
                  <a:lnTo>
                    <a:pt x="1773" y="401"/>
                  </a:lnTo>
                  <a:lnTo>
                    <a:pt x="1837" y="404"/>
                  </a:lnTo>
                  <a:lnTo>
                    <a:pt x="1906" y="407"/>
                  </a:lnTo>
                  <a:lnTo>
                    <a:pt x="1970" y="410"/>
                  </a:lnTo>
                  <a:lnTo>
                    <a:pt x="2034" y="410"/>
                  </a:lnTo>
                  <a:lnTo>
                    <a:pt x="2098" y="410"/>
                  </a:lnTo>
                  <a:lnTo>
                    <a:pt x="2166" y="413"/>
                  </a:lnTo>
                  <a:lnTo>
                    <a:pt x="2235" y="413"/>
                  </a:lnTo>
                  <a:lnTo>
                    <a:pt x="2299" y="413"/>
                  </a:lnTo>
                  <a:lnTo>
                    <a:pt x="2363" y="413"/>
                  </a:lnTo>
                  <a:lnTo>
                    <a:pt x="2431" y="413"/>
                  </a:lnTo>
                  <a:lnTo>
                    <a:pt x="2495" y="413"/>
                  </a:lnTo>
                  <a:lnTo>
                    <a:pt x="2559" y="413"/>
                  </a:lnTo>
                  <a:lnTo>
                    <a:pt x="2623" y="410"/>
                  </a:lnTo>
                  <a:lnTo>
                    <a:pt x="2692" y="410"/>
                  </a:lnTo>
                  <a:lnTo>
                    <a:pt x="2751" y="410"/>
                  </a:lnTo>
                  <a:lnTo>
                    <a:pt x="2820" y="407"/>
                  </a:lnTo>
                  <a:lnTo>
                    <a:pt x="2879" y="404"/>
                  </a:lnTo>
                  <a:lnTo>
                    <a:pt x="2943" y="404"/>
                  </a:lnTo>
                  <a:lnTo>
                    <a:pt x="3003" y="401"/>
                  </a:lnTo>
                  <a:lnTo>
                    <a:pt x="3067" y="401"/>
                  </a:lnTo>
                  <a:lnTo>
                    <a:pt x="3126" y="399"/>
                  </a:lnTo>
                  <a:lnTo>
                    <a:pt x="3185" y="396"/>
                  </a:lnTo>
                  <a:lnTo>
                    <a:pt x="3245" y="390"/>
                  </a:lnTo>
                  <a:lnTo>
                    <a:pt x="3304" y="390"/>
                  </a:lnTo>
                  <a:lnTo>
                    <a:pt x="3364" y="384"/>
                  </a:lnTo>
                  <a:lnTo>
                    <a:pt x="3423" y="381"/>
                  </a:lnTo>
                  <a:lnTo>
                    <a:pt x="3473" y="376"/>
                  </a:lnTo>
                  <a:lnTo>
                    <a:pt x="3528" y="373"/>
                  </a:lnTo>
                  <a:lnTo>
                    <a:pt x="3583" y="367"/>
                  </a:lnTo>
                  <a:lnTo>
                    <a:pt x="3638" y="364"/>
                  </a:lnTo>
                  <a:lnTo>
                    <a:pt x="3688" y="359"/>
                  </a:lnTo>
                  <a:lnTo>
                    <a:pt x="3743" y="353"/>
                  </a:lnTo>
                  <a:lnTo>
                    <a:pt x="3789" y="347"/>
                  </a:lnTo>
                  <a:lnTo>
                    <a:pt x="3843" y="344"/>
                  </a:lnTo>
                  <a:lnTo>
                    <a:pt x="3889" y="339"/>
                  </a:lnTo>
                  <a:lnTo>
                    <a:pt x="3944" y="333"/>
                  </a:lnTo>
                  <a:lnTo>
                    <a:pt x="3990" y="327"/>
                  </a:lnTo>
                  <a:lnTo>
                    <a:pt x="4040" y="324"/>
                  </a:lnTo>
                  <a:lnTo>
                    <a:pt x="4086" y="316"/>
                  </a:lnTo>
                  <a:lnTo>
                    <a:pt x="4136" y="313"/>
                  </a:lnTo>
                  <a:lnTo>
                    <a:pt x="4182" y="307"/>
                  </a:lnTo>
                  <a:lnTo>
                    <a:pt x="4232" y="302"/>
                  </a:lnTo>
                  <a:lnTo>
                    <a:pt x="4273" y="296"/>
                  </a:lnTo>
                  <a:lnTo>
                    <a:pt x="4319" y="287"/>
                  </a:lnTo>
                  <a:lnTo>
                    <a:pt x="4360" y="285"/>
                  </a:lnTo>
                  <a:lnTo>
                    <a:pt x="4406" y="279"/>
                  </a:lnTo>
                  <a:lnTo>
                    <a:pt x="4447" y="273"/>
                  </a:lnTo>
                  <a:lnTo>
                    <a:pt x="4488" y="265"/>
                  </a:lnTo>
                  <a:lnTo>
                    <a:pt x="4529" y="262"/>
                  </a:lnTo>
                  <a:lnTo>
                    <a:pt x="4570" y="256"/>
                  </a:lnTo>
                  <a:lnTo>
                    <a:pt x="4607" y="250"/>
                  </a:lnTo>
                  <a:lnTo>
                    <a:pt x="4643" y="239"/>
                  </a:lnTo>
                  <a:lnTo>
                    <a:pt x="4680" y="236"/>
                  </a:lnTo>
                  <a:lnTo>
                    <a:pt x="4721" y="231"/>
                  </a:lnTo>
                  <a:lnTo>
                    <a:pt x="4753" y="225"/>
                  </a:lnTo>
                  <a:lnTo>
                    <a:pt x="4789" y="219"/>
                  </a:lnTo>
                  <a:lnTo>
                    <a:pt x="4821" y="213"/>
                  </a:lnTo>
                  <a:lnTo>
                    <a:pt x="4858" y="208"/>
                  </a:lnTo>
                  <a:lnTo>
                    <a:pt x="4890" y="202"/>
                  </a:lnTo>
                  <a:lnTo>
                    <a:pt x="4922" y="196"/>
                  </a:lnTo>
                  <a:lnTo>
                    <a:pt x="4949" y="191"/>
                  </a:lnTo>
                  <a:lnTo>
                    <a:pt x="4981" y="185"/>
                  </a:lnTo>
                  <a:lnTo>
                    <a:pt x="5009" y="179"/>
                  </a:lnTo>
                  <a:lnTo>
                    <a:pt x="5041" y="174"/>
                  </a:lnTo>
                  <a:lnTo>
                    <a:pt x="5064" y="168"/>
                  </a:lnTo>
                  <a:lnTo>
                    <a:pt x="5091" y="165"/>
                  </a:lnTo>
                  <a:lnTo>
                    <a:pt x="5119" y="159"/>
                  </a:lnTo>
                  <a:lnTo>
                    <a:pt x="5141" y="154"/>
                  </a:lnTo>
                  <a:lnTo>
                    <a:pt x="5164" y="151"/>
                  </a:lnTo>
                  <a:lnTo>
                    <a:pt x="5187" y="148"/>
                  </a:lnTo>
                  <a:lnTo>
                    <a:pt x="5205" y="142"/>
                  </a:lnTo>
                  <a:lnTo>
                    <a:pt x="5228" y="139"/>
                  </a:lnTo>
                  <a:lnTo>
                    <a:pt x="5247" y="137"/>
                  </a:lnTo>
                  <a:lnTo>
                    <a:pt x="5265" y="131"/>
                  </a:lnTo>
                  <a:lnTo>
                    <a:pt x="5283" y="128"/>
                  </a:lnTo>
                  <a:lnTo>
                    <a:pt x="5297" y="122"/>
                  </a:lnTo>
                  <a:lnTo>
                    <a:pt x="5315" y="119"/>
                  </a:lnTo>
                  <a:lnTo>
                    <a:pt x="5329" y="117"/>
                  </a:lnTo>
                  <a:lnTo>
                    <a:pt x="5338" y="114"/>
                  </a:lnTo>
                  <a:lnTo>
                    <a:pt x="5352" y="111"/>
                  </a:lnTo>
                  <a:lnTo>
                    <a:pt x="5365" y="111"/>
                  </a:lnTo>
                  <a:lnTo>
                    <a:pt x="5374" y="108"/>
                  </a:lnTo>
                  <a:lnTo>
                    <a:pt x="5388" y="102"/>
                  </a:lnTo>
                  <a:lnTo>
                    <a:pt x="5402" y="102"/>
                  </a:lnTo>
                  <a:lnTo>
                    <a:pt x="5411" y="100"/>
                  </a:lnTo>
                  <a:lnTo>
                    <a:pt x="5265" y="0"/>
                  </a:lnTo>
                  <a:lnTo>
                    <a:pt x="5260" y="0"/>
                  </a:lnTo>
                  <a:lnTo>
                    <a:pt x="5251" y="3"/>
                  </a:lnTo>
                  <a:lnTo>
                    <a:pt x="5242" y="3"/>
                  </a:lnTo>
                  <a:lnTo>
                    <a:pt x="5233" y="3"/>
                  </a:lnTo>
                  <a:lnTo>
                    <a:pt x="5219" y="3"/>
                  </a:lnTo>
                  <a:lnTo>
                    <a:pt x="5210" y="8"/>
                  </a:lnTo>
                  <a:lnTo>
                    <a:pt x="5196" y="11"/>
                  </a:lnTo>
                  <a:lnTo>
                    <a:pt x="5178" y="14"/>
                  </a:lnTo>
                  <a:lnTo>
                    <a:pt x="5160" y="17"/>
                  </a:lnTo>
                  <a:lnTo>
                    <a:pt x="5141" y="20"/>
                  </a:lnTo>
                  <a:lnTo>
                    <a:pt x="5119" y="23"/>
                  </a:lnTo>
                  <a:lnTo>
                    <a:pt x="5100" y="25"/>
                  </a:lnTo>
                  <a:lnTo>
                    <a:pt x="5077" y="31"/>
                  </a:lnTo>
                  <a:lnTo>
                    <a:pt x="5055" y="37"/>
                  </a:lnTo>
                  <a:lnTo>
                    <a:pt x="5023" y="40"/>
                  </a:lnTo>
                  <a:lnTo>
                    <a:pt x="5000" y="43"/>
                  </a:lnTo>
                  <a:lnTo>
                    <a:pt x="4968" y="48"/>
                  </a:lnTo>
                  <a:lnTo>
                    <a:pt x="4940" y="51"/>
                  </a:lnTo>
                  <a:lnTo>
                    <a:pt x="4904" y="57"/>
                  </a:lnTo>
                  <a:lnTo>
                    <a:pt x="4872" y="60"/>
                  </a:lnTo>
                  <a:lnTo>
                    <a:pt x="4840" y="68"/>
                  </a:lnTo>
                  <a:lnTo>
                    <a:pt x="4808" y="71"/>
                  </a:lnTo>
                  <a:lnTo>
                    <a:pt x="4767" y="77"/>
                  </a:lnTo>
                  <a:lnTo>
                    <a:pt x="4730" y="82"/>
                  </a:lnTo>
                  <a:lnTo>
                    <a:pt x="4694" y="88"/>
                  </a:lnTo>
                  <a:lnTo>
                    <a:pt x="4652" y="91"/>
                  </a:lnTo>
                  <a:lnTo>
                    <a:pt x="4611" y="97"/>
                  </a:lnTo>
                  <a:lnTo>
                    <a:pt x="4570" y="102"/>
                  </a:lnTo>
                  <a:lnTo>
                    <a:pt x="4524" y="111"/>
                  </a:lnTo>
                  <a:lnTo>
                    <a:pt x="4488" y="117"/>
                  </a:lnTo>
                  <a:lnTo>
                    <a:pt x="4438" y="122"/>
                  </a:lnTo>
                  <a:lnTo>
                    <a:pt x="4392" y="128"/>
                  </a:lnTo>
                  <a:lnTo>
                    <a:pt x="4342" y="134"/>
                  </a:lnTo>
                  <a:lnTo>
                    <a:pt x="4296" y="139"/>
                  </a:lnTo>
                  <a:lnTo>
                    <a:pt x="4246" y="142"/>
                  </a:lnTo>
                  <a:lnTo>
                    <a:pt x="4200" y="151"/>
                  </a:lnTo>
                  <a:lnTo>
                    <a:pt x="4145" y="154"/>
                  </a:lnTo>
                  <a:lnTo>
                    <a:pt x="4095" y="162"/>
                  </a:lnTo>
                  <a:lnTo>
                    <a:pt x="4040" y="165"/>
                  </a:lnTo>
                  <a:lnTo>
                    <a:pt x="3990" y="174"/>
                  </a:lnTo>
                  <a:lnTo>
                    <a:pt x="3935" y="176"/>
                  </a:lnTo>
                  <a:lnTo>
                    <a:pt x="3885" y="185"/>
                  </a:lnTo>
                  <a:lnTo>
                    <a:pt x="3830" y="185"/>
                  </a:lnTo>
                  <a:lnTo>
                    <a:pt x="3770" y="193"/>
                  </a:lnTo>
                  <a:lnTo>
                    <a:pt x="3716" y="199"/>
                  </a:lnTo>
                  <a:lnTo>
                    <a:pt x="3661" y="205"/>
                  </a:lnTo>
                  <a:lnTo>
                    <a:pt x="3597" y="208"/>
                  </a:lnTo>
                  <a:lnTo>
                    <a:pt x="3542" y="213"/>
                  </a:lnTo>
                  <a:lnTo>
                    <a:pt x="3482" y="219"/>
                  </a:lnTo>
                  <a:lnTo>
                    <a:pt x="3423" y="225"/>
                  </a:lnTo>
                  <a:lnTo>
                    <a:pt x="3364" y="228"/>
                  </a:lnTo>
                  <a:lnTo>
                    <a:pt x="3304" y="231"/>
                  </a:lnTo>
                  <a:lnTo>
                    <a:pt x="3245" y="236"/>
                  </a:lnTo>
                  <a:lnTo>
                    <a:pt x="3181" y="239"/>
                  </a:lnTo>
                  <a:lnTo>
                    <a:pt x="3121" y="242"/>
                  </a:lnTo>
                  <a:lnTo>
                    <a:pt x="3057" y="248"/>
                  </a:lnTo>
                  <a:lnTo>
                    <a:pt x="2998" y="250"/>
                  </a:lnTo>
                  <a:lnTo>
                    <a:pt x="2934" y="253"/>
                  </a:lnTo>
                  <a:lnTo>
                    <a:pt x="2875" y="256"/>
                  </a:lnTo>
                  <a:lnTo>
                    <a:pt x="2806" y="259"/>
                  </a:lnTo>
                  <a:lnTo>
                    <a:pt x="2747" y="262"/>
                  </a:lnTo>
                  <a:lnTo>
                    <a:pt x="2683" y="265"/>
                  </a:lnTo>
                  <a:lnTo>
                    <a:pt x="2619" y="265"/>
                  </a:lnTo>
                  <a:lnTo>
                    <a:pt x="2555" y="268"/>
                  </a:lnTo>
                  <a:lnTo>
                    <a:pt x="2495" y="268"/>
                  </a:lnTo>
                  <a:lnTo>
                    <a:pt x="2431" y="270"/>
                  </a:lnTo>
                  <a:lnTo>
                    <a:pt x="2367" y="270"/>
                  </a:lnTo>
                  <a:lnTo>
                    <a:pt x="2308" y="270"/>
                  </a:lnTo>
                  <a:lnTo>
                    <a:pt x="2244" y="270"/>
                  </a:lnTo>
                  <a:lnTo>
                    <a:pt x="2185" y="270"/>
                  </a:lnTo>
                  <a:lnTo>
                    <a:pt x="2125" y="270"/>
                  </a:lnTo>
                  <a:lnTo>
                    <a:pt x="2070" y="268"/>
                  </a:lnTo>
                  <a:lnTo>
                    <a:pt x="2011" y="268"/>
                  </a:lnTo>
                  <a:lnTo>
                    <a:pt x="1951" y="268"/>
                  </a:lnTo>
                  <a:lnTo>
                    <a:pt x="1897" y="265"/>
                  </a:lnTo>
                  <a:lnTo>
                    <a:pt x="1842" y="265"/>
                  </a:lnTo>
                  <a:lnTo>
                    <a:pt x="1787" y="262"/>
                  </a:lnTo>
                  <a:lnTo>
                    <a:pt x="1732" y="262"/>
                  </a:lnTo>
                  <a:lnTo>
                    <a:pt x="1673" y="262"/>
                  </a:lnTo>
                  <a:lnTo>
                    <a:pt x="1622" y="259"/>
                  </a:lnTo>
                  <a:lnTo>
                    <a:pt x="1568" y="256"/>
                  </a:lnTo>
                  <a:lnTo>
                    <a:pt x="1517" y="253"/>
                  </a:lnTo>
                  <a:lnTo>
                    <a:pt x="1467" y="250"/>
                  </a:lnTo>
                  <a:lnTo>
                    <a:pt x="1417" y="250"/>
                  </a:lnTo>
                  <a:lnTo>
                    <a:pt x="1362" y="248"/>
                  </a:lnTo>
                  <a:lnTo>
                    <a:pt x="1321" y="245"/>
                  </a:lnTo>
                  <a:lnTo>
                    <a:pt x="1270" y="239"/>
                  </a:lnTo>
                  <a:lnTo>
                    <a:pt x="1220" y="239"/>
                  </a:lnTo>
                  <a:lnTo>
                    <a:pt x="1175" y="236"/>
                  </a:lnTo>
                  <a:lnTo>
                    <a:pt x="1129" y="233"/>
                  </a:lnTo>
                  <a:lnTo>
                    <a:pt x="1088" y="231"/>
                  </a:lnTo>
                  <a:lnTo>
                    <a:pt x="1042" y="228"/>
                  </a:lnTo>
                  <a:lnTo>
                    <a:pt x="1001" y="225"/>
                  </a:lnTo>
                  <a:lnTo>
                    <a:pt x="964" y="219"/>
                  </a:lnTo>
                  <a:lnTo>
                    <a:pt x="919" y="216"/>
                  </a:lnTo>
                  <a:lnTo>
                    <a:pt x="877" y="213"/>
                  </a:lnTo>
                  <a:lnTo>
                    <a:pt x="841" y="208"/>
                  </a:lnTo>
                  <a:lnTo>
                    <a:pt x="804" y="208"/>
                  </a:lnTo>
                  <a:lnTo>
                    <a:pt x="759" y="202"/>
                  </a:lnTo>
                  <a:lnTo>
                    <a:pt x="731" y="199"/>
                  </a:lnTo>
                  <a:lnTo>
                    <a:pt x="695" y="196"/>
                  </a:lnTo>
                  <a:lnTo>
                    <a:pt x="663" y="193"/>
                  </a:lnTo>
                  <a:lnTo>
                    <a:pt x="631" y="188"/>
                  </a:lnTo>
                  <a:lnTo>
                    <a:pt x="599" y="185"/>
                  </a:lnTo>
                  <a:lnTo>
                    <a:pt x="567" y="182"/>
                  </a:lnTo>
                  <a:lnTo>
                    <a:pt x="539" y="179"/>
                  </a:lnTo>
                  <a:lnTo>
                    <a:pt x="507" y="174"/>
                  </a:lnTo>
                  <a:lnTo>
                    <a:pt x="484" y="174"/>
                  </a:lnTo>
                  <a:lnTo>
                    <a:pt x="457" y="168"/>
                  </a:lnTo>
                  <a:lnTo>
                    <a:pt x="434" y="165"/>
                  </a:lnTo>
                  <a:lnTo>
                    <a:pt x="411" y="162"/>
                  </a:lnTo>
                  <a:lnTo>
                    <a:pt x="384" y="159"/>
                  </a:lnTo>
                  <a:lnTo>
                    <a:pt x="361" y="156"/>
                  </a:lnTo>
                  <a:lnTo>
                    <a:pt x="343" y="154"/>
                  </a:lnTo>
                  <a:lnTo>
                    <a:pt x="329" y="151"/>
                  </a:lnTo>
                  <a:lnTo>
                    <a:pt x="311" y="148"/>
                  </a:lnTo>
                  <a:lnTo>
                    <a:pt x="292" y="145"/>
                  </a:lnTo>
                  <a:lnTo>
                    <a:pt x="283" y="142"/>
                  </a:lnTo>
                  <a:lnTo>
                    <a:pt x="270" y="139"/>
                  </a:lnTo>
                  <a:lnTo>
                    <a:pt x="256" y="139"/>
                  </a:lnTo>
                  <a:lnTo>
                    <a:pt x="242" y="137"/>
                  </a:lnTo>
                  <a:lnTo>
                    <a:pt x="238" y="137"/>
                  </a:lnTo>
                  <a:lnTo>
                    <a:pt x="224" y="134"/>
                  </a:lnTo>
                  <a:lnTo>
                    <a:pt x="215" y="134"/>
                  </a:lnTo>
                  <a:lnTo>
                    <a:pt x="201" y="128"/>
                  </a:lnTo>
                  <a:lnTo>
                    <a:pt x="187" y="128"/>
                  </a:lnTo>
                  <a:lnTo>
                    <a:pt x="169" y="131"/>
                  </a:lnTo>
                  <a:lnTo>
                    <a:pt x="155" y="134"/>
                  </a:lnTo>
                  <a:lnTo>
                    <a:pt x="133" y="137"/>
                  </a:lnTo>
                  <a:lnTo>
                    <a:pt x="114" y="142"/>
                  </a:lnTo>
                  <a:lnTo>
                    <a:pt x="96" y="151"/>
                  </a:lnTo>
                  <a:lnTo>
                    <a:pt x="78" y="159"/>
                  </a:lnTo>
                  <a:lnTo>
                    <a:pt x="59" y="165"/>
                  </a:lnTo>
                  <a:lnTo>
                    <a:pt x="41" y="174"/>
                  </a:lnTo>
                  <a:lnTo>
                    <a:pt x="23" y="179"/>
                  </a:lnTo>
                  <a:lnTo>
                    <a:pt x="14" y="185"/>
                  </a:lnTo>
                  <a:lnTo>
                    <a:pt x="0" y="191"/>
                  </a:lnTo>
                  <a:lnTo>
                    <a:pt x="0" y="196"/>
                  </a:lnTo>
                  <a:lnTo>
                    <a:pt x="0" y="19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15" name="Freeform 7"/>
            <p:cNvSpPr>
              <a:spLocks/>
            </p:cNvSpPr>
            <p:nvPr>
              <p:custDataLst>
                <p:tags r:id="rId214"/>
              </p:custDataLst>
            </p:nvPr>
          </p:nvSpPr>
          <p:spPr bwMode="gray">
            <a:xfrm>
              <a:off x="932" y="1412"/>
              <a:ext cx="3823" cy="1413"/>
            </a:xfrm>
            <a:custGeom>
              <a:avLst/>
              <a:gdLst>
                <a:gd name="T0" fmla="*/ 223 w 3730"/>
                <a:gd name="T1" fmla="*/ 12 h 1546"/>
                <a:gd name="T2" fmla="*/ 202 w 3730"/>
                <a:gd name="T3" fmla="*/ 22 h 1546"/>
                <a:gd name="T4" fmla="*/ 181 w 3730"/>
                <a:gd name="T5" fmla="*/ 34 h 1546"/>
                <a:gd name="T6" fmla="*/ 145 w 3730"/>
                <a:gd name="T7" fmla="*/ 48 h 1546"/>
                <a:gd name="T8" fmla="*/ 116 w 3730"/>
                <a:gd name="T9" fmla="*/ 65 h 1546"/>
                <a:gd name="T10" fmla="*/ 75 w 3730"/>
                <a:gd name="T11" fmla="*/ 83 h 1546"/>
                <a:gd name="T12" fmla="*/ 54 w 3730"/>
                <a:gd name="T13" fmla="*/ 98 h 1546"/>
                <a:gd name="T14" fmla="*/ 14 w 3730"/>
                <a:gd name="T15" fmla="*/ 112 h 1546"/>
                <a:gd name="T16" fmla="*/ 5 w 3730"/>
                <a:gd name="T17" fmla="*/ 123 h 1546"/>
                <a:gd name="T18" fmla="*/ 0 w 3730"/>
                <a:gd name="T19" fmla="*/ 131 h 1546"/>
                <a:gd name="T20" fmla="*/ 5 w 3730"/>
                <a:gd name="T21" fmla="*/ 132 h 1546"/>
                <a:gd name="T22" fmla="*/ 123 w 3730"/>
                <a:gd name="T23" fmla="*/ 133 h 1546"/>
                <a:gd name="T24" fmla="*/ 271 w 3730"/>
                <a:gd name="T25" fmla="*/ 134 h 1546"/>
                <a:gd name="T26" fmla="*/ 461 w 3730"/>
                <a:gd name="T27" fmla="*/ 137 h 1546"/>
                <a:gd name="T28" fmla="*/ 696 w 3730"/>
                <a:gd name="T29" fmla="*/ 138 h 1546"/>
                <a:gd name="T30" fmla="*/ 963 w 3730"/>
                <a:gd name="T31" fmla="*/ 140 h 1546"/>
                <a:gd name="T32" fmla="*/ 1252 w 3730"/>
                <a:gd name="T33" fmla="*/ 142 h 1546"/>
                <a:gd name="T34" fmla="*/ 1571 w 3730"/>
                <a:gd name="T35" fmla="*/ 144 h 1546"/>
                <a:gd name="T36" fmla="*/ 1893 w 3730"/>
                <a:gd name="T37" fmla="*/ 144 h 1546"/>
                <a:gd name="T38" fmla="*/ 2211 w 3730"/>
                <a:gd name="T39" fmla="*/ 146 h 1546"/>
                <a:gd name="T40" fmla="*/ 2537 w 3730"/>
                <a:gd name="T41" fmla="*/ 148 h 1546"/>
                <a:gd name="T42" fmla="*/ 2881 w 3730"/>
                <a:gd name="T43" fmla="*/ 150 h 1546"/>
                <a:gd name="T44" fmla="*/ 3238 w 3730"/>
                <a:gd name="T45" fmla="*/ 150 h 1546"/>
                <a:gd name="T46" fmla="*/ 3611 w 3730"/>
                <a:gd name="T47" fmla="*/ 150 h 1546"/>
                <a:gd name="T48" fmla="*/ 3984 w 3730"/>
                <a:gd name="T49" fmla="*/ 149 h 1546"/>
                <a:gd name="T50" fmla="*/ 4362 w 3730"/>
                <a:gd name="T51" fmla="*/ 148 h 1546"/>
                <a:gd name="T52" fmla="*/ 4708 w 3730"/>
                <a:gd name="T53" fmla="*/ 147 h 1546"/>
                <a:gd name="T54" fmla="*/ 5047 w 3730"/>
                <a:gd name="T55" fmla="*/ 145 h 1546"/>
                <a:gd name="T56" fmla="*/ 5353 w 3730"/>
                <a:gd name="T57" fmla="*/ 144 h 1546"/>
                <a:gd name="T58" fmla="*/ 5623 w 3730"/>
                <a:gd name="T59" fmla="*/ 144 h 1546"/>
                <a:gd name="T60" fmla="*/ 5847 w 3730"/>
                <a:gd name="T61" fmla="*/ 143 h 1546"/>
                <a:gd name="T62" fmla="*/ 6025 w 3730"/>
                <a:gd name="T63" fmla="*/ 142 h 1546"/>
                <a:gd name="T64" fmla="*/ 6201 w 3730"/>
                <a:gd name="T65" fmla="*/ 140 h 1546"/>
                <a:gd name="T66" fmla="*/ 6364 w 3730"/>
                <a:gd name="T67" fmla="*/ 139 h 1546"/>
                <a:gd name="T68" fmla="*/ 6505 w 3730"/>
                <a:gd name="T69" fmla="*/ 138 h 1546"/>
                <a:gd name="T70" fmla="*/ 6640 w 3730"/>
                <a:gd name="T71" fmla="*/ 137 h 1546"/>
                <a:gd name="T72" fmla="*/ 6797 w 3730"/>
                <a:gd name="T73" fmla="*/ 134 h 1546"/>
                <a:gd name="T74" fmla="*/ 6978 w 3730"/>
                <a:gd name="T75" fmla="*/ 133 h 1546"/>
                <a:gd name="T76" fmla="*/ 7077 w 3730"/>
                <a:gd name="T77" fmla="*/ 132 h 1546"/>
                <a:gd name="T78" fmla="*/ 6496 w 3730"/>
                <a:gd name="T79" fmla="*/ 123 h 1546"/>
                <a:gd name="T80" fmla="*/ 6372 w 3730"/>
                <a:gd name="T81" fmla="*/ 124 h 1546"/>
                <a:gd name="T82" fmla="*/ 6209 w 3730"/>
                <a:gd name="T83" fmla="*/ 126 h 1546"/>
                <a:gd name="T84" fmla="*/ 6000 w 3730"/>
                <a:gd name="T85" fmla="*/ 126 h 1546"/>
                <a:gd name="T86" fmla="*/ 5736 w 3730"/>
                <a:gd name="T87" fmla="*/ 128 h 1546"/>
                <a:gd name="T88" fmla="*/ 5451 w 3730"/>
                <a:gd name="T89" fmla="*/ 130 h 1546"/>
                <a:gd name="T90" fmla="*/ 5131 w 3730"/>
                <a:gd name="T91" fmla="*/ 131 h 1546"/>
                <a:gd name="T92" fmla="*/ 4799 w 3730"/>
                <a:gd name="T93" fmla="*/ 132 h 1546"/>
                <a:gd name="T94" fmla="*/ 4451 w 3730"/>
                <a:gd name="T95" fmla="*/ 133 h 1546"/>
                <a:gd name="T96" fmla="*/ 4086 w 3730"/>
                <a:gd name="T97" fmla="*/ 134 h 1546"/>
                <a:gd name="T98" fmla="*/ 3726 w 3730"/>
                <a:gd name="T99" fmla="*/ 134 h 1546"/>
                <a:gd name="T100" fmla="*/ 3328 w 3730"/>
                <a:gd name="T101" fmla="*/ 134 h 1546"/>
                <a:gd name="T102" fmla="*/ 2911 w 3730"/>
                <a:gd name="T103" fmla="*/ 133 h 1546"/>
                <a:gd name="T104" fmla="*/ 2482 w 3730"/>
                <a:gd name="T105" fmla="*/ 132 h 1546"/>
                <a:gd name="T106" fmla="*/ 2061 w 3730"/>
                <a:gd name="T107" fmla="*/ 132 h 1546"/>
                <a:gd name="T108" fmla="*/ 1667 w 3730"/>
                <a:gd name="T109" fmla="*/ 130 h 1546"/>
                <a:gd name="T110" fmla="*/ 1301 w 3730"/>
                <a:gd name="T111" fmla="*/ 128 h 1546"/>
                <a:gd name="T112" fmla="*/ 987 w 3730"/>
                <a:gd name="T113" fmla="*/ 126 h 1546"/>
                <a:gd name="T114" fmla="*/ 747 w 3730"/>
                <a:gd name="T115" fmla="*/ 125 h 1546"/>
                <a:gd name="T116" fmla="*/ 584 w 3730"/>
                <a:gd name="T117" fmla="*/ 123 h 1546"/>
                <a:gd name="T118" fmla="*/ 589 w 3730"/>
                <a:gd name="T119" fmla="*/ 9 h 154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30"/>
                <a:gd name="T181" fmla="*/ 0 h 1546"/>
                <a:gd name="T182" fmla="*/ 3730 w 3730"/>
                <a:gd name="T183" fmla="*/ 1546 h 154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30" h="1546">
                  <a:moveTo>
                    <a:pt x="133" y="85"/>
                  </a:moveTo>
                  <a:lnTo>
                    <a:pt x="133" y="88"/>
                  </a:lnTo>
                  <a:lnTo>
                    <a:pt x="128" y="94"/>
                  </a:lnTo>
                  <a:lnTo>
                    <a:pt x="124" y="102"/>
                  </a:lnTo>
                  <a:lnTo>
                    <a:pt x="124" y="114"/>
                  </a:lnTo>
                  <a:lnTo>
                    <a:pt x="119" y="122"/>
                  </a:lnTo>
                  <a:lnTo>
                    <a:pt x="119" y="136"/>
                  </a:lnTo>
                  <a:lnTo>
                    <a:pt x="119" y="151"/>
                  </a:lnTo>
                  <a:lnTo>
                    <a:pt x="119" y="168"/>
                  </a:lnTo>
                  <a:lnTo>
                    <a:pt x="115" y="182"/>
                  </a:lnTo>
                  <a:lnTo>
                    <a:pt x="110" y="199"/>
                  </a:lnTo>
                  <a:lnTo>
                    <a:pt x="106" y="219"/>
                  </a:lnTo>
                  <a:lnTo>
                    <a:pt x="106" y="239"/>
                  </a:lnTo>
                  <a:lnTo>
                    <a:pt x="106" y="259"/>
                  </a:lnTo>
                  <a:lnTo>
                    <a:pt x="101" y="282"/>
                  </a:lnTo>
                  <a:lnTo>
                    <a:pt x="96" y="304"/>
                  </a:lnTo>
                  <a:lnTo>
                    <a:pt x="96" y="327"/>
                  </a:lnTo>
                  <a:lnTo>
                    <a:pt x="96" y="353"/>
                  </a:lnTo>
                  <a:lnTo>
                    <a:pt x="92" y="376"/>
                  </a:lnTo>
                  <a:lnTo>
                    <a:pt x="87" y="401"/>
                  </a:lnTo>
                  <a:lnTo>
                    <a:pt x="87" y="427"/>
                  </a:lnTo>
                  <a:lnTo>
                    <a:pt x="87" y="453"/>
                  </a:lnTo>
                  <a:lnTo>
                    <a:pt x="83" y="481"/>
                  </a:lnTo>
                  <a:lnTo>
                    <a:pt x="78" y="509"/>
                  </a:lnTo>
                  <a:lnTo>
                    <a:pt x="74" y="535"/>
                  </a:lnTo>
                  <a:lnTo>
                    <a:pt x="74" y="564"/>
                  </a:lnTo>
                  <a:lnTo>
                    <a:pt x="74" y="592"/>
                  </a:lnTo>
                  <a:lnTo>
                    <a:pt x="69" y="621"/>
                  </a:lnTo>
                  <a:lnTo>
                    <a:pt x="64" y="649"/>
                  </a:lnTo>
                  <a:lnTo>
                    <a:pt x="60" y="680"/>
                  </a:lnTo>
                  <a:lnTo>
                    <a:pt x="60" y="709"/>
                  </a:lnTo>
                  <a:lnTo>
                    <a:pt x="55" y="737"/>
                  </a:lnTo>
                  <a:lnTo>
                    <a:pt x="55" y="766"/>
                  </a:lnTo>
                  <a:lnTo>
                    <a:pt x="51" y="797"/>
                  </a:lnTo>
                  <a:lnTo>
                    <a:pt x="51" y="826"/>
                  </a:lnTo>
                  <a:lnTo>
                    <a:pt x="42" y="854"/>
                  </a:lnTo>
                  <a:lnTo>
                    <a:pt x="42" y="883"/>
                  </a:lnTo>
                  <a:lnTo>
                    <a:pt x="37" y="911"/>
                  </a:lnTo>
                  <a:lnTo>
                    <a:pt x="37" y="939"/>
                  </a:lnTo>
                  <a:lnTo>
                    <a:pt x="37" y="968"/>
                  </a:lnTo>
                  <a:lnTo>
                    <a:pt x="37" y="994"/>
                  </a:lnTo>
                  <a:lnTo>
                    <a:pt x="28" y="1019"/>
                  </a:lnTo>
                  <a:lnTo>
                    <a:pt x="28" y="1045"/>
                  </a:lnTo>
                  <a:lnTo>
                    <a:pt x="19" y="1073"/>
                  </a:lnTo>
                  <a:lnTo>
                    <a:pt x="19" y="1099"/>
                  </a:lnTo>
                  <a:lnTo>
                    <a:pt x="19" y="1122"/>
                  </a:lnTo>
                  <a:lnTo>
                    <a:pt x="19" y="1142"/>
                  </a:lnTo>
                  <a:lnTo>
                    <a:pt x="14" y="1167"/>
                  </a:lnTo>
                  <a:lnTo>
                    <a:pt x="14" y="1190"/>
                  </a:lnTo>
                  <a:lnTo>
                    <a:pt x="10" y="1210"/>
                  </a:lnTo>
                  <a:lnTo>
                    <a:pt x="10" y="1227"/>
                  </a:lnTo>
                  <a:lnTo>
                    <a:pt x="10" y="1247"/>
                  </a:lnTo>
                  <a:lnTo>
                    <a:pt x="5" y="1267"/>
                  </a:lnTo>
                  <a:lnTo>
                    <a:pt x="5" y="1281"/>
                  </a:lnTo>
                  <a:lnTo>
                    <a:pt x="0" y="1298"/>
                  </a:lnTo>
                  <a:lnTo>
                    <a:pt x="0" y="1312"/>
                  </a:lnTo>
                  <a:lnTo>
                    <a:pt x="0" y="1327"/>
                  </a:lnTo>
                  <a:lnTo>
                    <a:pt x="0" y="1338"/>
                  </a:lnTo>
                  <a:lnTo>
                    <a:pt x="0" y="1347"/>
                  </a:lnTo>
                  <a:lnTo>
                    <a:pt x="0" y="1355"/>
                  </a:lnTo>
                  <a:lnTo>
                    <a:pt x="0" y="1364"/>
                  </a:lnTo>
                  <a:lnTo>
                    <a:pt x="0" y="1372"/>
                  </a:lnTo>
                  <a:lnTo>
                    <a:pt x="0" y="1375"/>
                  </a:lnTo>
                  <a:lnTo>
                    <a:pt x="0" y="1378"/>
                  </a:lnTo>
                  <a:lnTo>
                    <a:pt x="5" y="1378"/>
                  </a:lnTo>
                  <a:lnTo>
                    <a:pt x="14" y="1378"/>
                  </a:lnTo>
                  <a:lnTo>
                    <a:pt x="28" y="1381"/>
                  </a:lnTo>
                  <a:lnTo>
                    <a:pt x="37" y="1381"/>
                  </a:lnTo>
                  <a:lnTo>
                    <a:pt x="42" y="1387"/>
                  </a:lnTo>
                  <a:lnTo>
                    <a:pt x="55" y="1387"/>
                  </a:lnTo>
                  <a:lnTo>
                    <a:pt x="64" y="1387"/>
                  </a:lnTo>
                  <a:lnTo>
                    <a:pt x="74" y="1387"/>
                  </a:lnTo>
                  <a:lnTo>
                    <a:pt x="87" y="1389"/>
                  </a:lnTo>
                  <a:lnTo>
                    <a:pt x="96" y="1392"/>
                  </a:lnTo>
                  <a:lnTo>
                    <a:pt x="115" y="1395"/>
                  </a:lnTo>
                  <a:lnTo>
                    <a:pt x="124" y="1398"/>
                  </a:lnTo>
                  <a:lnTo>
                    <a:pt x="142" y="1398"/>
                  </a:lnTo>
                  <a:lnTo>
                    <a:pt x="156" y="1398"/>
                  </a:lnTo>
                  <a:lnTo>
                    <a:pt x="174" y="1404"/>
                  </a:lnTo>
                  <a:lnTo>
                    <a:pt x="188" y="1406"/>
                  </a:lnTo>
                  <a:lnTo>
                    <a:pt x="206" y="1409"/>
                  </a:lnTo>
                  <a:lnTo>
                    <a:pt x="224" y="1409"/>
                  </a:lnTo>
                  <a:lnTo>
                    <a:pt x="243" y="1412"/>
                  </a:lnTo>
                  <a:lnTo>
                    <a:pt x="261" y="1415"/>
                  </a:lnTo>
                  <a:lnTo>
                    <a:pt x="279" y="1418"/>
                  </a:lnTo>
                  <a:lnTo>
                    <a:pt x="302" y="1421"/>
                  </a:lnTo>
                  <a:lnTo>
                    <a:pt x="325" y="1424"/>
                  </a:lnTo>
                  <a:lnTo>
                    <a:pt x="343" y="1426"/>
                  </a:lnTo>
                  <a:lnTo>
                    <a:pt x="366" y="1429"/>
                  </a:lnTo>
                  <a:lnTo>
                    <a:pt x="389" y="1432"/>
                  </a:lnTo>
                  <a:lnTo>
                    <a:pt x="416" y="1435"/>
                  </a:lnTo>
                  <a:lnTo>
                    <a:pt x="435" y="1441"/>
                  </a:lnTo>
                  <a:lnTo>
                    <a:pt x="457" y="1443"/>
                  </a:lnTo>
                  <a:lnTo>
                    <a:pt x="485" y="1443"/>
                  </a:lnTo>
                  <a:lnTo>
                    <a:pt x="508" y="1449"/>
                  </a:lnTo>
                  <a:lnTo>
                    <a:pt x="531" y="1452"/>
                  </a:lnTo>
                  <a:lnTo>
                    <a:pt x="558" y="1455"/>
                  </a:lnTo>
                  <a:lnTo>
                    <a:pt x="581" y="1458"/>
                  </a:lnTo>
                  <a:lnTo>
                    <a:pt x="608" y="1463"/>
                  </a:lnTo>
                  <a:lnTo>
                    <a:pt x="636" y="1463"/>
                  </a:lnTo>
                  <a:lnTo>
                    <a:pt x="659" y="1466"/>
                  </a:lnTo>
                  <a:lnTo>
                    <a:pt x="686" y="1469"/>
                  </a:lnTo>
                  <a:lnTo>
                    <a:pt x="713" y="1475"/>
                  </a:lnTo>
                  <a:lnTo>
                    <a:pt x="741" y="1478"/>
                  </a:lnTo>
                  <a:lnTo>
                    <a:pt x="768" y="1481"/>
                  </a:lnTo>
                  <a:lnTo>
                    <a:pt x="800" y="1486"/>
                  </a:lnTo>
                  <a:lnTo>
                    <a:pt x="828" y="1486"/>
                  </a:lnTo>
                  <a:lnTo>
                    <a:pt x="855" y="1489"/>
                  </a:lnTo>
                  <a:lnTo>
                    <a:pt x="882" y="1492"/>
                  </a:lnTo>
                  <a:lnTo>
                    <a:pt x="910" y="1495"/>
                  </a:lnTo>
                  <a:lnTo>
                    <a:pt x="937" y="1498"/>
                  </a:lnTo>
                  <a:lnTo>
                    <a:pt x="965" y="1500"/>
                  </a:lnTo>
                  <a:lnTo>
                    <a:pt x="997" y="1506"/>
                  </a:lnTo>
                  <a:lnTo>
                    <a:pt x="1020" y="1506"/>
                  </a:lnTo>
                  <a:lnTo>
                    <a:pt x="1052" y="1512"/>
                  </a:lnTo>
                  <a:lnTo>
                    <a:pt x="1079" y="1512"/>
                  </a:lnTo>
                  <a:lnTo>
                    <a:pt x="1106" y="1515"/>
                  </a:lnTo>
                  <a:lnTo>
                    <a:pt x="1138" y="1518"/>
                  </a:lnTo>
                  <a:lnTo>
                    <a:pt x="1166" y="1520"/>
                  </a:lnTo>
                  <a:lnTo>
                    <a:pt x="1193" y="1523"/>
                  </a:lnTo>
                  <a:lnTo>
                    <a:pt x="1225" y="1526"/>
                  </a:lnTo>
                  <a:lnTo>
                    <a:pt x="1253" y="1529"/>
                  </a:lnTo>
                  <a:lnTo>
                    <a:pt x="1285" y="1532"/>
                  </a:lnTo>
                  <a:lnTo>
                    <a:pt x="1308" y="1535"/>
                  </a:lnTo>
                  <a:lnTo>
                    <a:pt x="1335" y="1535"/>
                  </a:lnTo>
                  <a:lnTo>
                    <a:pt x="1362" y="1535"/>
                  </a:lnTo>
                  <a:lnTo>
                    <a:pt x="1394" y="1537"/>
                  </a:lnTo>
                  <a:lnTo>
                    <a:pt x="1422" y="1537"/>
                  </a:lnTo>
                  <a:lnTo>
                    <a:pt x="1454" y="1540"/>
                  </a:lnTo>
                  <a:lnTo>
                    <a:pt x="1486" y="1540"/>
                  </a:lnTo>
                  <a:lnTo>
                    <a:pt x="1518" y="1543"/>
                  </a:lnTo>
                  <a:lnTo>
                    <a:pt x="1545" y="1543"/>
                  </a:lnTo>
                  <a:lnTo>
                    <a:pt x="1577" y="1546"/>
                  </a:lnTo>
                  <a:lnTo>
                    <a:pt x="1609" y="1546"/>
                  </a:lnTo>
                  <a:lnTo>
                    <a:pt x="1641" y="1546"/>
                  </a:lnTo>
                  <a:lnTo>
                    <a:pt x="1673" y="1546"/>
                  </a:lnTo>
                  <a:lnTo>
                    <a:pt x="1705" y="1546"/>
                  </a:lnTo>
                  <a:lnTo>
                    <a:pt x="1742" y="1546"/>
                  </a:lnTo>
                  <a:lnTo>
                    <a:pt x="1774" y="1546"/>
                  </a:lnTo>
                  <a:lnTo>
                    <a:pt x="1806" y="1546"/>
                  </a:lnTo>
                  <a:lnTo>
                    <a:pt x="1838" y="1546"/>
                  </a:lnTo>
                  <a:lnTo>
                    <a:pt x="1865" y="1546"/>
                  </a:lnTo>
                  <a:lnTo>
                    <a:pt x="1902" y="1546"/>
                  </a:lnTo>
                  <a:lnTo>
                    <a:pt x="1929" y="1546"/>
                  </a:lnTo>
                  <a:lnTo>
                    <a:pt x="1966" y="1546"/>
                  </a:lnTo>
                  <a:lnTo>
                    <a:pt x="1998" y="1546"/>
                  </a:lnTo>
                  <a:lnTo>
                    <a:pt x="2034" y="1546"/>
                  </a:lnTo>
                  <a:lnTo>
                    <a:pt x="2066" y="1543"/>
                  </a:lnTo>
                  <a:lnTo>
                    <a:pt x="2098" y="1540"/>
                  </a:lnTo>
                  <a:lnTo>
                    <a:pt x="2130" y="1540"/>
                  </a:lnTo>
                  <a:lnTo>
                    <a:pt x="2167" y="1540"/>
                  </a:lnTo>
                  <a:lnTo>
                    <a:pt x="2199" y="1537"/>
                  </a:lnTo>
                  <a:lnTo>
                    <a:pt x="2235" y="1537"/>
                  </a:lnTo>
                  <a:lnTo>
                    <a:pt x="2263" y="1535"/>
                  </a:lnTo>
                  <a:lnTo>
                    <a:pt x="2299" y="1535"/>
                  </a:lnTo>
                  <a:lnTo>
                    <a:pt x="2327" y="1535"/>
                  </a:lnTo>
                  <a:lnTo>
                    <a:pt x="2359" y="1535"/>
                  </a:lnTo>
                  <a:lnTo>
                    <a:pt x="2391" y="1529"/>
                  </a:lnTo>
                  <a:lnTo>
                    <a:pt x="2423" y="1529"/>
                  </a:lnTo>
                  <a:lnTo>
                    <a:pt x="2455" y="1526"/>
                  </a:lnTo>
                  <a:lnTo>
                    <a:pt x="2482" y="1526"/>
                  </a:lnTo>
                  <a:lnTo>
                    <a:pt x="2514" y="1523"/>
                  </a:lnTo>
                  <a:lnTo>
                    <a:pt x="2546" y="1523"/>
                  </a:lnTo>
                  <a:lnTo>
                    <a:pt x="2573" y="1520"/>
                  </a:lnTo>
                  <a:lnTo>
                    <a:pt x="2601" y="1520"/>
                  </a:lnTo>
                  <a:lnTo>
                    <a:pt x="2633" y="1518"/>
                  </a:lnTo>
                  <a:lnTo>
                    <a:pt x="2660" y="1515"/>
                  </a:lnTo>
                  <a:lnTo>
                    <a:pt x="2688" y="1512"/>
                  </a:lnTo>
                  <a:lnTo>
                    <a:pt x="2715" y="1512"/>
                  </a:lnTo>
                  <a:lnTo>
                    <a:pt x="2743" y="1509"/>
                  </a:lnTo>
                  <a:lnTo>
                    <a:pt x="2775" y="1509"/>
                  </a:lnTo>
                  <a:lnTo>
                    <a:pt x="2797" y="1506"/>
                  </a:lnTo>
                  <a:lnTo>
                    <a:pt x="2820" y="1503"/>
                  </a:lnTo>
                  <a:lnTo>
                    <a:pt x="2848" y="1500"/>
                  </a:lnTo>
                  <a:lnTo>
                    <a:pt x="2875" y="1498"/>
                  </a:lnTo>
                  <a:lnTo>
                    <a:pt x="2893" y="1498"/>
                  </a:lnTo>
                  <a:lnTo>
                    <a:pt x="2921" y="1495"/>
                  </a:lnTo>
                  <a:lnTo>
                    <a:pt x="2944" y="1492"/>
                  </a:lnTo>
                  <a:lnTo>
                    <a:pt x="2962" y="1492"/>
                  </a:lnTo>
                  <a:lnTo>
                    <a:pt x="2989" y="1489"/>
                  </a:lnTo>
                  <a:lnTo>
                    <a:pt x="3008" y="1486"/>
                  </a:lnTo>
                  <a:lnTo>
                    <a:pt x="3026" y="1486"/>
                  </a:lnTo>
                  <a:lnTo>
                    <a:pt x="3049" y="1486"/>
                  </a:lnTo>
                  <a:lnTo>
                    <a:pt x="3067" y="1481"/>
                  </a:lnTo>
                  <a:lnTo>
                    <a:pt x="3081" y="1481"/>
                  </a:lnTo>
                  <a:lnTo>
                    <a:pt x="3099" y="1478"/>
                  </a:lnTo>
                  <a:lnTo>
                    <a:pt x="3117" y="1478"/>
                  </a:lnTo>
                  <a:lnTo>
                    <a:pt x="3131" y="1475"/>
                  </a:lnTo>
                  <a:lnTo>
                    <a:pt x="3145" y="1472"/>
                  </a:lnTo>
                  <a:lnTo>
                    <a:pt x="3163" y="1469"/>
                  </a:lnTo>
                  <a:lnTo>
                    <a:pt x="3177" y="1466"/>
                  </a:lnTo>
                  <a:lnTo>
                    <a:pt x="3190" y="1463"/>
                  </a:lnTo>
                  <a:lnTo>
                    <a:pt x="3209" y="1463"/>
                  </a:lnTo>
                  <a:lnTo>
                    <a:pt x="3222" y="1461"/>
                  </a:lnTo>
                  <a:lnTo>
                    <a:pt x="3241" y="1461"/>
                  </a:lnTo>
                  <a:lnTo>
                    <a:pt x="3254" y="1455"/>
                  </a:lnTo>
                  <a:lnTo>
                    <a:pt x="3268" y="1455"/>
                  </a:lnTo>
                  <a:lnTo>
                    <a:pt x="3282" y="1452"/>
                  </a:lnTo>
                  <a:lnTo>
                    <a:pt x="3296" y="1452"/>
                  </a:lnTo>
                  <a:lnTo>
                    <a:pt x="3309" y="1449"/>
                  </a:lnTo>
                  <a:lnTo>
                    <a:pt x="3323" y="1446"/>
                  </a:lnTo>
                  <a:lnTo>
                    <a:pt x="3341" y="1443"/>
                  </a:lnTo>
                  <a:lnTo>
                    <a:pt x="3355" y="1443"/>
                  </a:lnTo>
                  <a:lnTo>
                    <a:pt x="3364" y="1441"/>
                  </a:lnTo>
                  <a:lnTo>
                    <a:pt x="3378" y="1438"/>
                  </a:lnTo>
                  <a:lnTo>
                    <a:pt x="3391" y="1435"/>
                  </a:lnTo>
                  <a:lnTo>
                    <a:pt x="3405" y="1432"/>
                  </a:lnTo>
                  <a:lnTo>
                    <a:pt x="3419" y="1432"/>
                  </a:lnTo>
                  <a:lnTo>
                    <a:pt x="3428" y="1429"/>
                  </a:lnTo>
                  <a:lnTo>
                    <a:pt x="3442" y="1426"/>
                  </a:lnTo>
                  <a:lnTo>
                    <a:pt x="3455" y="1424"/>
                  </a:lnTo>
                  <a:lnTo>
                    <a:pt x="3465" y="1421"/>
                  </a:lnTo>
                  <a:lnTo>
                    <a:pt x="3478" y="1421"/>
                  </a:lnTo>
                  <a:lnTo>
                    <a:pt x="3492" y="1418"/>
                  </a:lnTo>
                  <a:lnTo>
                    <a:pt x="3501" y="1415"/>
                  </a:lnTo>
                  <a:lnTo>
                    <a:pt x="3515" y="1412"/>
                  </a:lnTo>
                  <a:lnTo>
                    <a:pt x="3529" y="1412"/>
                  </a:lnTo>
                  <a:lnTo>
                    <a:pt x="3538" y="1409"/>
                  </a:lnTo>
                  <a:lnTo>
                    <a:pt x="3547" y="1409"/>
                  </a:lnTo>
                  <a:lnTo>
                    <a:pt x="3565" y="1404"/>
                  </a:lnTo>
                  <a:lnTo>
                    <a:pt x="3583" y="1398"/>
                  </a:lnTo>
                  <a:lnTo>
                    <a:pt x="3602" y="1398"/>
                  </a:lnTo>
                  <a:lnTo>
                    <a:pt x="3620" y="1392"/>
                  </a:lnTo>
                  <a:lnTo>
                    <a:pt x="3634" y="1389"/>
                  </a:lnTo>
                  <a:lnTo>
                    <a:pt x="3652" y="1387"/>
                  </a:lnTo>
                  <a:lnTo>
                    <a:pt x="3666" y="1387"/>
                  </a:lnTo>
                  <a:lnTo>
                    <a:pt x="3679" y="1381"/>
                  </a:lnTo>
                  <a:lnTo>
                    <a:pt x="3689" y="1378"/>
                  </a:lnTo>
                  <a:lnTo>
                    <a:pt x="3698" y="1375"/>
                  </a:lnTo>
                  <a:lnTo>
                    <a:pt x="3707" y="1372"/>
                  </a:lnTo>
                  <a:lnTo>
                    <a:pt x="3711" y="1372"/>
                  </a:lnTo>
                  <a:lnTo>
                    <a:pt x="3725" y="1372"/>
                  </a:lnTo>
                  <a:lnTo>
                    <a:pt x="3730" y="1372"/>
                  </a:lnTo>
                  <a:lnTo>
                    <a:pt x="3538" y="0"/>
                  </a:lnTo>
                  <a:lnTo>
                    <a:pt x="3341" y="11"/>
                  </a:lnTo>
                  <a:lnTo>
                    <a:pt x="3442" y="1281"/>
                  </a:lnTo>
                  <a:lnTo>
                    <a:pt x="3433" y="1281"/>
                  </a:lnTo>
                  <a:lnTo>
                    <a:pt x="3423" y="1281"/>
                  </a:lnTo>
                  <a:lnTo>
                    <a:pt x="3410" y="1281"/>
                  </a:lnTo>
                  <a:lnTo>
                    <a:pt x="3401" y="1281"/>
                  </a:lnTo>
                  <a:lnTo>
                    <a:pt x="3391" y="1284"/>
                  </a:lnTo>
                  <a:lnTo>
                    <a:pt x="3378" y="1284"/>
                  </a:lnTo>
                  <a:lnTo>
                    <a:pt x="3369" y="1287"/>
                  </a:lnTo>
                  <a:lnTo>
                    <a:pt x="3359" y="1287"/>
                  </a:lnTo>
                  <a:lnTo>
                    <a:pt x="3346" y="1290"/>
                  </a:lnTo>
                  <a:lnTo>
                    <a:pt x="3332" y="1293"/>
                  </a:lnTo>
                  <a:lnTo>
                    <a:pt x="3323" y="1293"/>
                  </a:lnTo>
                  <a:lnTo>
                    <a:pt x="3305" y="1295"/>
                  </a:lnTo>
                  <a:lnTo>
                    <a:pt x="3291" y="1295"/>
                  </a:lnTo>
                  <a:lnTo>
                    <a:pt x="3273" y="1298"/>
                  </a:lnTo>
                  <a:lnTo>
                    <a:pt x="3254" y="1301"/>
                  </a:lnTo>
                  <a:lnTo>
                    <a:pt x="3236" y="1301"/>
                  </a:lnTo>
                  <a:lnTo>
                    <a:pt x="3218" y="1304"/>
                  </a:lnTo>
                  <a:lnTo>
                    <a:pt x="3200" y="1307"/>
                  </a:lnTo>
                  <a:lnTo>
                    <a:pt x="3181" y="1310"/>
                  </a:lnTo>
                  <a:lnTo>
                    <a:pt x="3163" y="1310"/>
                  </a:lnTo>
                  <a:lnTo>
                    <a:pt x="3140" y="1312"/>
                  </a:lnTo>
                  <a:lnTo>
                    <a:pt x="3117" y="1315"/>
                  </a:lnTo>
                  <a:lnTo>
                    <a:pt x="3099" y="1318"/>
                  </a:lnTo>
                  <a:lnTo>
                    <a:pt x="3072" y="1321"/>
                  </a:lnTo>
                  <a:lnTo>
                    <a:pt x="3049" y="1324"/>
                  </a:lnTo>
                  <a:lnTo>
                    <a:pt x="3026" y="1327"/>
                  </a:lnTo>
                  <a:lnTo>
                    <a:pt x="3003" y="1330"/>
                  </a:lnTo>
                  <a:lnTo>
                    <a:pt x="2980" y="1332"/>
                  </a:lnTo>
                  <a:lnTo>
                    <a:pt x="2953" y="1332"/>
                  </a:lnTo>
                  <a:lnTo>
                    <a:pt x="2925" y="1335"/>
                  </a:lnTo>
                  <a:lnTo>
                    <a:pt x="2898" y="1338"/>
                  </a:lnTo>
                  <a:lnTo>
                    <a:pt x="2875" y="1341"/>
                  </a:lnTo>
                  <a:lnTo>
                    <a:pt x="2848" y="1344"/>
                  </a:lnTo>
                  <a:lnTo>
                    <a:pt x="2820" y="1347"/>
                  </a:lnTo>
                  <a:lnTo>
                    <a:pt x="2793" y="1350"/>
                  </a:lnTo>
                  <a:lnTo>
                    <a:pt x="2765" y="1350"/>
                  </a:lnTo>
                  <a:lnTo>
                    <a:pt x="2733" y="1352"/>
                  </a:lnTo>
                  <a:lnTo>
                    <a:pt x="2706" y="1355"/>
                  </a:lnTo>
                  <a:lnTo>
                    <a:pt x="2679" y="1361"/>
                  </a:lnTo>
                  <a:lnTo>
                    <a:pt x="2651" y="1361"/>
                  </a:lnTo>
                  <a:lnTo>
                    <a:pt x="2619" y="1364"/>
                  </a:lnTo>
                  <a:lnTo>
                    <a:pt x="2587" y="1367"/>
                  </a:lnTo>
                  <a:lnTo>
                    <a:pt x="2560" y="1369"/>
                  </a:lnTo>
                  <a:lnTo>
                    <a:pt x="2528" y="1372"/>
                  </a:lnTo>
                  <a:lnTo>
                    <a:pt x="2500" y="1372"/>
                  </a:lnTo>
                  <a:lnTo>
                    <a:pt x="2468" y="1375"/>
                  </a:lnTo>
                  <a:lnTo>
                    <a:pt x="2436" y="1378"/>
                  </a:lnTo>
                  <a:lnTo>
                    <a:pt x="2404" y="1378"/>
                  </a:lnTo>
                  <a:lnTo>
                    <a:pt x="2377" y="1381"/>
                  </a:lnTo>
                  <a:lnTo>
                    <a:pt x="2345" y="1384"/>
                  </a:lnTo>
                  <a:lnTo>
                    <a:pt x="2313" y="1387"/>
                  </a:lnTo>
                  <a:lnTo>
                    <a:pt x="2281" y="1387"/>
                  </a:lnTo>
                  <a:lnTo>
                    <a:pt x="2254" y="1389"/>
                  </a:lnTo>
                  <a:lnTo>
                    <a:pt x="2217" y="1392"/>
                  </a:lnTo>
                  <a:lnTo>
                    <a:pt x="2190" y="1392"/>
                  </a:lnTo>
                  <a:lnTo>
                    <a:pt x="2153" y="1395"/>
                  </a:lnTo>
                  <a:lnTo>
                    <a:pt x="2126" y="1398"/>
                  </a:lnTo>
                  <a:lnTo>
                    <a:pt x="2094" y="1398"/>
                  </a:lnTo>
                  <a:lnTo>
                    <a:pt x="2066" y="1398"/>
                  </a:lnTo>
                  <a:lnTo>
                    <a:pt x="2034" y="1398"/>
                  </a:lnTo>
                  <a:lnTo>
                    <a:pt x="1998" y="1398"/>
                  </a:lnTo>
                  <a:lnTo>
                    <a:pt x="1966" y="1398"/>
                  </a:lnTo>
                  <a:lnTo>
                    <a:pt x="1929" y="1401"/>
                  </a:lnTo>
                  <a:lnTo>
                    <a:pt x="1897" y="1401"/>
                  </a:lnTo>
                  <a:lnTo>
                    <a:pt x="1860" y="1401"/>
                  </a:lnTo>
                  <a:lnTo>
                    <a:pt x="1829" y="1401"/>
                  </a:lnTo>
                  <a:lnTo>
                    <a:pt x="1792" y="1401"/>
                  </a:lnTo>
                  <a:lnTo>
                    <a:pt x="1755" y="1398"/>
                  </a:lnTo>
                  <a:lnTo>
                    <a:pt x="1723" y="1398"/>
                  </a:lnTo>
                  <a:lnTo>
                    <a:pt x="1682" y="1398"/>
                  </a:lnTo>
                  <a:lnTo>
                    <a:pt x="1646" y="1398"/>
                  </a:lnTo>
                  <a:lnTo>
                    <a:pt x="1609" y="1398"/>
                  </a:lnTo>
                  <a:lnTo>
                    <a:pt x="1573" y="1395"/>
                  </a:lnTo>
                  <a:lnTo>
                    <a:pt x="1536" y="1392"/>
                  </a:lnTo>
                  <a:lnTo>
                    <a:pt x="1499" y="1392"/>
                  </a:lnTo>
                  <a:lnTo>
                    <a:pt x="1458" y="1389"/>
                  </a:lnTo>
                  <a:lnTo>
                    <a:pt x="1422" y="1387"/>
                  </a:lnTo>
                  <a:lnTo>
                    <a:pt x="1385" y="1387"/>
                  </a:lnTo>
                  <a:lnTo>
                    <a:pt x="1344" y="1381"/>
                  </a:lnTo>
                  <a:lnTo>
                    <a:pt x="1308" y="1378"/>
                  </a:lnTo>
                  <a:lnTo>
                    <a:pt x="1271" y="1378"/>
                  </a:lnTo>
                  <a:lnTo>
                    <a:pt x="1234" y="1375"/>
                  </a:lnTo>
                  <a:lnTo>
                    <a:pt x="1198" y="1372"/>
                  </a:lnTo>
                  <a:lnTo>
                    <a:pt x="1161" y="1369"/>
                  </a:lnTo>
                  <a:lnTo>
                    <a:pt x="1125" y="1367"/>
                  </a:lnTo>
                  <a:lnTo>
                    <a:pt x="1088" y="1364"/>
                  </a:lnTo>
                  <a:lnTo>
                    <a:pt x="1052" y="1361"/>
                  </a:lnTo>
                  <a:lnTo>
                    <a:pt x="1020" y="1358"/>
                  </a:lnTo>
                  <a:lnTo>
                    <a:pt x="983" y="1355"/>
                  </a:lnTo>
                  <a:lnTo>
                    <a:pt x="946" y="1352"/>
                  </a:lnTo>
                  <a:lnTo>
                    <a:pt x="914" y="1350"/>
                  </a:lnTo>
                  <a:lnTo>
                    <a:pt x="878" y="1347"/>
                  </a:lnTo>
                  <a:lnTo>
                    <a:pt x="846" y="1344"/>
                  </a:lnTo>
                  <a:lnTo>
                    <a:pt x="809" y="1338"/>
                  </a:lnTo>
                  <a:lnTo>
                    <a:pt x="777" y="1335"/>
                  </a:lnTo>
                  <a:lnTo>
                    <a:pt x="745" y="1332"/>
                  </a:lnTo>
                  <a:lnTo>
                    <a:pt x="718" y="1330"/>
                  </a:lnTo>
                  <a:lnTo>
                    <a:pt x="686" y="1327"/>
                  </a:lnTo>
                  <a:lnTo>
                    <a:pt x="659" y="1324"/>
                  </a:lnTo>
                  <a:lnTo>
                    <a:pt x="627" y="1321"/>
                  </a:lnTo>
                  <a:lnTo>
                    <a:pt x="599" y="1315"/>
                  </a:lnTo>
                  <a:lnTo>
                    <a:pt x="576" y="1312"/>
                  </a:lnTo>
                  <a:lnTo>
                    <a:pt x="549" y="1310"/>
                  </a:lnTo>
                  <a:lnTo>
                    <a:pt x="521" y="1307"/>
                  </a:lnTo>
                  <a:lnTo>
                    <a:pt x="499" y="1304"/>
                  </a:lnTo>
                  <a:lnTo>
                    <a:pt x="476" y="1304"/>
                  </a:lnTo>
                  <a:lnTo>
                    <a:pt x="453" y="1301"/>
                  </a:lnTo>
                  <a:lnTo>
                    <a:pt x="430" y="1298"/>
                  </a:lnTo>
                  <a:lnTo>
                    <a:pt x="412" y="1295"/>
                  </a:lnTo>
                  <a:lnTo>
                    <a:pt x="393" y="1293"/>
                  </a:lnTo>
                  <a:lnTo>
                    <a:pt x="380" y="1293"/>
                  </a:lnTo>
                  <a:lnTo>
                    <a:pt x="361" y="1290"/>
                  </a:lnTo>
                  <a:lnTo>
                    <a:pt x="343" y="1287"/>
                  </a:lnTo>
                  <a:lnTo>
                    <a:pt x="330" y="1284"/>
                  </a:lnTo>
                  <a:lnTo>
                    <a:pt x="320" y="1284"/>
                  </a:lnTo>
                  <a:lnTo>
                    <a:pt x="307" y="1281"/>
                  </a:lnTo>
                  <a:lnTo>
                    <a:pt x="298" y="1281"/>
                  </a:lnTo>
                  <a:lnTo>
                    <a:pt x="288" y="1281"/>
                  </a:lnTo>
                  <a:lnTo>
                    <a:pt x="279" y="1281"/>
                  </a:lnTo>
                  <a:lnTo>
                    <a:pt x="275" y="1281"/>
                  </a:lnTo>
                  <a:lnTo>
                    <a:pt x="270" y="1281"/>
                  </a:lnTo>
                  <a:lnTo>
                    <a:pt x="311" y="91"/>
                  </a:lnTo>
                  <a:lnTo>
                    <a:pt x="133" y="85"/>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16" name="Freeform 8"/>
            <p:cNvSpPr>
              <a:spLocks/>
            </p:cNvSpPr>
            <p:nvPr>
              <p:custDataLst>
                <p:tags r:id="rId215"/>
              </p:custDataLst>
            </p:nvPr>
          </p:nvSpPr>
          <p:spPr bwMode="gray">
            <a:xfrm>
              <a:off x="2572" y="1972"/>
              <a:ext cx="800" cy="748"/>
            </a:xfrm>
            <a:custGeom>
              <a:avLst/>
              <a:gdLst>
                <a:gd name="T0" fmla="*/ 0 w 781"/>
                <a:gd name="T1" fmla="*/ 74 h 820"/>
                <a:gd name="T2" fmla="*/ 0 w 781"/>
                <a:gd name="T3" fmla="*/ 71 h 820"/>
                <a:gd name="T4" fmla="*/ 5 w 781"/>
                <a:gd name="T5" fmla="*/ 68 h 820"/>
                <a:gd name="T6" fmla="*/ 5 w 781"/>
                <a:gd name="T7" fmla="*/ 65 h 820"/>
                <a:gd name="T8" fmla="*/ 5 w 781"/>
                <a:gd name="T9" fmla="*/ 62 h 820"/>
                <a:gd name="T10" fmla="*/ 5 w 781"/>
                <a:gd name="T11" fmla="*/ 58 h 820"/>
                <a:gd name="T12" fmla="*/ 5 w 781"/>
                <a:gd name="T13" fmla="*/ 56 h 820"/>
                <a:gd name="T14" fmla="*/ 9 w 781"/>
                <a:gd name="T15" fmla="*/ 52 h 820"/>
                <a:gd name="T16" fmla="*/ 9 w 781"/>
                <a:gd name="T17" fmla="*/ 47 h 820"/>
                <a:gd name="T18" fmla="*/ 9 w 781"/>
                <a:gd name="T19" fmla="*/ 43 h 820"/>
                <a:gd name="T20" fmla="*/ 18 w 781"/>
                <a:gd name="T21" fmla="*/ 39 h 820"/>
                <a:gd name="T22" fmla="*/ 18 w 781"/>
                <a:gd name="T23" fmla="*/ 34 h 820"/>
                <a:gd name="T24" fmla="*/ 58 w 781"/>
                <a:gd name="T25" fmla="*/ 30 h 820"/>
                <a:gd name="T26" fmla="*/ 64 w 781"/>
                <a:gd name="T27" fmla="*/ 26 h 820"/>
                <a:gd name="T28" fmla="*/ 90 w 781"/>
                <a:gd name="T29" fmla="*/ 23 h 820"/>
                <a:gd name="T30" fmla="*/ 122 w 781"/>
                <a:gd name="T31" fmla="*/ 19 h 820"/>
                <a:gd name="T32" fmla="*/ 136 w 781"/>
                <a:gd name="T33" fmla="*/ 16 h 820"/>
                <a:gd name="T34" fmla="*/ 169 w 781"/>
                <a:gd name="T35" fmla="*/ 13 h 820"/>
                <a:gd name="T36" fmla="*/ 213 w 781"/>
                <a:gd name="T37" fmla="*/ 11 h 820"/>
                <a:gd name="T38" fmla="*/ 255 w 781"/>
                <a:gd name="T39" fmla="*/ 8 h 820"/>
                <a:gd name="T40" fmla="*/ 307 w 781"/>
                <a:gd name="T41" fmla="*/ 5 h 820"/>
                <a:gd name="T42" fmla="*/ 382 w 781"/>
                <a:gd name="T43" fmla="*/ 5 h 820"/>
                <a:gd name="T44" fmla="*/ 494 w 781"/>
                <a:gd name="T45" fmla="*/ 5 h 820"/>
                <a:gd name="T46" fmla="*/ 544 w 781"/>
                <a:gd name="T47" fmla="*/ 5 h 820"/>
                <a:gd name="T48" fmla="*/ 605 w 781"/>
                <a:gd name="T49" fmla="*/ 5 h 820"/>
                <a:gd name="T50" fmla="*/ 683 w 781"/>
                <a:gd name="T51" fmla="*/ 0 h 820"/>
                <a:gd name="T52" fmla="*/ 761 w 781"/>
                <a:gd name="T53" fmla="*/ 3 h 820"/>
                <a:gd name="T54" fmla="*/ 827 w 781"/>
                <a:gd name="T55" fmla="*/ 5 h 820"/>
                <a:gd name="T56" fmla="*/ 939 w 781"/>
                <a:gd name="T57" fmla="*/ 5 h 820"/>
                <a:gd name="T58" fmla="*/ 1033 w 781"/>
                <a:gd name="T59" fmla="*/ 5 h 820"/>
                <a:gd name="T60" fmla="*/ 1129 w 781"/>
                <a:gd name="T61" fmla="*/ 5 h 820"/>
                <a:gd name="T62" fmla="*/ 1222 w 781"/>
                <a:gd name="T63" fmla="*/ 8 h 820"/>
                <a:gd name="T64" fmla="*/ 1287 w 781"/>
                <a:gd name="T65" fmla="*/ 12 h 820"/>
                <a:gd name="T66" fmla="*/ 1341 w 781"/>
                <a:gd name="T67" fmla="*/ 15 h 820"/>
                <a:gd name="T68" fmla="*/ 1369 w 781"/>
                <a:gd name="T69" fmla="*/ 16 h 820"/>
                <a:gd name="T70" fmla="*/ 1381 w 781"/>
                <a:gd name="T71" fmla="*/ 19 h 820"/>
                <a:gd name="T72" fmla="*/ 1390 w 781"/>
                <a:gd name="T73" fmla="*/ 21 h 820"/>
                <a:gd name="T74" fmla="*/ 1408 w 781"/>
                <a:gd name="T75" fmla="*/ 23 h 820"/>
                <a:gd name="T76" fmla="*/ 1416 w 781"/>
                <a:gd name="T77" fmla="*/ 27 h 820"/>
                <a:gd name="T78" fmla="*/ 1424 w 781"/>
                <a:gd name="T79" fmla="*/ 30 h 820"/>
                <a:gd name="T80" fmla="*/ 1437 w 781"/>
                <a:gd name="T81" fmla="*/ 33 h 820"/>
                <a:gd name="T82" fmla="*/ 1442 w 781"/>
                <a:gd name="T83" fmla="*/ 36 h 820"/>
                <a:gd name="T84" fmla="*/ 1450 w 781"/>
                <a:gd name="T85" fmla="*/ 40 h 820"/>
                <a:gd name="T86" fmla="*/ 1450 w 781"/>
                <a:gd name="T87" fmla="*/ 44 h 820"/>
                <a:gd name="T88" fmla="*/ 1458 w 781"/>
                <a:gd name="T89" fmla="*/ 47 h 820"/>
                <a:gd name="T90" fmla="*/ 1458 w 781"/>
                <a:gd name="T91" fmla="*/ 52 h 820"/>
                <a:gd name="T92" fmla="*/ 1458 w 781"/>
                <a:gd name="T93" fmla="*/ 56 h 820"/>
                <a:gd name="T94" fmla="*/ 1458 w 781"/>
                <a:gd name="T95" fmla="*/ 58 h 820"/>
                <a:gd name="T96" fmla="*/ 1458 w 781"/>
                <a:gd name="T97" fmla="*/ 62 h 820"/>
                <a:gd name="T98" fmla="*/ 1458 w 781"/>
                <a:gd name="T99" fmla="*/ 64 h 820"/>
                <a:gd name="T100" fmla="*/ 1458 w 781"/>
                <a:gd name="T101" fmla="*/ 67 h 820"/>
                <a:gd name="T102" fmla="*/ 1458 w 781"/>
                <a:gd name="T103" fmla="*/ 68 h 820"/>
                <a:gd name="T104" fmla="*/ 1458 w 781"/>
                <a:gd name="T105" fmla="*/ 70 h 820"/>
                <a:gd name="T106" fmla="*/ 1458 w 781"/>
                <a:gd name="T107" fmla="*/ 73 h 820"/>
                <a:gd name="T108" fmla="*/ 0 w 781"/>
                <a:gd name="T109" fmla="*/ 75 h 82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1"/>
                <a:gd name="T166" fmla="*/ 0 h 820"/>
                <a:gd name="T167" fmla="*/ 781 w 781"/>
                <a:gd name="T168" fmla="*/ 820 h 82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1" h="820">
                  <a:moveTo>
                    <a:pt x="0" y="820"/>
                  </a:moveTo>
                  <a:lnTo>
                    <a:pt x="0" y="812"/>
                  </a:lnTo>
                  <a:lnTo>
                    <a:pt x="0" y="806"/>
                  </a:lnTo>
                  <a:lnTo>
                    <a:pt x="0" y="797"/>
                  </a:lnTo>
                  <a:lnTo>
                    <a:pt x="0" y="786"/>
                  </a:lnTo>
                  <a:lnTo>
                    <a:pt x="0" y="777"/>
                  </a:lnTo>
                  <a:lnTo>
                    <a:pt x="0" y="766"/>
                  </a:lnTo>
                  <a:lnTo>
                    <a:pt x="0" y="757"/>
                  </a:lnTo>
                  <a:lnTo>
                    <a:pt x="5" y="749"/>
                  </a:lnTo>
                  <a:lnTo>
                    <a:pt x="5" y="738"/>
                  </a:lnTo>
                  <a:lnTo>
                    <a:pt x="5" y="726"/>
                  </a:lnTo>
                  <a:lnTo>
                    <a:pt x="5" y="712"/>
                  </a:lnTo>
                  <a:lnTo>
                    <a:pt x="5" y="700"/>
                  </a:lnTo>
                  <a:lnTo>
                    <a:pt x="5" y="689"/>
                  </a:lnTo>
                  <a:lnTo>
                    <a:pt x="5" y="675"/>
                  </a:lnTo>
                  <a:lnTo>
                    <a:pt x="5" y="663"/>
                  </a:lnTo>
                  <a:lnTo>
                    <a:pt x="5" y="649"/>
                  </a:lnTo>
                  <a:lnTo>
                    <a:pt x="5" y="638"/>
                  </a:lnTo>
                  <a:lnTo>
                    <a:pt x="5" y="624"/>
                  </a:lnTo>
                  <a:lnTo>
                    <a:pt x="5" y="609"/>
                  </a:lnTo>
                  <a:lnTo>
                    <a:pt x="5" y="595"/>
                  </a:lnTo>
                  <a:lnTo>
                    <a:pt x="5" y="578"/>
                  </a:lnTo>
                  <a:lnTo>
                    <a:pt x="9" y="564"/>
                  </a:lnTo>
                  <a:lnTo>
                    <a:pt x="9" y="552"/>
                  </a:lnTo>
                  <a:lnTo>
                    <a:pt x="9" y="538"/>
                  </a:lnTo>
                  <a:lnTo>
                    <a:pt x="9" y="521"/>
                  </a:lnTo>
                  <a:lnTo>
                    <a:pt x="9" y="510"/>
                  </a:lnTo>
                  <a:lnTo>
                    <a:pt x="9" y="493"/>
                  </a:lnTo>
                  <a:lnTo>
                    <a:pt x="9" y="478"/>
                  </a:lnTo>
                  <a:lnTo>
                    <a:pt x="9" y="464"/>
                  </a:lnTo>
                  <a:lnTo>
                    <a:pt x="14" y="450"/>
                  </a:lnTo>
                  <a:lnTo>
                    <a:pt x="14" y="433"/>
                  </a:lnTo>
                  <a:lnTo>
                    <a:pt x="18" y="419"/>
                  </a:lnTo>
                  <a:lnTo>
                    <a:pt x="18" y="404"/>
                  </a:lnTo>
                  <a:lnTo>
                    <a:pt x="18" y="387"/>
                  </a:lnTo>
                  <a:lnTo>
                    <a:pt x="18" y="373"/>
                  </a:lnTo>
                  <a:lnTo>
                    <a:pt x="23" y="359"/>
                  </a:lnTo>
                  <a:lnTo>
                    <a:pt x="27" y="345"/>
                  </a:lnTo>
                  <a:lnTo>
                    <a:pt x="32" y="330"/>
                  </a:lnTo>
                  <a:lnTo>
                    <a:pt x="32" y="316"/>
                  </a:lnTo>
                  <a:lnTo>
                    <a:pt x="37" y="302"/>
                  </a:lnTo>
                  <a:lnTo>
                    <a:pt x="37" y="285"/>
                  </a:lnTo>
                  <a:lnTo>
                    <a:pt x="46" y="273"/>
                  </a:lnTo>
                  <a:lnTo>
                    <a:pt x="46" y="259"/>
                  </a:lnTo>
                  <a:lnTo>
                    <a:pt x="50" y="245"/>
                  </a:lnTo>
                  <a:lnTo>
                    <a:pt x="55" y="231"/>
                  </a:lnTo>
                  <a:lnTo>
                    <a:pt x="55" y="219"/>
                  </a:lnTo>
                  <a:lnTo>
                    <a:pt x="64" y="208"/>
                  </a:lnTo>
                  <a:lnTo>
                    <a:pt x="69" y="196"/>
                  </a:lnTo>
                  <a:lnTo>
                    <a:pt x="73" y="182"/>
                  </a:lnTo>
                  <a:lnTo>
                    <a:pt x="73" y="171"/>
                  </a:lnTo>
                  <a:lnTo>
                    <a:pt x="82" y="159"/>
                  </a:lnTo>
                  <a:lnTo>
                    <a:pt x="87" y="148"/>
                  </a:lnTo>
                  <a:lnTo>
                    <a:pt x="91" y="137"/>
                  </a:lnTo>
                  <a:lnTo>
                    <a:pt x="96" y="125"/>
                  </a:lnTo>
                  <a:lnTo>
                    <a:pt x="110" y="117"/>
                  </a:lnTo>
                  <a:lnTo>
                    <a:pt x="114" y="108"/>
                  </a:lnTo>
                  <a:lnTo>
                    <a:pt x="123" y="97"/>
                  </a:lnTo>
                  <a:lnTo>
                    <a:pt x="128" y="91"/>
                  </a:lnTo>
                  <a:lnTo>
                    <a:pt x="137" y="83"/>
                  </a:lnTo>
                  <a:lnTo>
                    <a:pt x="146" y="74"/>
                  </a:lnTo>
                  <a:lnTo>
                    <a:pt x="155" y="68"/>
                  </a:lnTo>
                  <a:lnTo>
                    <a:pt x="165" y="60"/>
                  </a:lnTo>
                  <a:lnTo>
                    <a:pt x="174" y="54"/>
                  </a:lnTo>
                  <a:lnTo>
                    <a:pt x="187" y="48"/>
                  </a:lnTo>
                  <a:lnTo>
                    <a:pt x="206" y="40"/>
                  </a:lnTo>
                  <a:lnTo>
                    <a:pt x="224" y="31"/>
                  </a:lnTo>
                  <a:lnTo>
                    <a:pt x="242" y="23"/>
                  </a:lnTo>
                  <a:lnTo>
                    <a:pt x="265" y="17"/>
                  </a:lnTo>
                  <a:lnTo>
                    <a:pt x="274" y="14"/>
                  </a:lnTo>
                  <a:lnTo>
                    <a:pt x="283" y="11"/>
                  </a:lnTo>
                  <a:lnTo>
                    <a:pt x="292" y="9"/>
                  </a:lnTo>
                  <a:lnTo>
                    <a:pt x="306" y="6"/>
                  </a:lnTo>
                  <a:lnTo>
                    <a:pt x="311" y="6"/>
                  </a:lnTo>
                  <a:lnTo>
                    <a:pt x="324" y="6"/>
                  </a:lnTo>
                  <a:lnTo>
                    <a:pt x="334" y="3"/>
                  </a:lnTo>
                  <a:lnTo>
                    <a:pt x="347" y="3"/>
                  </a:lnTo>
                  <a:lnTo>
                    <a:pt x="366" y="0"/>
                  </a:lnTo>
                  <a:lnTo>
                    <a:pt x="384" y="3"/>
                  </a:lnTo>
                  <a:lnTo>
                    <a:pt x="398" y="3"/>
                  </a:lnTo>
                  <a:lnTo>
                    <a:pt x="407" y="3"/>
                  </a:lnTo>
                  <a:lnTo>
                    <a:pt x="416" y="3"/>
                  </a:lnTo>
                  <a:lnTo>
                    <a:pt x="425" y="6"/>
                  </a:lnTo>
                  <a:lnTo>
                    <a:pt x="443" y="6"/>
                  </a:lnTo>
                  <a:lnTo>
                    <a:pt x="466" y="9"/>
                  </a:lnTo>
                  <a:lnTo>
                    <a:pt x="484" y="14"/>
                  </a:lnTo>
                  <a:lnTo>
                    <a:pt x="503" y="20"/>
                  </a:lnTo>
                  <a:lnTo>
                    <a:pt x="521" y="23"/>
                  </a:lnTo>
                  <a:lnTo>
                    <a:pt x="539" y="28"/>
                  </a:lnTo>
                  <a:lnTo>
                    <a:pt x="553" y="37"/>
                  </a:lnTo>
                  <a:lnTo>
                    <a:pt x="576" y="43"/>
                  </a:lnTo>
                  <a:lnTo>
                    <a:pt x="590" y="48"/>
                  </a:lnTo>
                  <a:lnTo>
                    <a:pt x="603" y="60"/>
                  </a:lnTo>
                  <a:lnTo>
                    <a:pt x="622" y="68"/>
                  </a:lnTo>
                  <a:lnTo>
                    <a:pt x="635" y="77"/>
                  </a:lnTo>
                  <a:lnTo>
                    <a:pt x="654" y="85"/>
                  </a:lnTo>
                  <a:lnTo>
                    <a:pt x="663" y="97"/>
                  </a:lnTo>
                  <a:lnTo>
                    <a:pt x="672" y="108"/>
                  </a:lnTo>
                  <a:lnTo>
                    <a:pt x="690" y="120"/>
                  </a:lnTo>
                  <a:lnTo>
                    <a:pt x="699" y="131"/>
                  </a:lnTo>
                  <a:lnTo>
                    <a:pt x="708" y="142"/>
                  </a:lnTo>
                  <a:lnTo>
                    <a:pt x="718" y="154"/>
                  </a:lnTo>
                  <a:lnTo>
                    <a:pt x="727" y="165"/>
                  </a:lnTo>
                  <a:lnTo>
                    <a:pt x="727" y="171"/>
                  </a:lnTo>
                  <a:lnTo>
                    <a:pt x="731" y="177"/>
                  </a:lnTo>
                  <a:lnTo>
                    <a:pt x="736" y="185"/>
                  </a:lnTo>
                  <a:lnTo>
                    <a:pt x="736" y="194"/>
                  </a:lnTo>
                  <a:lnTo>
                    <a:pt x="740" y="199"/>
                  </a:lnTo>
                  <a:lnTo>
                    <a:pt x="745" y="208"/>
                  </a:lnTo>
                  <a:lnTo>
                    <a:pt x="745" y="216"/>
                  </a:lnTo>
                  <a:lnTo>
                    <a:pt x="745" y="228"/>
                  </a:lnTo>
                  <a:lnTo>
                    <a:pt x="745" y="236"/>
                  </a:lnTo>
                  <a:lnTo>
                    <a:pt x="754" y="245"/>
                  </a:lnTo>
                  <a:lnTo>
                    <a:pt x="754" y="256"/>
                  </a:lnTo>
                  <a:lnTo>
                    <a:pt x="754" y="268"/>
                  </a:lnTo>
                  <a:lnTo>
                    <a:pt x="759" y="279"/>
                  </a:lnTo>
                  <a:lnTo>
                    <a:pt x="759" y="290"/>
                  </a:lnTo>
                  <a:lnTo>
                    <a:pt x="759" y="302"/>
                  </a:lnTo>
                  <a:lnTo>
                    <a:pt x="763" y="313"/>
                  </a:lnTo>
                  <a:lnTo>
                    <a:pt x="763" y="327"/>
                  </a:lnTo>
                  <a:lnTo>
                    <a:pt x="763" y="336"/>
                  </a:lnTo>
                  <a:lnTo>
                    <a:pt x="763" y="347"/>
                  </a:lnTo>
                  <a:lnTo>
                    <a:pt x="768" y="362"/>
                  </a:lnTo>
                  <a:lnTo>
                    <a:pt x="768" y="379"/>
                  </a:lnTo>
                  <a:lnTo>
                    <a:pt x="772" y="390"/>
                  </a:lnTo>
                  <a:lnTo>
                    <a:pt x="772" y="401"/>
                  </a:lnTo>
                  <a:lnTo>
                    <a:pt x="777" y="416"/>
                  </a:lnTo>
                  <a:lnTo>
                    <a:pt x="777" y="430"/>
                  </a:lnTo>
                  <a:lnTo>
                    <a:pt x="777" y="444"/>
                  </a:lnTo>
                  <a:lnTo>
                    <a:pt x="777" y="456"/>
                  </a:lnTo>
                  <a:lnTo>
                    <a:pt x="777" y="470"/>
                  </a:lnTo>
                  <a:lnTo>
                    <a:pt x="777" y="484"/>
                  </a:lnTo>
                  <a:lnTo>
                    <a:pt x="777" y="498"/>
                  </a:lnTo>
                  <a:lnTo>
                    <a:pt x="777" y="510"/>
                  </a:lnTo>
                  <a:lnTo>
                    <a:pt x="781" y="524"/>
                  </a:lnTo>
                  <a:lnTo>
                    <a:pt x="781" y="538"/>
                  </a:lnTo>
                  <a:lnTo>
                    <a:pt x="781" y="552"/>
                  </a:lnTo>
                  <a:lnTo>
                    <a:pt x="781" y="561"/>
                  </a:lnTo>
                  <a:lnTo>
                    <a:pt x="781" y="575"/>
                  </a:lnTo>
                  <a:lnTo>
                    <a:pt x="781" y="587"/>
                  </a:lnTo>
                  <a:lnTo>
                    <a:pt x="781" y="601"/>
                  </a:lnTo>
                  <a:lnTo>
                    <a:pt x="781" y="612"/>
                  </a:lnTo>
                  <a:lnTo>
                    <a:pt x="781" y="626"/>
                  </a:lnTo>
                  <a:lnTo>
                    <a:pt x="781" y="635"/>
                  </a:lnTo>
                  <a:lnTo>
                    <a:pt x="781" y="649"/>
                  </a:lnTo>
                  <a:lnTo>
                    <a:pt x="781" y="658"/>
                  </a:lnTo>
                  <a:lnTo>
                    <a:pt x="781" y="669"/>
                  </a:lnTo>
                  <a:lnTo>
                    <a:pt x="781" y="681"/>
                  </a:lnTo>
                  <a:lnTo>
                    <a:pt x="781" y="692"/>
                  </a:lnTo>
                  <a:lnTo>
                    <a:pt x="781" y="700"/>
                  </a:lnTo>
                  <a:lnTo>
                    <a:pt x="781" y="712"/>
                  </a:lnTo>
                  <a:lnTo>
                    <a:pt x="781" y="720"/>
                  </a:lnTo>
                  <a:lnTo>
                    <a:pt x="781" y="726"/>
                  </a:lnTo>
                  <a:lnTo>
                    <a:pt x="781" y="735"/>
                  </a:lnTo>
                  <a:lnTo>
                    <a:pt x="781" y="743"/>
                  </a:lnTo>
                  <a:lnTo>
                    <a:pt x="781" y="749"/>
                  </a:lnTo>
                  <a:lnTo>
                    <a:pt x="781" y="757"/>
                  </a:lnTo>
                  <a:lnTo>
                    <a:pt x="781" y="763"/>
                  </a:lnTo>
                  <a:lnTo>
                    <a:pt x="781" y="769"/>
                  </a:lnTo>
                  <a:lnTo>
                    <a:pt x="781" y="777"/>
                  </a:lnTo>
                  <a:lnTo>
                    <a:pt x="781" y="786"/>
                  </a:lnTo>
                  <a:lnTo>
                    <a:pt x="781" y="789"/>
                  </a:lnTo>
                  <a:lnTo>
                    <a:pt x="781" y="792"/>
                  </a:lnTo>
                  <a:lnTo>
                    <a:pt x="0" y="82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17" name="Freeform 9"/>
            <p:cNvSpPr>
              <a:spLocks/>
            </p:cNvSpPr>
            <p:nvPr>
              <p:custDataLst>
                <p:tags r:id="rId216"/>
              </p:custDataLst>
            </p:nvPr>
          </p:nvSpPr>
          <p:spPr bwMode="gray">
            <a:xfrm>
              <a:off x="1134" y="2045"/>
              <a:ext cx="1339" cy="362"/>
            </a:xfrm>
            <a:custGeom>
              <a:avLst/>
              <a:gdLst>
                <a:gd name="T0" fmla="*/ 90 w 1307"/>
                <a:gd name="T1" fmla="*/ 5 h 396"/>
                <a:gd name="T2" fmla="*/ 207 w 1307"/>
                <a:gd name="T3" fmla="*/ 5 h 396"/>
                <a:gd name="T4" fmla="*/ 326 w 1307"/>
                <a:gd name="T5" fmla="*/ 5 h 396"/>
                <a:gd name="T6" fmla="*/ 446 w 1307"/>
                <a:gd name="T7" fmla="*/ 5 h 396"/>
                <a:gd name="T8" fmla="*/ 591 w 1307"/>
                <a:gd name="T9" fmla="*/ 5 h 396"/>
                <a:gd name="T10" fmla="*/ 739 w 1307"/>
                <a:gd name="T11" fmla="*/ 5 h 396"/>
                <a:gd name="T12" fmla="*/ 884 w 1307"/>
                <a:gd name="T13" fmla="*/ 5 h 396"/>
                <a:gd name="T14" fmla="*/ 1038 w 1307"/>
                <a:gd name="T15" fmla="*/ 6 h 396"/>
                <a:gd name="T16" fmla="*/ 1190 w 1307"/>
                <a:gd name="T17" fmla="*/ 7 h 396"/>
                <a:gd name="T18" fmla="*/ 1336 w 1307"/>
                <a:gd name="T19" fmla="*/ 7 h 396"/>
                <a:gd name="T20" fmla="*/ 1490 w 1307"/>
                <a:gd name="T21" fmla="*/ 8 h 396"/>
                <a:gd name="T22" fmla="*/ 1637 w 1307"/>
                <a:gd name="T23" fmla="*/ 8 h 396"/>
                <a:gd name="T24" fmla="*/ 1775 w 1307"/>
                <a:gd name="T25" fmla="*/ 8 h 396"/>
                <a:gd name="T26" fmla="*/ 1900 w 1307"/>
                <a:gd name="T27" fmla="*/ 9 h 396"/>
                <a:gd name="T28" fmla="*/ 2023 w 1307"/>
                <a:gd name="T29" fmla="*/ 10 h 396"/>
                <a:gd name="T30" fmla="*/ 2125 w 1307"/>
                <a:gd name="T31" fmla="*/ 10 h 396"/>
                <a:gd name="T32" fmla="*/ 2223 w 1307"/>
                <a:gd name="T33" fmla="*/ 10 h 396"/>
                <a:gd name="T34" fmla="*/ 2303 w 1307"/>
                <a:gd name="T35" fmla="*/ 10 h 396"/>
                <a:gd name="T36" fmla="*/ 2377 w 1307"/>
                <a:gd name="T37" fmla="*/ 10 h 396"/>
                <a:gd name="T38" fmla="*/ 2445 w 1307"/>
                <a:gd name="T39" fmla="*/ 10 h 396"/>
                <a:gd name="T40" fmla="*/ 2416 w 1307"/>
                <a:gd name="T41" fmla="*/ 37 h 396"/>
                <a:gd name="T42" fmla="*/ 2356 w 1307"/>
                <a:gd name="T43" fmla="*/ 37 h 396"/>
                <a:gd name="T44" fmla="*/ 2296 w 1307"/>
                <a:gd name="T45" fmla="*/ 37 h 396"/>
                <a:gd name="T46" fmla="*/ 2223 w 1307"/>
                <a:gd name="T47" fmla="*/ 37 h 396"/>
                <a:gd name="T48" fmla="*/ 2125 w 1307"/>
                <a:gd name="T49" fmla="*/ 37 h 396"/>
                <a:gd name="T50" fmla="*/ 2016 w 1307"/>
                <a:gd name="T51" fmla="*/ 37 h 396"/>
                <a:gd name="T52" fmla="*/ 1956 w 1307"/>
                <a:gd name="T53" fmla="*/ 37 h 396"/>
                <a:gd name="T54" fmla="*/ 1894 w 1307"/>
                <a:gd name="T55" fmla="*/ 37 h 396"/>
                <a:gd name="T56" fmla="*/ 1818 w 1307"/>
                <a:gd name="T57" fmla="*/ 37 h 396"/>
                <a:gd name="T58" fmla="*/ 1749 w 1307"/>
                <a:gd name="T59" fmla="*/ 37 h 396"/>
                <a:gd name="T60" fmla="*/ 1670 w 1307"/>
                <a:gd name="T61" fmla="*/ 37 h 396"/>
                <a:gd name="T62" fmla="*/ 1585 w 1307"/>
                <a:gd name="T63" fmla="*/ 37 h 396"/>
                <a:gd name="T64" fmla="*/ 1508 w 1307"/>
                <a:gd name="T65" fmla="*/ 37 h 396"/>
                <a:gd name="T66" fmla="*/ 1423 w 1307"/>
                <a:gd name="T67" fmla="*/ 37 h 396"/>
                <a:gd name="T68" fmla="*/ 1330 w 1307"/>
                <a:gd name="T69" fmla="*/ 37 h 396"/>
                <a:gd name="T70" fmla="*/ 1237 w 1307"/>
                <a:gd name="T71" fmla="*/ 37 h 396"/>
                <a:gd name="T72" fmla="*/ 1140 w 1307"/>
                <a:gd name="T73" fmla="*/ 36 h 396"/>
                <a:gd name="T74" fmla="*/ 1047 w 1307"/>
                <a:gd name="T75" fmla="*/ 36 h 396"/>
                <a:gd name="T76" fmla="*/ 951 w 1307"/>
                <a:gd name="T77" fmla="*/ 34 h 396"/>
                <a:gd name="T78" fmla="*/ 857 w 1307"/>
                <a:gd name="T79" fmla="*/ 34 h 396"/>
                <a:gd name="T80" fmla="*/ 763 w 1307"/>
                <a:gd name="T81" fmla="*/ 34 h 396"/>
                <a:gd name="T82" fmla="*/ 687 w 1307"/>
                <a:gd name="T83" fmla="*/ 34 h 396"/>
                <a:gd name="T84" fmla="*/ 591 w 1307"/>
                <a:gd name="T85" fmla="*/ 34 h 396"/>
                <a:gd name="T86" fmla="*/ 514 w 1307"/>
                <a:gd name="T87" fmla="*/ 34 h 396"/>
                <a:gd name="T88" fmla="*/ 436 w 1307"/>
                <a:gd name="T89" fmla="*/ 34 h 396"/>
                <a:gd name="T90" fmla="*/ 360 w 1307"/>
                <a:gd name="T91" fmla="*/ 33 h 396"/>
                <a:gd name="T92" fmla="*/ 299 w 1307"/>
                <a:gd name="T93" fmla="*/ 31 h 396"/>
                <a:gd name="T94" fmla="*/ 229 w 1307"/>
                <a:gd name="T95" fmla="*/ 31 h 396"/>
                <a:gd name="T96" fmla="*/ 151 w 1307"/>
                <a:gd name="T97" fmla="*/ 31 h 396"/>
                <a:gd name="T98" fmla="*/ 64 w 1307"/>
                <a:gd name="T99" fmla="*/ 31 h 396"/>
                <a:gd name="T100" fmla="*/ 5 w 1307"/>
                <a:gd name="T101" fmla="*/ 31 h 396"/>
                <a:gd name="T102" fmla="*/ 18 w 1307"/>
                <a:gd name="T103" fmla="*/ 0 h 39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07"/>
                <a:gd name="T157" fmla="*/ 0 h 396"/>
                <a:gd name="T158" fmla="*/ 1307 w 1307"/>
                <a:gd name="T159" fmla="*/ 396 h 39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07" h="396">
                  <a:moveTo>
                    <a:pt x="18" y="0"/>
                  </a:moveTo>
                  <a:lnTo>
                    <a:pt x="32" y="3"/>
                  </a:lnTo>
                  <a:lnTo>
                    <a:pt x="50" y="5"/>
                  </a:lnTo>
                  <a:lnTo>
                    <a:pt x="69" y="11"/>
                  </a:lnTo>
                  <a:lnTo>
                    <a:pt x="91" y="14"/>
                  </a:lnTo>
                  <a:lnTo>
                    <a:pt x="110" y="17"/>
                  </a:lnTo>
                  <a:lnTo>
                    <a:pt x="128" y="22"/>
                  </a:lnTo>
                  <a:lnTo>
                    <a:pt x="151" y="25"/>
                  </a:lnTo>
                  <a:lnTo>
                    <a:pt x="174" y="28"/>
                  </a:lnTo>
                  <a:lnTo>
                    <a:pt x="196" y="31"/>
                  </a:lnTo>
                  <a:lnTo>
                    <a:pt x="219" y="34"/>
                  </a:lnTo>
                  <a:lnTo>
                    <a:pt x="238" y="40"/>
                  </a:lnTo>
                  <a:lnTo>
                    <a:pt x="270" y="40"/>
                  </a:lnTo>
                  <a:lnTo>
                    <a:pt x="288" y="42"/>
                  </a:lnTo>
                  <a:lnTo>
                    <a:pt x="315" y="45"/>
                  </a:lnTo>
                  <a:lnTo>
                    <a:pt x="338" y="51"/>
                  </a:lnTo>
                  <a:lnTo>
                    <a:pt x="366" y="51"/>
                  </a:lnTo>
                  <a:lnTo>
                    <a:pt x="393" y="54"/>
                  </a:lnTo>
                  <a:lnTo>
                    <a:pt x="420" y="57"/>
                  </a:lnTo>
                  <a:lnTo>
                    <a:pt x="443" y="60"/>
                  </a:lnTo>
                  <a:lnTo>
                    <a:pt x="471" y="62"/>
                  </a:lnTo>
                  <a:lnTo>
                    <a:pt x="498" y="62"/>
                  </a:lnTo>
                  <a:lnTo>
                    <a:pt x="526" y="65"/>
                  </a:lnTo>
                  <a:lnTo>
                    <a:pt x="553" y="68"/>
                  </a:lnTo>
                  <a:lnTo>
                    <a:pt x="580" y="71"/>
                  </a:lnTo>
                  <a:lnTo>
                    <a:pt x="608" y="71"/>
                  </a:lnTo>
                  <a:lnTo>
                    <a:pt x="635" y="74"/>
                  </a:lnTo>
                  <a:lnTo>
                    <a:pt x="658" y="74"/>
                  </a:lnTo>
                  <a:lnTo>
                    <a:pt x="685" y="74"/>
                  </a:lnTo>
                  <a:lnTo>
                    <a:pt x="713" y="77"/>
                  </a:lnTo>
                  <a:lnTo>
                    <a:pt x="740" y="79"/>
                  </a:lnTo>
                  <a:lnTo>
                    <a:pt x="768" y="79"/>
                  </a:lnTo>
                  <a:lnTo>
                    <a:pt x="795" y="82"/>
                  </a:lnTo>
                  <a:lnTo>
                    <a:pt x="823" y="82"/>
                  </a:lnTo>
                  <a:lnTo>
                    <a:pt x="845" y="85"/>
                  </a:lnTo>
                  <a:lnTo>
                    <a:pt x="873" y="85"/>
                  </a:lnTo>
                  <a:lnTo>
                    <a:pt x="896" y="85"/>
                  </a:lnTo>
                  <a:lnTo>
                    <a:pt x="919" y="85"/>
                  </a:lnTo>
                  <a:lnTo>
                    <a:pt x="946" y="85"/>
                  </a:lnTo>
                  <a:lnTo>
                    <a:pt x="969" y="88"/>
                  </a:lnTo>
                  <a:lnTo>
                    <a:pt x="992" y="91"/>
                  </a:lnTo>
                  <a:lnTo>
                    <a:pt x="1015" y="91"/>
                  </a:lnTo>
                  <a:lnTo>
                    <a:pt x="1037" y="91"/>
                  </a:lnTo>
                  <a:lnTo>
                    <a:pt x="1056" y="91"/>
                  </a:lnTo>
                  <a:lnTo>
                    <a:pt x="1079" y="94"/>
                  </a:lnTo>
                  <a:lnTo>
                    <a:pt x="1097" y="94"/>
                  </a:lnTo>
                  <a:lnTo>
                    <a:pt x="1115" y="94"/>
                  </a:lnTo>
                  <a:lnTo>
                    <a:pt x="1133" y="94"/>
                  </a:lnTo>
                  <a:lnTo>
                    <a:pt x="1156" y="94"/>
                  </a:lnTo>
                  <a:lnTo>
                    <a:pt x="1165" y="94"/>
                  </a:lnTo>
                  <a:lnTo>
                    <a:pt x="1184" y="94"/>
                  </a:lnTo>
                  <a:lnTo>
                    <a:pt x="1202" y="94"/>
                  </a:lnTo>
                  <a:lnTo>
                    <a:pt x="1216" y="94"/>
                  </a:lnTo>
                  <a:lnTo>
                    <a:pt x="1229" y="94"/>
                  </a:lnTo>
                  <a:lnTo>
                    <a:pt x="1243" y="94"/>
                  </a:lnTo>
                  <a:lnTo>
                    <a:pt x="1252" y="94"/>
                  </a:lnTo>
                  <a:lnTo>
                    <a:pt x="1266" y="97"/>
                  </a:lnTo>
                  <a:lnTo>
                    <a:pt x="1280" y="97"/>
                  </a:lnTo>
                  <a:lnTo>
                    <a:pt x="1298" y="97"/>
                  </a:lnTo>
                  <a:lnTo>
                    <a:pt x="1302" y="97"/>
                  </a:lnTo>
                  <a:lnTo>
                    <a:pt x="1307" y="97"/>
                  </a:lnTo>
                  <a:lnTo>
                    <a:pt x="1293" y="396"/>
                  </a:lnTo>
                  <a:lnTo>
                    <a:pt x="1289" y="396"/>
                  </a:lnTo>
                  <a:lnTo>
                    <a:pt x="1284" y="396"/>
                  </a:lnTo>
                  <a:lnTo>
                    <a:pt x="1270" y="396"/>
                  </a:lnTo>
                  <a:lnTo>
                    <a:pt x="1257" y="396"/>
                  </a:lnTo>
                  <a:lnTo>
                    <a:pt x="1248" y="396"/>
                  </a:lnTo>
                  <a:lnTo>
                    <a:pt x="1234" y="396"/>
                  </a:lnTo>
                  <a:lnTo>
                    <a:pt x="1225" y="396"/>
                  </a:lnTo>
                  <a:lnTo>
                    <a:pt x="1216" y="396"/>
                  </a:lnTo>
                  <a:lnTo>
                    <a:pt x="1197" y="396"/>
                  </a:lnTo>
                  <a:lnTo>
                    <a:pt x="1184" y="396"/>
                  </a:lnTo>
                  <a:lnTo>
                    <a:pt x="1165" y="396"/>
                  </a:lnTo>
                  <a:lnTo>
                    <a:pt x="1156" y="396"/>
                  </a:lnTo>
                  <a:lnTo>
                    <a:pt x="1133" y="396"/>
                  </a:lnTo>
                  <a:lnTo>
                    <a:pt x="1115" y="396"/>
                  </a:lnTo>
                  <a:lnTo>
                    <a:pt x="1097" y="396"/>
                  </a:lnTo>
                  <a:lnTo>
                    <a:pt x="1074" y="396"/>
                  </a:lnTo>
                  <a:lnTo>
                    <a:pt x="1065" y="396"/>
                  </a:lnTo>
                  <a:lnTo>
                    <a:pt x="1056" y="396"/>
                  </a:lnTo>
                  <a:lnTo>
                    <a:pt x="1042" y="396"/>
                  </a:lnTo>
                  <a:lnTo>
                    <a:pt x="1033" y="396"/>
                  </a:lnTo>
                  <a:lnTo>
                    <a:pt x="1019" y="396"/>
                  </a:lnTo>
                  <a:lnTo>
                    <a:pt x="1010" y="396"/>
                  </a:lnTo>
                  <a:lnTo>
                    <a:pt x="996" y="396"/>
                  </a:lnTo>
                  <a:lnTo>
                    <a:pt x="987" y="396"/>
                  </a:lnTo>
                  <a:lnTo>
                    <a:pt x="969" y="393"/>
                  </a:lnTo>
                  <a:lnTo>
                    <a:pt x="960" y="393"/>
                  </a:lnTo>
                  <a:lnTo>
                    <a:pt x="946" y="393"/>
                  </a:lnTo>
                  <a:lnTo>
                    <a:pt x="932" y="393"/>
                  </a:lnTo>
                  <a:lnTo>
                    <a:pt x="919" y="390"/>
                  </a:lnTo>
                  <a:lnTo>
                    <a:pt x="905" y="390"/>
                  </a:lnTo>
                  <a:lnTo>
                    <a:pt x="891" y="387"/>
                  </a:lnTo>
                  <a:lnTo>
                    <a:pt x="877" y="387"/>
                  </a:lnTo>
                  <a:lnTo>
                    <a:pt x="864" y="387"/>
                  </a:lnTo>
                  <a:lnTo>
                    <a:pt x="845" y="387"/>
                  </a:lnTo>
                  <a:lnTo>
                    <a:pt x="836" y="387"/>
                  </a:lnTo>
                  <a:lnTo>
                    <a:pt x="823" y="387"/>
                  </a:lnTo>
                  <a:lnTo>
                    <a:pt x="804" y="387"/>
                  </a:lnTo>
                  <a:lnTo>
                    <a:pt x="786" y="387"/>
                  </a:lnTo>
                  <a:lnTo>
                    <a:pt x="772" y="384"/>
                  </a:lnTo>
                  <a:lnTo>
                    <a:pt x="759" y="384"/>
                  </a:lnTo>
                  <a:lnTo>
                    <a:pt x="740" y="381"/>
                  </a:lnTo>
                  <a:lnTo>
                    <a:pt x="722" y="381"/>
                  </a:lnTo>
                  <a:lnTo>
                    <a:pt x="708" y="381"/>
                  </a:lnTo>
                  <a:lnTo>
                    <a:pt x="695" y="378"/>
                  </a:lnTo>
                  <a:lnTo>
                    <a:pt x="676" y="376"/>
                  </a:lnTo>
                  <a:lnTo>
                    <a:pt x="658" y="376"/>
                  </a:lnTo>
                  <a:lnTo>
                    <a:pt x="640" y="376"/>
                  </a:lnTo>
                  <a:lnTo>
                    <a:pt x="622" y="376"/>
                  </a:lnTo>
                  <a:lnTo>
                    <a:pt x="608" y="370"/>
                  </a:lnTo>
                  <a:lnTo>
                    <a:pt x="590" y="370"/>
                  </a:lnTo>
                  <a:lnTo>
                    <a:pt x="571" y="370"/>
                  </a:lnTo>
                  <a:lnTo>
                    <a:pt x="558" y="370"/>
                  </a:lnTo>
                  <a:lnTo>
                    <a:pt x="539" y="367"/>
                  </a:lnTo>
                  <a:lnTo>
                    <a:pt x="526" y="367"/>
                  </a:lnTo>
                  <a:lnTo>
                    <a:pt x="507" y="364"/>
                  </a:lnTo>
                  <a:lnTo>
                    <a:pt x="489" y="364"/>
                  </a:lnTo>
                  <a:lnTo>
                    <a:pt x="475" y="361"/>
                  </a:lnTo>
                  <a:lnTo>
                    <a:pt x="457" y="359"/>
                  </a:lnTo>
                  <a:lnTo>
                    <a:pt x="439" y="359"/>
                  </a:lnTo>
                  <a:lnTo>
                    <a:pt x="425" y="359"/>
                  </a:lnTo>
                  <a:lnTo>
                    <a:pt x="407" y="356"/>
                  </a:lnTo>
                  <a:lnTo>
                    <a:pt x="393" y="356"/>
                  </a:lnTo>
                  <a:lnTo>
                    <a:pt x="379" y="353"/>
                  </a:lnTo>
                  <a:lnTo>
                    <a:pt x="366" y="353"/>
                  </a:lnTo>
                  <a:lnTo>
                    <a:pt x="347" y="353"/>
                  </a:lnTo>
                  <a:lnTo>
                    <a:pt x="334" y="350"/>
                  </a:lnTo>
                  <a:lnTo>
                    <a:pt x="315" y="350"/>
                  </a:lnTo>
                  <a:lnTo>
                    <a:pt x="302" y="347"/>
                  </a:lnTo>
                  <a:lnTo>
                    <a:pt x="288" y="344"/>
                  </a:lnTo>
                  <a:lnTo>
                    <a:pt x="274" y="344"/>
                  </a:lnTo>
                  <a:lnTo>
                    <a:pt x="256" y="341"/>
                  </a:lnTo>
                  <a:lnTo>
                    <a:pt x="247" y="341"/>
                  </a:lnTo>
                  <a:lnTo>
                    <a:pt x="233" y="341"/>
                  </a:lnTo>
                  <a:lnTo>
                    <a:pt x="219" y="339"/>
                  </a:lnTo>
                  <a:lnTo>
                    <a:pt x="201" y="339"/>
                  </a:lnTo>
                  <a:lnTo>
                    <a:pt x="192" y="339"/>
                  </a:lnTo>
                  <a:lnTo>
                    <a:pt x="183" y="336"/>
                  </a:lnTo>
                  <a:lnTo>
                    <a:pt x="169" y="336"/>
                  </a:lnTo>
                  <a:lnTo>
                    <a:pt x="160" y="333"/>
                  </a:lnTo>
                  <a:lnTo>
                    <a:pt x="146" y="333"/>
                  </a:lnTo>
                  <a:lnTo>
                    <a:pt x="133" y="330"/>
                  </a:lnTo>
                  <a:lnTo>
                    <a:pt x="123" y="330"/>
                  </a:lnTo>
                  <a:lnTo>
                    <a:pt x="114" y="327"/>
                  </a:lnTo>
                  <a:lnTo>
                    <a:pt x="101" y="327"/>
                  </a:lnTo>
                  <a:lnTo>
                    <a:pt x="82" y="327"/>
                  </a:lnTo>
                  <a:lnTo>
                    <a:pt x="69" y="324"/>
                  </a:lnTo>
                  <a:lnTo>
                    <a:pt x="50" y="321"/>
                  </a:lnTo>
                  <a:lnTo>
                    <a:pt x="37" y="321"/>
                  </a:lnTo>
                  <a:lnTo>
                    <a:pt x="23" y="319"/>
                  </a:lnTo>
                  <a:lnTo>
                    <a:pt x="18" y="319"/>
                  </a:lnTo>
                  <a:lnTo>
                    <a:pt x="5" y="319"/>
                  </a:lnTo>
                  <a:lnTo>
                    <a:pt x="0" y="319"/>
                  </a:lnTo>
                  <a:lnTo>
                    <a:pt x="18"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18" name="Freeform 10"/>
            <p:cNvSpPr>
              <a:spLocks/>
            </p:cNvSpPr>
            <p:nvPr>
              <p:custDataLst>
                <p:tags r:id="rId217"/>
              </p:custDataLst>
            </p:nvPr>
          </p:nvSpPr>
          <p:spPr bwMode="gray">
            <a:xfrm>
              <a:off x="3527" y="2060"/>
              <a:ext cx="1022" cy="403"/>
            </a:xfrm>
            <a:custGeom>
              <a:avLst/>
              <a:gdLst>
                <a:gd name="T0" fmla="*/ 84 w 997"/>
                <a:gd name="T1" fmla="*/ 5 h 441"/>
                <a:gd name="T2" fmla="*/ 210 w 997"/>
                <a:gd name="T3" fmla="*/ 5 h 441"/>
                <a:gd name="T4" fmla="*/ 340 w 997"/>
                <a:gd name="T5" fmla="*/ 5 h 441"/>
                <a:gd name="T6" fmla="*/ 463 w 997"/>
                <a:gd name="T7" fmla="*/ 5 h 441"/>
                <a:gd name="T8" fmla="*/ 585 w 997"/>
                <a:gd name="T9" fmla="*/ 5 h 441"/>
                <a:gd name="T10" fmla="*/ 696 w 997"/>
                <a:gd name="T11" fmla="*/ 5 h 441"/>
                <a:gd name="T12" fmla="*/ 820 w 997"/>
                <a:gd name="T13" fmla="*/ 5 h 441"/>
                <a:gd name="T14" fmla="*/ 922 w 997"/>
                <a:gd name="T15" fmla="*/ 5 h 441"/>
                <a:gd name="T16" fmla="*/ 1034 w 997"/>
                <a:gd name="T17" fmla="*/ 5 h 441"/>
                <a:gd name="T18" fmla="*/ 1140 w 997"/>
                <a:gd name="T19" fmla="*/ 5 h 441"/>
                <a:gd name="T20" fmla="*/ 1234 w 997"/>
                <a:gd name="T21" fmla="*/ 5 h 441"/>
                <a:gd name="T22" fmla="*/ 1323 w 997"/>
                <a:gd name="T23" fmla="*/ 5 h 441"/>
                <a:gd name="T24" fmla="*/ 1398 w 997"/>
                <a:gd name="T25" fmla="*/ 5 h 441"/>
                <a:gd name="T26" fmla="*/ 1478 w 997"/>
                <a:gd name="T27" fmla="*/ 5 h 441"/>
                <a:gd name="T28" fmla="*/ 1550 w 997"/>
                <a:gd name="T29" fmla="*/ 5 h 441"/>
                <a:gd name="T30" fmla="*/ 1612 w 997"/>
                <a:gd name="T31" fmla="*/ 5 h 441"/>
                <a:gd name="T32" fmla="*/ 1686 w 997"/>
                <a:gd name="T33" fmla="*/ 5 h 441"/>
                <a:gd name="T34" fmla="*/ 1765 w 997"/>
                <a:gd name="T35" fmla="*/ 0 h 441"/>
                <a:gd name="T36" fmla="*/ 1774 w 997"/>
                <a:gd name="T37" fmla="*/ 5 h 441"/>
                <a:gd name="T38" fmla="*/ 1795 w 997"/>
                <a:gd name="T39" fmla="*/ 5 h 441"/>
                <a:gd name="T40" fmla="*/ 1802 w 997"/>
                <a:gd name="T41" fmla="*/ 5 h 441"/>
                <a:gd name="T42" fmla="*/ 1809 w 997"/>
                <a:gd name="T43" fmla="*/ 6 h 441"/>
                <a:gd name="T44" fmla="*/ 1832 w 997"/>
                <a:gd name="T45" fmla="*/ 9 h 441"/>
                <a:gd name="T46" fmla="*/ 1838 w 997"/>
                <a:gd name="T47" fmla="*/ 11 h 441"/>
                <a:gd name="T48" fmla="*/ 1838 w 997"/>
                <a:gd name="T49" fmla="*/ 14 h 441"/>
                <a:gd name="T50" fmla="*/ 1853 w 997"/>
                <a:gd name="T51" fmla="*/ 15 h 441"/>
                <a:gd name="T52" fmla="*/ 1859 w 997"/>
                <a:gd name="T53" fmla="*/ 18 h 441"/>
                <a:gd name="T54" fmla="*/ 1877 w 997"/>
                <a:gd name="T55" fmla="*/ 20 h 441"/>
                <a:gd name="T56" fmla="*/ 1881 w 997"/>
                <a:gd name="T57" fmla="*/ 23 h 441"/>
                <a:gd name="T58" fmla="*/ 1897 w 997"/>
                <a:gd name="T59" fmla="*/ 25 h 441"/>
                <a:gd name="T60" fmla="*/ 1897 w 997"/>
                <a:gd name="T61" fmla="*/ 27 h 441"/>
                <a:gd name="T62" fmla="*/ 1897 w 997"/>
                <a:gd name="T63" fmla="*/ 28 h 441"/>
                <a:gd name="T64" fmla="*/ 1897 w 997"/>
                <a:gd name="T65" fmla="*/ 31 h 441"/>
                <a:gd name="T66" fmla="*/ 1890 w 997"/>
                <a:gd name="T67" fmla="*/ 34 h 441"/>
                <a:gd name="T68" fmla="*/ 1859 w 997"/>
                <a:gd name="T69" fmla="*/ 34 h 441"/>
                <a:gd name="T70" fmla="*/ 1774 w 997"/>
                <a:gd name="T71" fmla="*/ 34 h 441"/>
                <a:gd name="T72" fmla="*/ 1716 w 997"/>
                <a:gd name="T73" fmla="*/ 34 h 441"/>
                <a:gd name="T74" fmla="*/ 1644 w 997"/>
                <a:gd name="T75" fmla="*/ 34 h 441"/>
                <a:gd name="T76" fmla="*/ 1559 w 997"/>
                <a:gd name="T77" fmla="*/ 34 h 441"/>
                <a:gd name="T78" fmla="*/ 1469 w 997"/>
                <a:gd name="T79" fmla="*/ 36 h 441"/>
                <a:gd name="T80" fmla="*/ 1378 w 997"/>
                <a:gd name="T81" fmla="*/ 37 h 441"/>
                <a:gd name="T82" fmla="*/ 1273 w 997"/>
                <a:gd name="T83" fmla="*/ 37 h 441"/>
                <a:gd name="T84" fmla="*/ 1159 w 997"/>
                <a:gd name="T85" fmla="*/ 37 h 441"/>
                <a:gd name="T86" fmla="*/ 1045 w 997"/>
                <a:gd name="T87" fmla="*/ 37 h 441"/>
                <a:gd name="T88" fmla="*/ 922 w 997"/>
                <a:gd name="T89" fmla="*/ 37 h 441"/>
                <a:gd name="T90" fmla="*/ 820 w 997"/>
                <a:gd name="T91" fmla="*/ 39 h 441"/>
                <a:gd name="T92" fmla="*/ 696 w 997"/>
                <a:gd name="T93" fmla="*/ 40 h 441"/>
                <a:gd name="T94" fmla="*/ 594 w 997"/>
                <a:gd name="T95" fmla="*/ 40 h 441"/>
                <a:gd name="T96" fmla="*/ 488 w 997"/>
                <a:gd name="T97" fmla="*/ 40 h 441"/>
                <a:gd name="T98" fmla="*/ 391 w 997"/>
                <a:gd name="T99" fmla="*/ 40 h 441"/>
                <a:gd name="T100" fmla="*/ 297 w 997"/>
                <a:gd name="T101" fmla="*/ 40 h 441"/>
                <a:gd name="T102" fmla="*/ 226 w 997"/>
                <a:gd name="T103" fmla="*/ 40 h 441"/>
                <a:gd name="T104" fmla="*/ 146 w 997"/>
                <a:gd name="T105" fmla="*/ 41 h 441"/>
                <a:gd name="T106" fmla="*/ 58 w 997"/>
                <a:gd name="T107" fmla="*/ 43 h 44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97"/>
                <a:gd name="T163" fmla="*/ 0 h 441"/>
                <a:gd name="T164" fmla="*/ 997 w 997"/>
                <a:gd name="T165" fmla="*/ 441 h 44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97" h="441">
                  <a:moveTo>
                    <a:pt x="0" y="57"/>
                  </a:moveTo>
                  <a:lnTo>
                    <a:pt x="23" y="57"/>
                  </a:lnTo>
                  <a:lnTo>
                    <a:pt x="46" y="57"/>
                  </a:lnTo>
                  <a:lnTo>
                    <a:pt x="69" y="57"/>
                  </a:lnTo>
                  <a:lnTo>
                    <a:pt x="87" y="57"/>
                  </a:lnTo>
                  <a:lnTo>
                    <a:pt x="110" y="57"/>
                  </a:lnTo>
                  <a:lnTo>
                    <a:pt x="137" y="57"/>
                  </a:lnTo>
                  <a:lnTo>
                    <a:pt x="156" y="57"/>
                  </a:lnTo>
                  <a:lnTo>
                    <a:pt x="179" y="57"/>
                  </a:lnTo>
                  <a:lnTo>
                    <a:pt x="201" y="57"/>
                  </a:lnTo>
                  <a:lnTo>
                    <a:pt x="224" y="54"/>
                  </a:lnTo>
                  <a:lnTo>
                    <a:pt x="243" y="54"/>
                  </a:lnTo>
                  <a:lnTo>
                    <a:pt x="265" y="54"/>
                  </a:lnTo>
                  <a:lnTo>
                    <a:pt x="288" y="51"/>
                  </a:lnTo>
                  <a:lnTo>
                    <a:pt x="307" y="51"/>
                  </a:lnTo>
                  <a:lnTo>
                    <a:pt x="325" y="51"/>
                  </a:lnTo>
                  <a:lnTo>
                    <a:pt x="348" y="51"/>
                  </a:lnTo>
                  <a:lnTo>
                    <a:pt x="366" y="48"/>
                  </a:lnTo>
                  <a:lnTo>
                    <a:pt x="389" y="48"/>
                  </a:lnTo>
                  <a:lnTo>
                    <a:pt x="412" y="45"/>
                  </a:lnTo>
                  <a:lnTo>
                    <a:pt x="430" y="45"/>
                  </a:lnTo>
                  <a:lnTo>
                    <a:pt x="448" y="45"/>
                  </a:lnTo>
                  <a:lnTo>
                    <a:pt x="466" y="45"/>
                  </a:lnTo>
                  <a:lnTo>
                    <a:pt x="485" y="43"/>
                  </a:lnTo>
                  <a:lnTo>
                    <a:pt x="508" y="43"/>
                  </a:lnTo>
                  <a:lnTo>
                    <a:pt x="521" y="40"/>
                  </a:lnTo>
                  <a:lnTo>
                    <a:pt x="544" y="37"/>
                  </a:lnTo>
                  <a:lnTo>
                    <a:pt x="562" y="37"/>
                  </a:lnTo>
                  <a:lnTo>
                    <a:pt x="581" y="34"/>
                  </a:lnTo>
                  <a:lnTo>
                    <a:pt x="599" y="34"/>
                  </a:lnTo>
                  <a:lnTo>
                    <a:pt x="613" y="34"/>
                  </a:lnTo>
                  <a:lnTo>
                    <a:pt x="631" y="31"/>
                  </a:lnTo>
                  <a:lnTo>
                    <a:pt x="649" y="31"/>
                  </a:lnTo>
                  <a:lnTo>
                    <a:pt x="668" y="28"/>
                  </a:lnTo>
                  <a:lnTo>
                    <a:pt x="677" y="28"/>
                  </a:lnTo>
                  <a:lnTo>
                    <a:pt x="695" y="25"/>
                  </a:lnTo>
                  <a:lnTo>
                    <a:pt x="709" y="23"/>
                  </a:lnTo>
                  <a:lnTo>
                    <a:pt x="722" y="23"/>
                  </a:lnTo>
                  <a:lnTo>
                    <a:pt x="736" y="23"/>
                  </a:lnTo>
                  <a:lnTo>
                    <a:pt x="750" y="20"/>
                  </a:lnTo>
                  <a:lnTo>
                    <a:pt x="768" y="20"/>
                  </a:lnTo>
                  <a:lnTo>
                    <a:pt x="777" y="17"/>
                  </a:lnTo>
                  <a:lnTo>
                    <a:pt x="791" y="14"/>
                  </a:lnTo>
                  <a:lnTo>
                    <a:pt x="800" y="14"/>
                  </a:lnTo>
                  <a:lnTo>
                    <a:pt x="814" y="14"/>
                  </a:lnTo>
                  <a:lnTo>
                    <a:pt x="823" y="11"/>
                  </a:lnTo>
                  <a:lnTo>
                    <a:pt x="832" y="11"/>
                  </a:lnTo>
                  <a:lnTo>
                    <a:pt x="846" y="11"/>
                  </a:lnTo>
                  <a:lnTo>
                    <a:pt x="855" y="11"/>
                  </a:lnTo>
                  <a:lnTo>
                    <a:pt x="869" y="8"/>
                  </a:lnTo>
                  <a:lnTo>
                    <a:pt x="887" y="5"/>
                  </a:lnTo>
                  <a:lnTo>
                    <a:pt x="901" y="3"/>
                  </a:lnTo>
                  <a:lnTo>
                    <a:pt x="910" y="3"/>
                  </a:lnTo>
                  <a:lnTo>
                    <a:pt x="928" y="0"/>
                  </a:lnTo>
                  <a:lnTo>
                    <a:pt x="933" y="0"/>
                  </a:lnTo>
                  <a:lnTo>
                    <a:pt x="933" y="5"/>
                  </a:lnTo>
                  <a:lnTo>
                    <a:pt x="933" y="8"/>
                  </a:lnTo>
                  <a:lnTo>
                    <a:pt x="937" y="14"/>
                  </a:lnTo>
                  <a:lnTo>
                    <a:pt x="937" y="23"/>
                  </a:lnTo>
                  <a:lnTo>
                    <a:pt x="942" y="34"/>
                  </a:lnTo>
                  <a:lnTo>
                    <a:pt x="942" y="37"/>
                  </a:lnTo>
                  <a:lnTo>
                    <a:pt x="942" y="43"/>
                  </a:lnTo>
                  <a:lnTo>
                    <a:pt x="946" y="48"/>
                  </a:lnTo>
                  <a:lnTo>
                    <a:pt x="946" y="57"/>
                  </a:lnTo>
                  <a:lnTo>
                    <a:pt x="946" y="62"/>
                  </a:lnTo>
                  <a:lnTo>
                    <a:pt x="951" y="68"/>
                  </a:lnTo>
                  <a:lnTo>
                    <a:pt x="951" y="77"/>
                  </a:lnTo>
                  <a:lnTo>
                    <a:pt x="955" y="82"/>
                  </a:lnTo>
                  <a:lnTo>
                    <a:pt x="960" y="91"/>
                  </a:lnTo>
                  <a:lnTo>
                    <a:pt x="960" y="97"/>
                  </a:lnTo>
                  <a:lnTo>
                    <a:pt x="960" y="105"/>
                  </a:lnTo>
                  <a:lnTo>
                    <a:pt x="965" y="111"/>
                  </a:lnTo>
                  <a:lnTo>
                    <a:pt x="965" y="119"/>
                  </a:lnTo>
                  <a:lnTo>
                    <a:pt x="965" y="128"/>
                  </a:lnTo>
                  <a:lnTo>
                    <a:pt x="965" y="136"/>
                  </a:lnTo>
                  <a:lnTo>
                    <a:pt x="969" y="145"/>
                  </a:lnTo>
                  <a:lnTo>
                    <a:pt x="969" y="154"/>
                  </a:lnTo>
                  <a:lnTo>
                    <a:pt x="974" y="162"/>
                  </a:lnTo>
                  <a:lnTo>
                    <a:pt x="978" y="171"/>
                  </a:lnTo>
                  <a:lnTo>
                    <a:pt x="978" y="179"/>
                  </a:lnTo>
                  <a:lnTo>
                    <a:pt x="978" y="188"/>
                  </a:lnTo>
                  <a:lnTo>
                    <a:pt x="978" y="196"/>
                  </a:lnTo>
                  <a:lnTo>
                    <a:pt x="983" y="202"/>
                  </a:lnTo>
                  <a:lnTo>
                    <a:pt x="983" y="211"/>
                  </a:lnTo>
                  <a:lnTo>
                    <a:pt x="983" y="219"/>
                  </a:lnTo>
                  <a:lnTo>
                    <a:pt x="987" y="228"/>
                  </a:lnTo>
                  <a:lnTo>
                    <a:pt x="987" y="236"/>
                  </a:lnTo>
                  <a:lnTo>
                    <a:pt x="992" y="245"/>
                  </a:lnTo>
                  <a:lnTo>
                    <a:pt x="992" y="250"/>
                  </a:lnTo>
                  <a:lnTo>
                    <a:pt x="997" y="259"/>
                  </a:lnTo>
                  <a:lnTo>
                    <a:pt x="997" y="265"/>
                  </a:lnTo>
                  <a:lnTo>
                    <a:pt x="997" y="273"/>
                  </a:lnTo>
                  <a:lnTo>
                    <a:pt x="997" y="282"/>
                  </a:lnTo>
                  <a:lnTo>
                    <a:pt x="997" y="287"/>
                  </a:lnTo>
                  <a:lnTo>
                    <a:pt x="997" y="293"/>
                  </a:lnTo>
                  <a:lnTo>
                    <a:pt x="997" y="302"/>
                  </a:lnTo>
                  <a:lnTo>
                    <a:pt x="997" y="310"/>
                  </a:lnTo>
                  <a:lnTo>
                    <a:pt x="997" y="322"/>
                  </a:lnTo>
                  <a:lnTo>
                    <a:pt x="997" y="330"/>
                  </a:lnTo>
                  <a:lnTo>
                    <a:pt x="997" y="339"/>
                  </a:lnTo>
                  <a:lnTo>
                    <a:pt x="997" y="344"/>
                  </a:lnTo>
                  <a:lnTo>
                    <a:pt x="992" y="350"/>
                  </a:lnTo>
                  <a:lnTo>
                    <a:pt x="987" y="353"/>
                  </a:lnTo>
                  <a:lnTo>
                    <a:pt x="978" y="353"/>
                  </a:lnTo>
                  <a:lnTo>
                    <a:pt x="965" y="353"/>
                  </a:lnTo>
                  <a:lnTo>
                    <a:pt x="951" y="353"/>
                  </a:lnTo>
                  <a:lnTo>
                    <a:pt x="933" y="356"/>
                  </a:lnTo>
                  <a:lnTo>
                    <a:pt x="923" y="356"/>
                  </a:lnTo>
                  <a:lnTo>
                    <a:pt x="910" y="356"/>
                  </a:lnTo>
                  <a:lnTo>
                    <a:pt x="901" y="359"/>
                  </a:lnTo>
                  <a:lnTo>
                    <a:pt x="891" y="359"/>
                  </a:lnTo>
                  <a:lnTo>
                    <a:pt x="878" y="359"/>
                  </a:lnTo>
                  <a:lnTo>
                    <a:pt x="864" y="361"/>
                  </a:lnTo>
                  <a:lnTo>
                    <a:pt x="850" y="361"/>
                  </a:lnTo>
                  <a:lnTo>
                    <a:pt x="837" y="364"/>
                  </a:lnTo>
                  <a:lnTo>
                    <a:pt x="818" y="364"/>
                  </a:lnTo>
                  <a:lnTo>
                    <a:pt x="805" y="367"/>
                  </a:lnTo>
                  <a:lnTo>
                    <a:pt x="791" y="367"/>
                  </a:lnTo>
                  <a:lnTo>
                    <a:pt x="773" y="370"/>
                  </a:lnTo>
                  <a:lnTo>
                    <a:pt x="754" y="370"/>
                  </a:lnTo>
                  <a:lnTo>
                    <a:pt x="736" y="373"/>
                  </a:lnTo>
                  <a:lnTo>
                    <a:pt x="722" y="376"/>
                  </a:lnTo>
                  <a:lnTo>
                    <a:pt x="704" y="379"/>
                  </a:lnTo>
                  <a:lnTo>
                    <a:pt x="681" y="379"/>
                  </a:lnTo>
                  <a:lnTo>
                    <a:pt x="668" y="379"/>
                  </a:lnTo>
                  <a:lnTo>
                    <a:pt x="645" y="381"/>
                  </a:lnTo>
                  <a:lnTo>
                    <a:pt x="626" y="384"/>
                  </a:lnTo>
                  <a:lnTo>
                    <a:pt x="608" y="387"/>
                  </a:lnTo>
                  <a:lnTo>
                    <a:pt x="590" y="390"/>
                  </a:lnTo>
                  <a:lnTo>
                    <a:pt x="567" y="390"/>
                  </a:lnTo>
                  <a:lnTo>
                    <a:pt x="549" y="393"/>
                  </a:lnTo>
                  <a:lnTo>
                    <a:pt x="526" y="396"/>
                  </a:lnTo>
                  <a:lnTo>
                    <a:pt x="508" y="398"/>
                  </a:lnTo>
                  <a:lnTo>
                    <a:pt x="485" y="398"/>
                  </a:lnTo>
                  <a:lnTo>
                    <a:pt x="466" y="401"/>
                  </a:lnTo>
                  <a:lnTo>
                    <a:pt x="448" y="401"/>
                  </a:lnTo>
                  <a:lnTo>
                    <a:pt x="430" y="404"/>
                  </a:lnTo>
                  <a:lnTo>
                    <a:pt x="412" y="407"/>
                  </a:lnTo>
                  <a:lnTo>
                    <a:pt x="389" y="410"/>
                  </a:lnTo>
                  <a:lnTo>
                    <a:pt x="366" y="413"/>
                  </a:lnTo>
                  <a:lnTo>
                    <a:pt x="348" y="413"/>
                  </a:lnTo>
                  <a:lnTo>
                    <a:pt x="329" y="413"/>
                  </a:lnTo>
                  <a:lnTo>
                    <a:pt x="311" y="416"/>
                  </a:lnTo>
                  <a:lnTo>
                    <a:pt x="293" y="418"/>
                  </a:lnTo>
                  <a:lnTo>
                    <a:pt x="275" y="418"/>
                  </a:lnTo>
                  <a:lnTo>
                    <a:pt x="256" y="421"/>
                  </a:lnTo>
                  <a:lnTo>
                    <a:pt x="243" y="424"/>
                  </a:lnTo>
                  <a:lnTo>
                    <a:pt x="224" y="424"/>
                  </a:lnTo>
                  <a:lnTo>
                    <a:pt x="206" y="424"/>
                  </a:lnTo>
                  <a:lnTo>
                    <a:pt x="188" y="427"/>
                  </a:lnTo>
                  <a:lnTo>
                    <a:pt x="174" y="430"/>
                  </a:lnTo>
                  <a:lnTo>
                    <a:pt x="156" y="430"/>
                  </a:lnTo>
                  <a:lnTo>
                    <a:pt x="142" y="433"/>
                  </a:lnTo>
                  <a:lnTo>
                    <a:pt x="128" y="433"/>
                  </a:lnTo>
                  <a:lnTo>
                    <a:pt x="119" y="433"/>
                  </a:lnTo>
                  <a:lnTo>
                    <a:pt x="101" y="433"/>
                  </a:lnTo>
                  <a:lnTo>
                    <a:pt x="87" y="435"/>
                  </a:lnTo>
                  <a:lnTo>
                    <a:pt x="78" y="435"/>
                  </a:lnTo>
                  <a:lnTo>
                    <a:pt x="69" y="435"/>
                  </a:lnTo>
                  <a:lnTo>
                    <a:pt x="46" y="438"/>
                  </a:lnTo>
                  <a:lnTo>
                    <a:pt x="32" y="441"/>
                  </a:lnTo>
                  <a:lnTo>
                    <a:pt x="0" y="57"/>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19" name="Freeform 11"/>
            <p:cNvSpPr>
              <a:spLocks/>
            </p:cNvSpPr>
            <p:nvPr>
              <p:custDataLst>
                <p:tags r:id="rId218"/>
              </p:custDataLst>
            </p:nvPr>
          </p:nvSpPr>
          <p:spPr bwMode="gray">
            <a:xfrm>
              <a:off x="1134" y="1621"/>
              <a:ext cx="3424" cy="421"/>
            </a:xfrm>
            <a:custGeom>
              <a:avLst/>
              <a:gdLst>
                <a:gd name="T0" fmla="*/ 0 w 3341"/>
                <a:gd name="T1" fmla="*/ 5 h 461"/>
                <a:gd name="T2" fmla="*/ 9 w 3341"/>
                <a:gd name="T3" fmla="*/ 11 h 461"/>
                <a:gd name="T4" fmla="*/ 14 w 3341"/>
                <a:gd name="T5" fmla="*/ 16 h 461"/>
                <a:gd name="T6" fmla="*/ 18 w 3341"/>
                <a:gd name="T7" fmla="*/ 22 h 461"/>
                <a:gd name="T8" fmla="*/ 18 w 3341"/>
                <a:gd name="T9" fmla="*/ 26 h 461"/>
                <a:gd name="T10" fmla="*/ 49 w 3341"/>
                <a:gd name="T11" fmla="*/ 31 h 461"/>
                <a:gd name="T12" fmla="*/ 49 w 3341"/>
                <a:gd name="T13" fmla="*/ 37 h 461"/>
                <a:gd name="T14" fmla="*/ 145 w 3341"/>
                <a:gd name="T15" fmla="*/ 37 h 461"/>
                <a:gd name="T16" fmla="*/ 347 w 3341"/>
                <a:gd name="T17" fmla="*/ 37 h 461"/>
                <a:gd name="T18" fmla="*/ 614 w 3341"/>
                <a:gd name="T19" fmla="*/ 38 h 461"/>
                <a:gd name="T20" fmla="*/ 937 w 3341"/>
                <a:gd name="T21" fmla="*/ 40 h 461"/>
                <a:gd name="T22" fmla="*/ 1263 w 3341"/>
                <a:gd name="T23" fmla="*/ 40 h 461"/>
                <a:gd name="T24" fmla="*/ 1583 w 3341"/>
                <a:gd name="T25" fmla="*/ 42 h 461"/>
                <a:gd name="T26" fmla="*/ 1867 w 3341"/>
                <a:gd name="T27" fmla="*/ 42 h 461"/>
                <a:gd name="T28" fmla="*/ 2095 w 3341"/>
                <a:gd name="T29" fmla="*/ 43 h 461"/>
                <a:gd name="T30" fmla="*/ 2230 w 3341"/>
                <a:gd name="T31" fmla="*/ 43 h 461"/>
                <a:gd name="T32" fmla="*/ 2370 w 3341"/>
                <a:gd name="T33" fmla="*/ 43 h 461"/>
                <a:gd name="T34" fmla="*/ 2540 w 3341"/>
                <a:gd name="T35" fmla="*/ 43 h 461"/>
                <a:gd name="T36" fmla="*/ 2584 w 3341"/>
                <a:gd name="T37" fmla="*/ 40 h 461"/>
                <a:gd name="T38" fmla="*/ 2714 w 3341"/>
                <a:gd name="T39" fmla="*/ 35 h 461"/>
                <a:gd name="T40" fmla="*/ 2921 w 3341"/>
                <a:gd name="T41" fmla="*/ 31 h 461"/>
                <a:gd name="T42" fmla="*/ 3078 w 3341"/>
                <a:gd name="T43" fmla="*/ 28 h 461"/>
                <a:gd name="T44" fmla="*/ 3247 w 3341"/>
                <a:gd name="T45" fmla="*/ 27 h 461"/>
                <a:gd name="T46" fmla="*/ 3390 w 3341"/>
                <a:gd name="T47" fmla="*/ 26 h 461"/>
                <a:gd name="T48" fmla="*/ 3596 w 3341"/>
                <a:gd name="T49" fmla="*/ 26 h 461"/>
                <a:gd name="T50" fmla="*/ 3814 w 3341"/>
                <a:gd name="T51" fmla="*/ 28 h 461"/>
                <a:gd name="T52" fmla="*/ 3978 w 3341"/>
                <a:gd name="T53" fmla="*/ 31 h 461"/>
                <a:gd name="T54" fmla="*/ 4168 w 3341"/>
                <a:gd name="T55" fmla="*/ 36 h 461"/>
                <a:gd name="T56" fmla="*/ 4316 w 3341"/>
                <a:gd name="T57" fmla="*/ 41 h 461"/>
                <a:gd name="T58" fmla="*/ 4396 w 3341"/>
                <a:gd name="T59" fmla="*/ 44 h 461"/>
                <a:gd name="T60" fmla="*/ 4579 w 3341"/>
                <a:gd name="T61" fmla="*/ 43 h 461"/>
                <a:gd name="T62" fmla="*/ 4817 w 3341"/>
                <a:gd name="T63" fmla="*/ 42 h 461"/>
                <a:gd name="T64" fmla="*/ 5108 w 3341"/>
                <a:gd name="T65" fmla="*/ 40 h 461"/>
                <a:gd name="T66" fmla="*/ 5406 w 3341"/>
                <a:gd name="T67" fmla="*/ 40 h 461"/>
                <a:gd name="T68" fmla="*/ 5720 w 3341"/>
                <a:gd name="T69" fmla="*/ 39 h 461"/>
                <a:gd name="T70" fmla="*/ 5988 w 3341"/>
                <a:gd name="T71" fmla="*/ 38 h 461"/>
                <a:gd name="T72" fmla="*/ 6188 w 3341"/>
                <a:gd name="T73" fmla="*/ 37 h 461"/>
                <a:gd name="T74" fmla="*/ 6264 w 3341"/>
                <a:gd name="T75" fmla="*/ 0 h 461"/>
                <a:gd name="T76" fmla="*/ 6107 w 3341"/>
                <a:gd name="T77" fmla="*/ 5 h 461"/>
                <a:gd name="T78" fmla="*/ 5881 w 3341"/>
                <a:gd name="T79" fmla="*/ 5 h 461"/>
                <a:gd name="T80" fmla="*/ 5552 w 3341"/>
                <a:gd name="T81" fmla="*/ 5 h 461"/>
                <a:gd name="T82" fmla="*/ 5175 w 3341"/>
                <a:gd name="T83" fmla="*/ 5 h 461"/>
                <a:gd name="T84" fmla="*/ 4704 w 3341"/>
                <a:gd name="T85" fmla="*/ 7 h 461"/>
                <a:gd name="T86" fmla="*/ 4205 w 3341"/>
                <a:gd name="T87" fmla="*/ 9 h 461"/>
                <a:gd name="T88" fmla="*/ 3656 w 3341"/>
                <a:gd name="T89" fmla="*/ 11 h 461"/>
                <a:gd name="T90" fmla="*/ 3105 w 3341"/>
                <a:gd name="T91" fmla="*/ 12 h 461"/>
                <a:gd name="T92" fmla="*/ 2546 w 3341"/>
                <a:gd name="T93" fmla="*/ 12 h 461"/>
                <a:gd name="T94" fmla="*/ 2023 w 3341"/>
                <a:gd name="T95" fmla="*/ 11 h 461"/>
                <a:gd name="T96" fmla="*/ 1557 w 3341"/>
                <a:gd name="T97" fmla="*/ 10 h 461"/>
                <a:gd name="T98" fmla="*/ 1149 w 3341"/>
                <a:gd name="T99" fmla="*/ 8 h 461"/>
                <a:gd name="T100" fmla="*/ 794 w 3341"/>
                <a:gd name="T101" fmla="*/ 6 h 461"/>
                <a:gd name="T102" fmla="*/ 492 w 3341"/>
                <a:gd name="T103" fmla="*/ 5 h 461"/>
                <a:gd name="T104" fmla="*/ 271 w 3341"/>
                <a:gd name="T105" fmla="*/ 5 h 461"/>
                <a:gd name="T106" fmla="*/ 101 w 3341"/>
                <a:gd name="T107" fmla="*/ 5 h 46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41"/>
                <a:gd name="T163" fmla="*/ 0 h 461"/>
                <a:gd name="T164" fmla="*/ 3341 w 3341"/>
                <a:gd name="T165" fmla="*/ 461 h 46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41" h="461">
                  <a:moveTo>
                    <a:pt x="0" y="14"/>
                  </a:moveTo>
                  <a:lnTo>
                    <a:pt x="0" y="22"/>
                  </a:lnTo>
                  <a:lnTo>
                    <a:pt x="0" y="31"/>
                  </a:lnTo>
                  <a:lnTo>
                    <a:pt x="0" y="42"/>
                  </a:lnTo>
                  <a:lnTo>
                    <a:pt x="0" y="54"/>
                  </a:lnTo>
                  <a:lnTo>
                    <a:pt x="0" y="57"/>
                  </a:lnTo>
                  <a:lnTo>
                    <a:pt x="0" y="65"/>
                  </a:lnTo>
                  <a:lnTo>
                    <a:pt x="0" y="71"/>
                  </a:lnTo>
                  <a:lnTo>
                    <a:pt x="5" y="76"/>
                  </a:lnTo>
                  <a:lnTo>
                    <a:pt x="5" y="82"/>
                  </a:lnTo>
                  <a:lnTo>
                    <a:pt x="5" y="88"/>
                  </a:lnTo>
                  <a:lnTo>
                    <a:pt x="5" y="96"/>
                  </a:lnTo>
                  <a:lnTo>
                    <a:pt x="9" y="105"/>
                  </a:lnTo>
                  <a:lnTo>
                    <a:pt x="9" y="113"/>
                  </a:lnTo>
                  <a:lnTo>
                    <a:pt x="9" y="119"/>
                  </a:lnTo>
                  <a:lnTo>
                    <a:pt x="9" y="128"/>
                  </a:lnTo>
                  <a:lnTo>
                    <a:pt x="14" y="136"/>
                  </a:lnTo>
                  <a:lnTo>
                    <a:pt x="14" y="142"/>
                  </a:lnTo>
                  <a:lnTo>
                    <a:pt x="14" y="153"/>
                  </a:lnTo>
                  <a:lnTo>
                    <a:pt x="14" y="159"/>
                  </a:lnTo>
                  <a:lnTo>
                    <a:pt x="14" y="168"/>
                  </a:lnTo>
                  <a:lnTo>
                    <a:pt x="14" y="173"/>
                  </a:lnTo>
                  <a:lnTo>
                    <a:pt x="14" y="182"/>
                  </a:lnTo>
                  <a:lnTo>
                    <a:pt x="14" y="190"/>
                  </a:lnTo>
                  <a:lnTo>
                    <a:pt x="18" y="199"/>
                  </a:lnTo>
                  <a:lnTo>
                    <a:pt x="18" y="205"/>
                  </a:lnTo>
                  <a:lnTo>
                    <a:pt x="18" y="216"/>
                  </a:lnTo>
                  <a:lnTo>
                    <a:pt x="18" y="225"/>
                  </a:lnTo>
                  <a:lnTo>
                    <a:pt x="18" y="230"/>
                  </a:lnTo>
                  <a:lnTo>
                    <a:pt x="18" y="239"/>
                  </a:lnTo>
                  <a:lnTo>
                    <a:pt x="18" y="244"/>
                  </a:lnTo>
                  <a:lnTo>
                    <a:pt x="18" y="253"/>
                  </a:lnTo>
                  <a:lnTo>
                    <a:pt x="18" y="262"/>
                  </a:lnTo>
                  <a:lnTo>
                    <a:pt x="18" y="267"/>
                  </a:lnTo>
                  <a:lnTo>
                    <a:pt x="18" y="273"/>
                  </a:lnTo>
                  <a:lnTo>
                    <a:pt x="18" y="281"/>
                  </a:lnTo>
                  <a:lnTo>
                    <a:pt x="23" y="290"/>
                  </a:lnTo>
                  <a:lnTo>
                    <a:pt x="23" y="296"/>
                  </a:lnTo>
                  <a:lnTo>
                    <a:pt x="23" y="304"/>
                  </a:lnTo>
                  <a:lnTo>
                    <a:pt x="23" y="310"/>
                  </a:lnTo>
                  <a:lnTo>
                    <a:pt x="23" y="316"/>
                  </a:lnTo>
                  <a:lnTo>
                    <a:pt x="23" y="327"/>
                  </a:lnTo>
                  <a:lnTo>
                    <a:pt x="23" y="341"/>
                  </a:lnTo>
                  <a:lnTo>
                    <a:pt x="23" y="350"/>
                  </a:lnTo>
                  <a:lnTo>
                    <a:pt x="23" y="361"/>
                  </a:lnTo>
                  <a:lnTo>
                    <a:pt x="23" y="367"/>
                  </a:lnTo>
                  <a:lnTo>
                    <a:pt x="23" y="375"/>
                  </a:lnTo>
                  <a:lnTo>
                    <a:pt x="23" y="381"/>
                  </a:lnTo>
                  <a:lnTo>
                    <a:pt x="23" y="387"/>
                  </a:lnTo>
                  <a:lnTo>
                    <a:pt x="23" y="390"/>
                  </a:lnTo>
                  <a:lnTo>
                    <a:pt x="27" y="390"/>
                  </a:lnTo>
                  <a:lnTo>
                    <a:pt x="37" y="390"/>
                  </a:lnTo>
                  <a:lnTo>
                    <a:pt x="50" y="390"/>
                  </a:lnTo>
                  <a:lnTo>
                    <a:pt x="69" y="390"/>
                  </a:lnTo>
                  <a:lnTo>
                    <a:pt x="78" y="390"/>
                  </a:lnTo>
                  <a:lnTo>
                    <a:pt x="91" y="390"/>
                  </a:lnTo>
                  <a:lnTo>
                    <a:pt x="101" y="393"/>
                  </a:lnTo>
                  <a:lnTo>
                    <a:pt x="114" y="393"/>
                  </a:lnTo>
                  <a:lnTo>
                    <a:pt x="133" y="395"/>
                  </a:lnTo>
                  <a:lnTo>
                    <a:pt x="146" y="398"/>
                  </a:lnTo>
                  <a:lnTo>
                    <a:pt x="164" y="398"/>
                  </a:lnTo>
                  <a:lnTo>
                    <a:pt x="183" y="398"/>
                  </a:lnTo>
                  <a:lnTo>
                    <a:pt x="201" y="398"/>
                  </a:lnTo>
                  <a:lnTo>
                    <a:pt x="219" y="401"/>
                  </a:lnTo>
                  <a:lnTo>
                    <a:pt x="238" y="401"/>
                  </a:lnTo>
                  <a:lnTo>
                    <a:pt x="260" y="404"/>
                  </a:lnTo>
                  <a:lnTo>
                    <a:pt x="279" y="404"/>
                  </a:lnTo>
                  <a:lnTo>
                    <a:pt x="306" y="407"/>
                  </a:lnTo>
                  <a:lnTo>
                    <a:pt x="324" y="410"/>
                  </a:lnTo>
                  <a:lnTo>
                    <a:pt x="352" y="410"/>
                  </a:lnTo>
                  <a:lnTo>
                    <a:pt x="375" y="412"/>
                  </a:lnTo>
                  <a:lnTo>
                    <a:pt x="398" y="412"/>
                  </a:lnTo>
                  <a:lnTo>
                    <a:pt x="420" y="415"/>
                  </a:lnTo>
                  <a:lnTo>
                    <a:pt x="443" y="418"/>
                  </a:lnTo>
                  <a:lnTo>
                    <a:pt x="466" y="421"/>
                  </a:lnTo>
                  <a:lnTo>
                    <a:pt x="494" y="421"/>
                  </a:lnTo>
                  <a:lnTo>
                    <a:pt x="521" y="421"/>
                  </a:lnTo>
                  <a:lnTo>
                    <a:pt x="544" y="424"/>
                  </a:lnTo>
                  <a:lnTo>
                    <a:pt x="567" y="424"/>
                  </a:lnTo>
                  <a:lnTo>
                    <a:pt x="594" y="427"/>
                  </a:lnTo>
                  <a:lnTo>
                    <a:pt x="617" y="427"/>
                  </a:lnTo>
                  <a:lnTo>
                    <a:pt x="644" y="432"/>
                  </a:lnTo>
                  <a:lnTo>
                    <a:pt x="667" y="432"/>
                  </a:lnTo>
                  <a:lnTo>
                    <a:pt x="695" y="432"/>
                  </a:lnTo>
                  <a:lnTo>
                    <a:pt x="717" y="432"/>
                  </a:lnTo>
                  <a:lnTo>
                    <a:pt x="745" y="435"/>
                  </a:lnTo>
                  <a:lnTo>
                    <a:pt x="768" y="435"/>
                  </a:lnTo>
                  <a:lnTo>
                    <a:pt x="791" y="438"/>
                  </a:lnTo>
                  <a:lnTo>
                    <a:pt x="813" y="438"/>
                  </a:lnTo>
                  <a:lnTo>
                    <a:pt x="836" y="441"/>
                  </a:lnTo>
                  <a:lnTo>
                    <a:pt x="859" y="441"/>
                  </a:lnTo>
                  <a:lnTo>
                    <a:pt x="882" y="444"/>
                  </a:lnTo>
                  <a:lnTo>
                    <a:pt x="905" y="444"/>
                  </a:lnTo>
                  <a:lnTo>
                    <a:pt x="928" y="444"/>
                  </a:lnTo>
                  <a:lnTo>
                    <a:pt x="946" y="444"/>
                  </a:lnTo>
                  <a:lnTo>
                    <a:pt x="969" y="444"/>
                  </a:lnTo>
                  <a:lnTo>
                    <a:pt x="987" y="444"/>
                  </a:lnTo>
                  <a:lnTo>
                    <a:pt x="1005" y="447"/>
                  </a:lnTo>
                  <a:lnTo>
                    <a:pt x="1024" y="447"/>
                  </a:lnTo>
                  <a:lnTo>
                    <a:pt x="1042" y="449"/>
                  </a:lnTo>
                  <a:lnTo>
                    <a:pt x="1060" y="449"/>
                  </a:lnTo>
                  <a:lnTo>
                    <a:pt x="1074" y="452"/>
                  </a:lnTo>
                  <a:lnTo>
                    <a:pt x="1092" y="452"/>
                  </a:lnTo>
                  <a:lnTo>
                    <a:pt x="1106" y="452"/>
                  </a:lnTo>
                  <a:lnTo>
                    <a:pt x="1115" y="452"/>
                  </a:lnTo>
                  <a:lnTo>
                    <a:pt x="1129" y="452"/>
                  </a:lnTo>
                  <a:lnTo>
                    <a:pt x="1138" y="452"/>
                  </a:lnTo>
                  <a:lnTo>
                    <a:pt x="1147" y="452"/>
                  </a:lnTo>
                  <a:lnTo>
                    <a:pt x="1156" y="452"/>
                  </a:lnTo>
                  <a:lnTo>
                    <a:pt x="1165" y="452"/>
                  </a:lnTo>
                  <a:lnTo>
                    <a:pt x="1179" y="452"/>
                  </a:lnTo>
                  <a:lnTo>
                    <a:pt x="1188" y="452"/>
                  </a:lnTo>
                  <a:lnTo>
                    <a:pt x="1202" y="452"/>
                  </a:lnTo>
                  <a:lnTo>
                    <a:pt x="1211" y="452"/>
                  </a:lnTo>
                  <a:lnTo>
                    <a:pt x="1220" y="452"/>
                  </a:lnTo>
                  <a:lnTo>
                    <a:pt x="1234" y="452"/>
                  </a:lnTo>
                  <a:lnTo>
                    <a:pt x="1238" y="452"/>
                  </a:lnTo>
                  <a:lnTo>
                    <a:pt x="1252" y="452"/>
                  </a:lnTo>
                  <a:lnTo>
                    <a:pt x="1266" y="452"/>
                  </a:lnTo>
                  <a:lnTo>
                    <a:pt x="1280" y="452"/>
                  </a:lnTo>
                  <a:lnTo>
                    <a:pt x="1289" y="452"/>
                  </a:lnTo>
                  <a:lnTo>
                    <a:pt x="1302" y="452"/>
                  </a:lnTo>
                  <a:lnTo>
                    <a:pt x="1321" y="455"/>
                  </a:lnTo>
                  <a:lnTo>
                    <a:pt x="1334" y="455"/>
                  </a:lnTo>
                  <a:lnTo>
                    <a:pt x="1339" y="455"/>
                  </a:lnTo>
                  <a:lnTo>
                    <a:pt x="1344" y="458"/>
                  </a:lnTo>
                  <a:lnTo>
                    <a:pt x="1344" y="455"/>
                  </a:lnTo>
                  <a:lnTo>
                    <a:pt x="1344" y="452"/>
                  </a:lnTo>
                  <a:lnTo>
                    <a:pt x="1348" y="449"/>
                  </a:lnTo>
                  <a:lnTo>
                    <a:pt x="1353" y="444"/>
                  </a:lnTo>
                  <a:lnTo>
                    <a:pt x="1353" y="432"/>
                  </a:lnTo>
                  <a:lnTo>
                    <a:pt x="1366" y="424"/>
                  </a:lnTo>
                  <a:lnTo>
                    <a:pt x="1371" y="415"/>
                  </a:lnTo>
                  <a:lnTo>
                    <a:pt x="1389" y="404"/>
                  </a:lnTo>
                  <a:lnTo>
                    <a:pt x="1394" y="398"/>
                  </a:lnTo>
                  <a:lnTo>
                    <a:pt x="1403" y="393"/>
                  </a:lnTo>
                  <a:lnTo>
                    <a:pt x="1412" y="387"/>
                  </a:lnTo>
                  <a:lnTo>
                    <a:pt x="1421" y="381"/>
                  </a:lnTo>
                  <a:lnTo>
                    <a:pt x="1435" y="375"/>
                  </a:lnTo>
                  <a:lnTo>
                    <a:pt x="1449" y="367"/>
                  </a:lnTo>
                  <a:lnTo>
                    <a:pt x="1458" y="361"/>
                  </a:lnTo>
                  <a:lnTo>
                    <a:pt x="1476" y="356"/>
                  </a:lnTo>
                  <a:lnTo>
                    <a:pt x="1490" y="350"/>
                  </a:lnTo>
                  <a:lnTo>
                    <a:pt x="1508" y="341"/>
                  </a:lnTo>
                  <a:lnTo>
                    <a:pt x="1526" y="336"/>
                  </a:lnTo>
                  <a:lnTo>
                    <a:pt x="1545" y="327"/>
                  </a:lnTo>
                  <a:lnTo>
                    <a:pt x="1554" y="324"/>
                  </a:lnTo>
                  <a:lnTo>
                    <a:pt x="1568" y="321"/>
                  </a:lnTo>
                  <a:lnTo>
                    <a:pt x="1577" y="318"/>
                  </a:lnTo>
                  <a:lnTo>
                    <a:pt x="1590" y="316"/>
                  </a:lnTo>
                  <a:lnTo>
                    <a:pt x="1600" y="313"/>
                  </a:lnTo>
                  <a:lnTo>
                    <a:pt x="1613" y="310"/>
                  </a:lnTo>
                  <a:lnTo>
                    <a:pt x="1627" y="304"/>
                  </a:lnTo>
                  <a:lnTo>
                    <a:pt x="1641" y="304"/>
                  </a:lnTo>
                  <a:lnTo>
                    <a:pt x="1650" y="301"/>
                  </a:lnTo>
                  <a:lnTo>
                    <a:pt x="1663" y="296"/>
                  </a:lnTo>
                  <a:lnTo>
                    <a:pt x="1677" y="293"/>
                  </a:lnTo>
                  <a:lnTo>
                    <a:pt x="1686" y="293"/>
                  </a:lnTo>
                  <a:lnTo>
                    <a:pt x="1700" y="290"/>
                  </a:lnTo>
                  <a:lnTo>
                    <a:pt x="1714" y="287"/>
                  </a:lnTo>
                  <a:lnTo>
                    <a:pt x="1723" y="284"/>
                  </a:lnTo>
                  <a:lnTo>
                    <a:pt x="1732" y="284"/>
                  </a:lnTo>
                  <a:lnTo>
                    <a:pt x="1746" y="284"/>
                  </a:lnTo>
                  <a:lnTo>
                    <a:pt x="1755" y="281"/>
                  </a:lnTo>
                  <a:lnTo>
                    <a:pt x="1769" y="279"/>
                  </a:lnTo>
                  <a:lnTo>
                    <a:pt x="1782" y="279"/>
                  </a:lnTo>
                  <a:lnTo>
                    <a:pt x="1791" y="279"/>
                  </a:lnTo>
                  <a:lnTo>
                    <a:pt x="1801" y="279"/>
                  </a:lnTo>
                  <a:lnTo>
                    <a:pt x="1814" y="279"/>
                  </a:lnTo>
                  <a:lnTo>
                    <a:pt x="1823" y="279"/>
                  </a:lnTo>
                  <a:lnTo>
                    <a:pt x="1842" y="279"/>
                  </a:lnTo>
                  <a:lnTo>
                    <a:pt x="1860" y="279"/>
                  </a:lnTo>
                  <a:lnTo>
                    <a:pt x="1878" y="279"/>
                  </a:lnTo>
                  <a:lnTo>
                    <a:pt x="1901" y="281"/>
                  </a:lnTo>
                  <a:lnTo>
                    <a:pt x="1915" y="281"/>
                  </a:lnTo>
                  <a:lnTo>
                    <a:pt x="1933" y="284"/>
                  </a:lnTo>
                  <a:lnTo>
                    <a:pt x="1951" y="284"/>
                  </a:lnTo>
                  <a:lnTo>
                    <a:pt x="1970" y="290"/>
                  </a:lnTo>
                  <a:lnTo>
                    <a:pt x="1988" y="293"/>
                  </a:lnTo>
                  <a:lnTo>
                    <a:pt x="2002" y="296"/>
                  </a:lnTo>
                  <a:lnTo>
                    <a:pt x="2015" y="301"/>
                  </a:lnTo>
                  <a:lnTo>
                    <a:pt x="2034" y="304"/>
                  </a:lnTo>
                  <a:lnTo>
                    <a:pt x="2043" y="307"/>
                  </a:lnTo>
                  <a:lnTo>
                    <a:pt x="2057" y="313"/>
                  </a:lnTo>
                  <a:lnTo>
                    <a:pt x="2070" y="316"/>
                  </a:lnTo>
                  <a:lnTo>
                    <a:pt x="2084" y="321"/>
                  </a:lnTo>
                  <a:lnTo>
                    <a:pt x="2093" y="324"/>
                  </a:lnTo>
                  <a:lnTo>
                    <a:pt x="2102" y="330"/>
                  </a:lnTo>
                  <a:lnTo>
                    <a:pt x="2111" y="336"/>
                  </a:lnTo>
                  <a:lnTo>
                    <a:pt x="2125" y="338"/>
                  </a:lnTo>
                  <a:lnTo>
                    <a:pt x="2148" y="347"/>
                  </a:lnTo>
                  <a:lnTo>
                    <a:pt x="2162" y="356"/>
                  </a:lnTo>
                  <a:lnTo>
                    <a:pt x="2180" y="364"/>
                  </a:lnTo>
                  <a:lnTo>
                    <a:pt x="2189" y="373"/>
                  </a:lnTo>
                  <a:lnTo>
                    <a:pt x="2203" y="378"/>
                  </a:lnTo>
                  <a:lnTo>
                    <a:pt x="2216" y="390"/>
                  </a:lnTo>
                  <a:lnTo>
                    <a:pt x="2230" y="398"/>
                  </a:lnTo>
                  <a:lnTo>
                    <a:pt x="2239" y="404"/>
                  </a:lnTo>
                  <a:lnTo>
                    <a:pt x="2253" y="412"/>
                  </a:lnTo>
                  <a:lnTo>
                    <a:pt x="2262" y="424"/>
                  </a:lnTo>
                  <a:lnTo>
                    <a:pt x="2271" y="432"/>
                  </a:lnTo>
                  <a:lnTo>
                    <a:pt x="2280" y="438"/>
                  </a:lnTo>
                  <a:lnTo>
                    <a:pt x="2285" y="444"/>
                  </a:lnTo>
                  <a:lnTo>
                    <a:pt x="2290" y="449"/>
                  </a:lnTo>
                  <a:lnTo>
                    <a:pt x="2299" y="458"/>
                  </a:lnTo>
                  <a:lnTo>
                    <a:pt x="2299" y="461"/>
                  </a:lnTo>
                  <a:lnTo>
                    <a:pt x="2303" y="461"/>
                  </a:lnTo>
                  <a:lnTo>
                    <a:pt x="2312" y="461"/>
                  </a:lnTo>
                  <a:lnTo>
                    <a:pt x="2322" y="461"/>
                  </a:lnTo>
                  <a:lnTo>
                    <a:pt x="2340" y="458"/>
                  </a:lnTo>
                  <a:lnTo>
                    <a:pt x="2349" y="455"/>
                  </a:lnTo>
                  <a:lnTo>
                    <a:pt x="2363" y="455"/>
                  </a:lnTo>
                  <a:lnTo>
                    <a:pt x="2372" y="455"/>
                  </a:lnTo>
                  <a:lnTo>
                    <a:pt x="2386" y="455"/>
                  </a:lnTo>
                  <a:lnTo>
                    <a:pt x="2404" y="452"/>
                  </a:lnTo>
                  <a:lnTo>
                    <a:pt x="2418" y="452"/>
                  </a:lnTo>
                  <a:lnTo>
                    <a:pt x="2436" y="452"/>
                  </a:lnTo>
                  <a:lnTo>
                    <a:pt x="2454" y="452"/>
                  </a:lnTo>
                  <a:lnTo>
                    <a:pt x="2472" y="449"/>
                  </a:lnTo>
                  <a:lnTo>
                    <a:pt x="2486" y="447"/>
                  </a:lnTo>
                  <a:lnTo>
                    <a:pt x="2504" y="444"/>
                  </a:lnTo>
                  <a:lnTo>
                    <a:pt x="2523" y="444"/>
                  </a:lnTo>
                  <a:lnTo>
                    <a:pt x="2546" y="444"/>
                  </a:lnTo>
                  <a:lnTo>
                    <a:pt x="2564" y="444"/>
                  </a:lnTo>
                  <a:lnTo>
                    <a:pt x="2587" y="441"/>
                  </a:lnTo>
                  <a:lnTo>
                    <a:pt x="2610" y="441"/>
                  </a:lnTo>
                  <a:lnTo>
                    <a:pt x="2628" y="438"/>
                  </a:lnTo>
                  <a:lnTo>
                    <a:pt x="2651" y="438"/>
                  </a:lnTo>
                  <a:lnTo>
                    <a:pt x="2678" y="432"/>
                  </a:lnTo>
                  <a:lnTo>
                    <a:pt x="2696" y="432"/>
                  </a:lnTo>
                  <a:lnTo>
                    <a:pt x="2719" y="432"/>
                  </a:lnTo>
                  <a:lnTo>
                    <a:pt x="2747" y="432"/>
                  </a:lnTo>
                  <a:lnTo>
                    <a:pt x="2765" y="430"/>
                  </a:lnTo>
                  <a:lnTo>
                    <a:pt x="2792" y="430"/>
                  </a:lnTo>
                  <a:lnTo>
                    <a:pt x="2815" y="427"/>
                  </a:lnTo>
                  <a:lnTo>
                    <a:pt x="2838" y="424"/>
                  </a:lnTo>
                  <a:lnTo>
                    <a:pt x="2856" y="424"/>
                  </a:lnTo>
                  <a:lnTo>
                    <a:pt x="2884" y="421"/>
                  </a:lnTo>
                  <a:lnTo>
                    <a:pt x="2907" y="421"/>
                  </a:lnTo>
                  <a:lnTo>
                    <a:pt x="2929" y="421"/>
                  </a:lnTo>
                  <a:lnTo>
                    <a:pt x="2952" y="418"/>
                  </a:lnTo>
                  <a:lnTo>
                    <a:pt x="2980" y="415"/>
                  </a:lnTo>
                  <a:lnTo>
                    <a:pt x="2998" y="412"/>
                  </a:lnTo>
                  <a:lnTo>
                    <a:pt x="3021" y="412"/>
                  </a:lnTo>
                  <a:lnTo>
                    <a:pt x="3039" y="412"/>
                  </a:lnTo>
                  <a:lnTo>
                    <a:pt x="3062" y="410"/>
                  </a:lnTo>
                  <a:lnTo>
                    <a:pt x="3085" y="410"/>
                  </a:lnTo>
                  <a:lnTo>
                    <a:pt x="3103" y="410"/>
                  </a:lnTo>
                  <a:lnTo>
                    <a:pt x="3126" y="404"/>
                  </a:lnTo>
                  <a:lnTo>
                    <a:pt x="3144" y="404"/>
                  </a:lnTo>
                  <a:lnTo>
                    <a:pt x="3162" y="404"/>
                  </a:lnTo>
                  <a:lnTo>
                    <a:pt x="3181" y="401"/>
                  </a:lnTo>
                  <a:lnTo>
                    <a:pt x="3199" y="401"/>
                  </a:lnTo>
                  <a:lnTo>
                    <a:pt x="3213" y="401"/>
                  </a:lnTo>
                  <a:lnTo>
                    <a:pt x="3231" y="398"/>
                  </a:lnTo>
                  <a:lnTo>
                    <a:pt x="3245" y="398"/>
                  </a:lnTo>
                  <a:lnTo>
                    <a:pt x="3258" y="398"/>
                  </a:lnTo>
                  <a:lnTo>
                    <a:pt x="3272" y="398"/>
                  </a:lnTo>
                  <a:lnTo>
                    <a:pt x="3281" y="398"/>
                  </a:lnTo>
                  <a:lnTo>
                    <a:pt x="3295" y="398"/>
                  </a:lnTo>
                  <a:lnTo>
                    <a:pt x="3304" y="398"/>
                  </a:lnTo>
                  <a:lnTo>
                    <a:pt x="3313" y="398"/>
                  </a:lnTo>
                  <a:lnTo>
                    <a:pt x="3332" y="398"/>
                  </a:lnTo>
                  <a:lnTo>
                    <a:pt x="3341" y="398"/>
                  </a:lnTo>
                  <a:lnTo>
                    <a:pt x="3309" y="0"/>
                  </a:lnTo>
                  <a:lnTo>
                    <a:pt x="3304" y="0"/>
                  </a:lnTo>
                  <a:lnTo>
                    <a:pt x="3295" y="0"/>
                  </a:lnTo>
                  <a:lnTo>
                    <a:pt x="3281" y="0"/>
                  </a:lnTo>
                  <a:lnTo>
                    <a:pt x="3263" y="2"/>
                  </a:lnTo>
                  <a:lnTo>
                    <a:pt x="3254" y="2"/>
                  </a:lnTo>
                  <a:lnTo>
                    <a:pt x="3245" y="5"/>
                  </a:lnTo>
                  <a:lnTo>
                    <a:pt x="3226" y="8"/>
                  </a:lnTo>
                  <a:lnTo>
                    <a:pt x="3213" y="8"/>
                  </a:lnTo>
                  <a:lnTo>
                    <a:pt x="3199" y="11"/>
                  </a:lnTo>
                  <a:lnTo>
                    <a:pt x="3181" y="14"/>
                  </a:lnTo>
                  <a:lnTo>
                    <a:pt x="3162" y="14"/>
                  </a:lnTo>
                  <a:lnTo>
                    <a:pt x="3144" y="17"/>
                  </a:lnTo>
                  <a:lnTo>
                    <a:pt x="3126" y="19"/>
                  </a:lnTo>
                  <a:lnTo>
                    <a:pt x="3108" y="19"/>
                  </a:lnTo>
                  <a:lnTo>
                    <a:pt x="3085" y="22"/>
                  </a:lnTo>
                  <a:lnTo>
                    <a:pt x="3062" y="25"/>
                  </a:lnTo>
                  <a:lnTo>
                    <a:pt x="3039" y="25"/>
                  </a:lnTo>
                  <a:lnTo>
                    <a:pt x="3012" y="31"/>
                  </a:lnTo>
                  <a:lnTo>
                    <a:pt x="2989" y="34"/>
                  </a:lnTo>
                  <a:lnTo>
                    <a:pt x="2966" y="34"/>
                  </a:lnTo>
                  <a:lnTo>
                    <a:pt x="2934" y="37"/>
                  </a:lnTo>
                  <a:lnTo>
                    <a:pt x="2907" y="42"/>
                  </a:lnTo>
                  <a:lnTo>
                    <a:pt x="2879" y="45"/>
                  </a:lnTo>
                  <a:lnTo>
                    <a:pt x="2852" y="48"/>
                  </a:lnTo>
                  <a:lnTo>
                    <a:pt x="2820" y="48"/>
                  </a:lnTo>
                  <a:lnTo>
                    <a:pt x="2792" y="54"/>
                  </a:lnTo>
                  <a:lnTo>
                    <a:pt x="2760" y="57"/>
                  </a:lnTo>
                  <a:lnTo>
                    <a:pt x="2733" y="59"/>
                  </a:lnTo>
                  <a:lnTo>
                    <a:pt x="2696" y="62"/>
                  </a:lnTo>
                  <a:lnTo>
                    <a:pt x="2660" y="65"/>
                  </a:lnTo>
                  <a:lnTo>
                    <a:pt x="2628" y="68"/>
                  </a:lnTo>
                  <a:lnTo>
                    <a:pt x="2591" y="68"/>
                  </a:lnTo>
                  <a:lnTo>
                    <a:pt x="2559" y="71"/>
                  </a:lnTo>
                  <a:lnTo>
                    <a:pt x="2523" y="76"/>
                  </a:lnTo>
                  <a:lnTo>
                    <a:pt x="2486" y="76"/>
                  </a:lnTo>
                  <a:lnTo>
                    <a:pt x="2450" y="79"/>
                  </a:lnTo>
                  <a:lnTo>
                    <a:pt x="2413" y="79"/>
                  </a:lnTo>
                  <a:lnTo>
                    <a:pt x="2376" y="85"/>
                  </a:lnTo>
                  <a:lnTo>
                    <a:pt x="2335" y="85"/>
                  </a:lnTo>
                  <a:lnTo>
                    <a:pt x="2299" y="88"/>
                  </a:lnTo>
                  <a:lnTo>
                    <a:pt x="2258" y="88"/>
                  </a:lnTo>
                  <a:lnTo>
                    <a:pt x="2221" y="94"/>
                  </a:lnTo>
                  <a:lnTo>
                    <a:pt x="2180" y="96"/>
                  </a:lnTo>
                  <a:lnTo>
                    <a:pt x="2143" y="99"/>
                  </a:lnTo>
                  <a:lnTo>
                    <a:pt x="2098" y="99"/>
                  </a:lnTo>
                  <a:lnTo>
                    <a:pt x="2057" y="102"/>
                  </a:lnTo>
                  <a:lnTo>
                    <a:pt x="2015" y="102"/>
                  </a:lnTo>
                  <a:lnTo>
                    <a:pt x="1979" y="105"/>
                  </a:lnTo>
                  <a:lnTo>
                    <a:pt x="1933" y="108"/>
                  </a:lnTo>
                  <a:lnTo>
                    <a:pt x="1892" y="111"/>
                  </a:lnTo>
                  <a:lnTo>
                    <a:pt x="1855" y="111"/>
                  </a:lnTo>
                  <a:lnTo>
                    <a:pt x="1810" y="113"/>
                  </a:lnTo>
                  <a:lnTo>
                    <a:pt x="1769" y="113"/>
                  </a:lnTo>
                  <a:lnTo>
                    <a:pt x="1723" y="113"/>
                  </a:lnTo>
                  <a:lnTo>
                    <a:pt x="1682" y="113"/>
                  </a:lnTo>
                  <a:lnTo>
                    <a:pt x="1641" y="116"/>
                  </a:lnTo>
                  <a:lnTo>
                    <a:pt x="1595" y="116"/>
                  </a:lnTo>
                  <a:lnTo>
                    <a:pt x="1558" y="119"/>
                  </a:lnTo>
                  <a:lnTo>
                    <a:pt x="1513" y="119"/>
                  </a:lnTo>
                  <a:lnTo>
                    <a:pt x="1472" y="119"/>
                  </a:lnTo>
                  <a:lnTo>
                    <a:pt x="1426" y="119"/>
                  </a:lnTo>
                  <a:lnTo>
                    <a:pt x="1389" y="119"/>
                  </a:lnTo>
                  <a:lnTo>
                    <a:pt x="1344" y="116"/>
                  </a:lnTo>
                  <a:lnTo>
                    <a:pt x="1302" y="116"/>
                  </a:lnTo>
                  <a:lnTo>
                    <a:pt x="1266" y="113"/>
                  </a:lnTo>
                  <a:lnTo>
                    <a:pt x="1225" y="113"/>
                  </a:lnTo>
                  <a:lnTo>
                    <a:pt x="1184" y="113"/>
                  </a:lnTo>
                  <a:lnTo>
                    <a:pt x="1147" y="113"/>
                  </a:lnTo>
                  <a:lnTo>
                    <a:pt x="1111" y="111"/>
                  </a:lnTo>
                  <a:lnTo>
                    <a:pt x="1069" y="111"/>
                  </a:lnTo>
                  <a:lnTo>
                    <a:pt x="1033" y="108"/>
                  </a:lnTo>
                  <a:lnTo>
                    <a:pt x="996" y="108"/>
                  </a:lnTo>
                  <a:lnTo>
                    <a:pt x="964" y="102"/>
                  </a:lnTo>
                  <a:lnTo>
                    <a:pt x="928" y="102"/>
                  </a:lnTo>
                  <a:lnTo>
                    <a:pt x="891" y="102"/>
                  </a:lnTo>
                  <a:lnTo>
                    <a:pt x="855" y="102"/>
                  </a:lnTo>
                  <a:lnTo>
                    <a:pt x="823" y="99"/>
                  </a:lnTo>
                  <a:lnTo>
                    <a:pt x="791" y="96"/>
                  </a:lnTo>
                  <a:lnTo>
                    <a:pt x="759" y="94"/>
                  </a:lnTo>
                  <a:lnTo>
                    <a:pt x="727" y="91"/>
                  </a:lnTo>
                  <a:lnTo>
                    <a:pt x="695" y="88"/>
                  </a:lnTo>
                  <a:lnTo>
                    <a:pt x="667" y="88"/>
                  </a:lnTo>
                  <a:lnTo>
                    <a:pt x="635" y="85"/>
                  </a:lnTo>
                  <a:lnTo>
                    <a:pt x="608" y="85"/>
                  </a:lnTo>
                  <a:lnTo>
                    <a:pt x="580" y="79"/>
                  </a:lnTo>
                  <a:lnTo>
                    <a:pt x="544" y="76"/>
                  </a:lnTo>
                  <a:lnTo>
                    <a:pt x="521" y="76"/>
                  </a:lnTo>
                  <a:lnTo>
                    <a:pt x="494" y="76"/>
                  </a:lnTo>
                  <a:lnTo>
                    <a:pt x="466" y="71"/>
                  </a:lnTo>
                  <a:lnTo>
                    <a:pt x="443" y="68"/>
                  </a:lnTo>
                  <a:lnTo>
                    <a:pt x="420" y="68"/>
                  </a:lnTo>
                  <a:lnTo>
                    <a:pt x="398" y="68"/>
                  </a:lnTo>
                  <a:lnTo>
                    <a:pt x="366" y="65"/>
                  </a:lnTo>
                  <a:lnTo>
                    <a:pt x="347" y="59"/>
                  </a:lnTo>
                  <a:lnTo>
                    <a:pt x="324" y="57"/>
                  </a:lnTo>
                  <a:lnTo>
                    <a:pt x="306" y="57"/>
                  </a:lnTo>
                  <a:lnTo>
                    <a:pt x="279" y="54"/>
                  </a:lnTo>
                  <a:lnTo>
                    <a:pt x="260" y="51"/>
                  </a:lnTo>
                  <a:lnTo>
                    <a:pt x="238" y="48"/>
                  </a:lnTo>
                  <a:lnTo>
                    <a:pt x="224" y="45"/>
                  </a:lnTo>
                  <a:lnTo>
                    <a:pt x="201" y="42"/>
                  </a:lnTo>
                  <a:lnTo>
                    <a:pt x="187" y="42"/>
                  </a:lnTo>
                  <a:lnTo>
                    <a:pt x="169" y="37"/>
                  </a:lnTo>
                  <a:lnTo>
                    <a:pt x="160" y="37"/>
                  </a:lnTo>
                  <a:lnTo>
                    <a:pt x="142" y="34"/>
                  </a:lnTo>
                  <a:lnTo>
                    <a:pt x="128" y="34"/>
                  </a:lnTo>
                  <a:lnTo>
                    <a:pt x="114" y="31"/>
                  </a:lnTo>
                  <a:lnTo>
                    <a:pt x="101" y="31"/>
                  </a:lnTo>
                  <a:lnTo>
                    <a:pt x="87" y="25"/>
                  </a:lnTo>
                  <a:lnTo>
                    <a:pt x="78" y="25"/>
                  </a:lnTo>
                  <a:lnTo>
                    <a:pt x="64" y="25"/>
                  </a:lnTo>
                  <a:lnTo>
                    <a:pt x="55" y="22"/>
                  </a:lnTo>
                  <a:lnTo>
                    <a:pt x="37" y="19"/>
                  </a:lnTo>
                  <a:lnTo>
                    <a:pt x="23" y="19"/>
                  </a:lnTo>
                  <a:lnTo>
                    <a:pt x="14" y="14"/>
                  </a:lnTo>
                  <a:lnTo>
                    <a:pt x="0" y="1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20" name="Freeform 12"/>
            <p:cNvSpPr>
              <a:spLocks/>
            </p:cNvSpPr>
            <p:nvPr>
              <p:custDataLst>
                <p:tags r:id="rId219"/>
              </p:custDataLst>
            </p:nvPr>
          </p:nvSpPr>
          <p:spPr bwMode="gray">
            <a:xfrm>
              <a:off x="904" y="576"/>
              <a:ext cx="3795" cy="815"/>
            </a:xfrm>
            <a:custGeom>
              <a:avLst/>
              <a:gdLst>
                <a:gd name="T0" fmla="*/ 2847 w 3702"/>
                <a:gd name="T1" fmla="*/ 7 h 892"/>
                <a:gd name="T2" fmla="*/ 2498 w 3702"/>
                <a:gd name="T3" fmla="*/ 14 h 892"/>
                <a:gd name="T4" fmla="*/ 2150 w 3702"/>
                <a:gd name="T5" fmla="*/ 22 h 892"/>
                <a:gd name="T6" fmla="*/ 1810 w 3702"/>
                <a:gd name="T7" fmla="*/ 29 h 892"/>
                <a:gd name="T8" fmla="*/ 1483 w 3702"/>
                <a:gd name="T9" fmla="*/ 37 h 892"/>
                <a:gd name="T10" fmla="*/ 1167 w 3702"/>
                <a:gd name="T11" fmla="*/ 44 h 892"/>
                <a:gd name="T12" fmla="*/ 883 w 3702"/>
                <a:gd name="T13" fmla="*/ 53 h 892"/>
                <a:gd name="T14" fmla="*/ 618 w 3702"/>
                <a:gd name="T15" fmla="*/ 58 h 892"/>
                <a:gd name="T16" fmla="*/ 391 w 3702"/>
                <a:gd name="T17" fmla="*/ 65 h 892"/>
                <a:gd name="T18" fmla="*/ 216 w 3702"/>
                <a:gd name="T19" fmla="*/ 70 h 892"/>
                <a:gd name="T20" fmla="*/ 84 w 3702"/>
                <a:gd name="T21" fmla="*/ 77 h 892"/>
                <a:gd name="T22" fmla="*/ 0 w 3702"/>
                <a:gd name="T23" fmla="*/ 79 h 892"/>
                <a:gd name="T24" fmla="*/ 74 w 3702"/>
                <a:gd name="T25" fmla="*/ 80 h 892"/>
                <a:gd name="T26" fmla="*/ 201 w 3702"/>
                <a:gd name="T27" fmla="*/ 80 h 892"/>
                <a:gd name="T28" fmla="*/ 391 w 3702"/>
                <a:gd name="T29" fmla="*/ 82 h 892"/>
                <a:gd name="T30" fmla="*/ 618 w 3702"/>
                <a:gd name="T31" fmla="*/ 82 h 892"/>
                <a:gd name="T32" fmla="*/ 883 w 3702"/>
                <a:gd name="T33" fmla="*/ 84 h 892"/>
                <a:gd name="T34" fmla="*/ 1195 w 3702"/>
                <a:gd name="T35" fmla="*/ 84 h 892"/>
                <a:gd name="T36" fmla="*/ 1525 w 3702"/>
                <a:gd name="T37" fmla="*/ 84 h 892"/>
                <a:gd name="T38" fmla="*/ 1882 w 3702"/>
                <a:gd name="T39" fmla="*/ 84 h 892"/>
                <a:gd name="T40" fmla="*/ 2255 w 3702"/>
                <a:gd name="T41" fmla="*/ 84 h 892"/>
                <a:gd name="T42" fmla="*/ 2640 w 3702"/>
                <a:gd name="T43" fmla="*/ 84 h 892"/>
                <a:gd name="T44" fmla="*/ 3030 w 3702"/>
                <a:gd name="T45" fmla="*/ 84 h 892"/>
                <a:gd name="T46" fmla="*/ 3417 w 3702"/>
                <a:gd name="T47" fmla="*/ 84 h 892"/>
                <a:gd name="T48" fmla="*/ 3798 w 3702"/>
                <a:gd name="T49" fmla="*/ 84 h 892"/>
                <a:gd name="T50" fmla="*/ 4189 w 3702"/>
                <a:gd name="T51" fmla="*/ 82 h 892"/>
                <a:gd name="T52" fmla="*/ 4579 w 3702"/>
                <a:gd name="T53" fmla="*/ 81 h 892"/>
                <a:gd name="T54" fmla="*/ 4965 w 3702"/>
                <a:gd name="T55" fmla="*/ 79 h 892"/>
                <a:gd name="T56" fmla="*/ 5320 w 3702"/>
                <a:gd name="T57" fmla="*/ 77 h 892"/>
                <a:gd name="T58" fmla="*/ 5681 w 3702"/>
                <a:gd name="T59" fmla="*/ 77 h 892"/>
                <a:gd name="T60" fmla="*/ 6009 w 3702"/>
                <a:gd name="T61" fmla="*/ 77 h 892"/>
                <a:gd name="T62" fmla="*/ 6297 w 3702"/>
                <a:gd name="T63" fmla="*/ 73 h 892"/>
                <a:gd name="T64" fmla="*/ 6551 w 3702"/>
                <a:gd name="T65" fmla="*/ 72 h 892"/>
                <a:gd name="T66" fmla="*/ 6759 w 3702"/>
                <a:gd name="T67" fmla="*/ 70 h 892"/>
                <a:gd name="T68" fmla="*/ 6915 w 3702"/>
                <a:gd name="T69" fmla="*/ 70 h 892"/>
                <a:gd name="T70" fmla="*/ 7030 w 3702"/>
                <a:gd name="T71" fmla="*/ 70 h 892"/>
                <a:gd name="T72" fmla="*/ 6993 w 3702"/>
                <a:gd name="T73" fmla="*/ 67 h 892"/>
                <a:gd name="T74" fmla="*/ 6863 w 3702"/>
                <a:gd name="T75" fmla="*/ 64 h 892"/>
                <a:gd name="T76" fmla="*/ 6674 w 3702"/>
                <a:gd name="T77" fmla="*/ 60 h 892"/>
                <a:gd name="T78" fmla="*/ 6435 w 3702"/>
                <a:gd name="T79" fmla="*/ 56 h 892"/>
                <a:gd name="T80" fmla="*/ 6166 w 3702"/>
                <a:gd name="T81" fmla="*/ 49 h 892"/>
                <a:gd name="T82" fmla="*/ 5862 w 3702"/>
                <a:gd name="T83" fmla="*/ 44 h 892"/>
                <a:gd name="T84" fmla="*/ 5558 w 3702"/>
                <a:gd name="T85" fmla="*/ 37 h 892"/>
                <a:gd name="T86" fmla="*/ 5235 w 3702"/>
                <a:gd name="T87" fmla="*/ 31 h 892"/>
                <a:gd name="T88" fmla="*/ 4937 w 3702"/>
                <a:gd name="T89" fmla="*/ 25 h 892"/>
                <a:gd name="T90" fmla="*/ 4654 w 3702"/>
                <a:gd name="T91" fmla="*/ 18 h 892"/>
                <a:gd name="T92" fmla="*/ 4398 w 3702"/>
                <a:gd name="T93" fmla="*/ 14 h 892"/>
                <a:gd name="T94" fmla="*/ 4199 w 3702"/>
                <a:gd name="T95" fmla="*/ 10 h 892"/>
                <a:gd name="T96" fmla="*/ 4050 w 3702"/>
                <a:gd name="T97" fmla="*/ 5 h 892"/>
                <a:gd name="T98" fmla="*/ 3928 w 3702"/>
                <a:gd name="T99" fmla="*/ 5 h 892"/>
                <a:gd name="T100" fmla="*/ 3824 w 3702"/>
                <a:gd name="T101" fmla="*/ 5 h 892"/>
                <a:gd name="T102" fmla="*/ 3711 w 3702"/>
                <a:gd name="T103" fmla="*/ 5 h 892"/>
                <a:gd name="T104" fmla="*/ 3607 w 3702"/>
                <a:gd name="T105" fmla="*/ 5 h 892"/>
                <a:gd name="T106" fmla="*/ 3422 w 3702"/>
                <a:gd name="T107" fmla="*/ 0 h 892"/>
                <a:gd name="T108" fmla="*/ 3273 w 3702"/>
                <a:gd name="T109" fmla="*/ 5 h 892"/>
                <a:gd name="T110" fmla="*/ 3154 w 3702"/>
                <a:gd name="T111" fmla="*/ 5 h 8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702"/>
                <a:gd name="T169" fmla="*/ 0 h 892"/>
                <a:gd name="T170" fmla="*/ 3702 w 3702"/>
                <a:gd name="T171" fmla="*/ 892 h 8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702" h="892">
                  <a:moveTo>
                    <a:pt x="1632" y="26"/>
                  </a:moveTo>
                  <a:lnTo>
                    <a:pt x="1595" y="35"/>
                  </a:lnTo>
                  <a:lnTo>
                    <a:pt x="1563" y="49"/>
                  </a:lnTo>
                  <a:lnTo>
                    <a:pt x="1526" y="63"/>
                  </a:lnTo>
                  <a:lnTo>
                    <a:pt x="1494" y="77"/>
                  </a:lnTo>
                  <a:lnTo>
                    <a:pt x="1453" y="89"/>
                  </a:lnTo>
                  <a:lnTo>
                    <a:pt x="1421" y="103"/>
                  </a:lnTo>
                  <a:lnTo>
                    <a:pt x="1380" y="117"/>
                  </a:lnTo>
                  <a:lnTo>
                    <a:pt x="1348" y="131"/>
                  </a:lnTo>
                  <a:lnTo>
                    <a:pt x="1312" y="149"/>
                  </a:lnTo>
                  <a:lnTo>
                    <a:pt x="1275" y="160"/>
                  </a:lnTo>
                  <a:lnTo>
                    <a:pt x="1239" y="174"/>
                  </a:lnTo>
                  <a:lnTo>
                    <a:pt x="1202" y="191"/>
                  </a:lnTo>
                  <a:lnTo>
                    <a:pt x="1165" y="208"/>
                  </a:lnTo>
                  <a:lnTo>
                    <a:pt x="1129" y="225"/>
                  </a:lnTo>
                  <a:lnTo>
                    <a:pt x="1097" y="240"/>
                  </a:lnTo>
                  <a:lnTo>
                    <a:pt x="1060" y="257"/>
                  </a:lnTo>
                  <a:lnTo>
                    <a:pt x="1024" y="274"/>
                  </a:lnTo>
                  <a:lnTo>
                    <a:pt x="987" y="288"/>
                  </a:lnTo>
                  <a:lnTo>
                    <a:pt x="951" y="305"/>
                  </a:lnTo>
                  <a:lnTo>
                    <a:pt x="919" y="322"/>
                  </a:lnTo>
                  <a:lnTo>
                    <a:pt x="877" y="339"/>
                  </a:lnTo>
                  <a:lnTo>
                    <a:pt x="846" y="354"/>
                  </a:lnTo>
                  <a:lnTo>
                    <a:pt x="814" y="371"/>
                  </a:lnTo>
                  <a:lnTo>
                    <a:pt x="777" y="388"/>
                  </a:lnTo>
                  <a:lnTo>
                    <a:pt x="745" y="408"/>
                  </a:lnTo>
                  <a:lnTo>
                    <a:pt x="713" y="422"/>
                  </a:lnTo>
                  <a:lnTo>
                    <a:pt x="681" y="439"/>
                  </a:lnTo>
                  <a:lnTo>
                    <a:pt x="644" y="456"/>
                  </a:lnTo>
                  <a:lnTo>
                    <a:pt x="612" y="470"/>
                  </a:lnTo>
                  <a:lnTo>
                    <a:pt x="580" y="487"/>
                  </a:lnTo>
                  <a:lnTo>
                    <a:pt x="548" y="504"/>
                  </a:lnTo>
                  <a:lnTo>
                    <a:pt x="526" y="519"/>
                  </a:lnTo>
                  <a:lnTo>
                    <a:pt x="494" y="536"/>
                  </a:lnTo>
                  <a:lnTo>
                    <a:pt x="462" y="550"/>
                  </a:lnTo>
                  <a:lnTo>
                    <a:pt x="434" y="564"/>
                  </a:lnTo>
                  <a:lnTo>
                    <a:pt x="407" y="579"/>
                  </a:lnTo>
                  <a:lnTo>
                    <a:pt x="379" y="593"/>
                  </a:lnTo>
                  <a:lnTo>
                    <a:pt x="352" y="607"/>
                  </a:lnTo>
                  <a:lnTo>
                    <a:pt x="325" y="621"/>
                  </a:lnTo>
                  <a:lnTo>
                    <a:pt x="302" y="638"/>
                  </a:lnTo>
                  <a:lnTo>
                    <a:pt x="274" y="650"/>
                  </a:lnTo>
                  <a:lnTo>
                    <a:pt x="251" y="664"/>
                  </a:lnTo>
                  <a:lnTo>
                    <a:pt x="229" y="675"/>
                  </a:lnTo>
                  <a:lnTo>
                    <a:pt x="206" y="687"/>
                  </a:lnTo>
                  <a:lnTo>
                    <a:pt x="187" y="701"/>
                  </a:lnTo>
                  <a:lnTo>
                    <a:pt x="169" y="712"/>
                  </a:lnTo>
                  <a:lnTo>
                    <a:pt x="146" y="724"/>
                  </a:lnTo>
                  <a:lnTo>
                    <a:pt x="133" y="735"/>
                  </a:lnTo>
                  <a:lnTo>
                    <a:pt x="114" y="744"/>
                  </a:lnTo>
                  <a:lnTo>
                    <a:pt x="101" y="755"/>
                  </a:lnTo>
                  <a:lnTo>
                    <a:pt x="82" y="764"/>
                  </a:lnTo>
                  <a:lnTo>
                    <a:pt x="69" y="772"/>
                  </a:lnTo>
                  <a:lnTo>
                    <a:pt x="59" y="781"/>
                  </a:lnTo>
                  <a:lnTo>
                    <a:pt x="46" y="789"/>
                  </a:lnTo>
                  <a:lnTo>
                    <a:pt x="37" y="798"/>
                  </a:lnTo>
                  <a:lnTo>
                    <a:pt x="27" y="803"/>
                  </a:lnTo>
                  <a:lnTo>
                    <a:pt x="14" y="815"/>
                  </a:lnTo>
                  <a:lnTo>
                    <a:pt x="5" y="826"/>
                  </a:lnTo>
                  <a:lnTo>
                    <a:pt x="0" y="829"/>
                  </a:lnTo>
                  <a:lnTo>
                    <a:pt x="5" y="832"/>
                  </a:lnTo>
                  <a:lnTo>
                    <a:pt x="9" y="832"/>
                  </a:lnTo>
                  <a:lnTo>
                    <a:pt x="23" y="835"/>
                  </a:lnTo>
                  <a:lnTo>
                    <a:pt x="32" y="835"/>
                  </a:lnTo>
                  <a:lnTo>
                    <a:pt x="41" y="835"/>
                  </a:lnTo>
                  <a:lnTo>
                    <a:pt x="55" y="838"/>
                  </a:lnTo>
                  <a:lnTo>
                    <a:pt x="64" y="838"/>
                  </a:lnTo>
                  <a:lnTo>
                    <a:pt x="78" y="838"/>
                  </a:lnTo>
                  <a:lnTo>
                    <a:pt x="91" y="841"/>
                  </a:lnTo>
                  <a:lnTo>
                    <a:pt x="105" y="841"/>
                  </a:lnTo>
                  <a:lnTo>
                    <a:pt x="123" y="846"/>
                  </a:lnTo>
                  <a:lnTo>
                    <a:pt x="142" y="846"/>
                  </a:lnTo>
                  <a:lnTo>
                    <a:pt x="160" y="846"/>
                  </a:lnTo>
                  <a:lnTo>
                    <a:pt x="183" y="849"/>
                  </a:lnTo>
                  <a:lnTo>
                    <a:pt x="206" y="852"/>
                  </a:lnTo>
                  <a:lnTo>
                    <a:pt x="224" y="852"/>
                  </a:lnTo>
                  <a:lnTo>
                    <a:pt x="247" y="852"/>
                  </a:lnTo>
                  <a:lnTo>
                    <a:pt x="270" y="855"/>
                  </a:lnTo>
                  <a:lnTo>
                    <a:pt x="297" y="858"/>
                  </a:lnTo>
                  <a:lnTo>
                    <a:pt x="325" y="858"/>
                  </a:lnTo>
                  <a:lnTo>
                    <a:pt x="347" y="860"/>
                  </a:lnTo>
                  <a:lnTo>
                    <a:pt x="375" y="860"/>
                  </a:lnTo>
                  <a:lnTo>
                    <a:pt x="407" y="863"/>
                  </a:lnTo>
                  <a:lnTo>
                    <a:pt x="434" y="863"/>
                  </a:lnTo>
                  <a:lnTo>
                    <a:pt x="462" y="866"/>
                  </a:lnTo>
                  <a:lnTo>
                    <a:pt x="494" y="866"/>
                  </a:lnTo>
                  <a:lnTo>
                    <a:pt x="530" y="869"/>
                  </a:lnTo>
                  <a:lnTo>
                    <a:pt x="558" y="869"/>
                  </a:lnTo>
                  <a:lnTo>
                    <a:pt x="590" y="875"/>
                  </a:lnTo>
                  <a:lnTo>
                    <a:pt x="626" y="875"/>
                  </a:lnTo>
                  <a:lnTo>
                    <a:pt x="663" y="878"/>
                  </a:lnTo>
                  <a:lnTo>
                    <a:pt x="695" y="878"/>
                  </a:lnTo>
                  <a:lnTo>
                    <a:pt x="727" y="880"/>
                  </a:lnTo>
                  <a:lnTo>
                    <a:pt x="763" y="880"/>
                  </a:lnTo>
                  <a:lnTo>
                    <a:pt x="800" y="880"/>
                  </a:lnTo>
                  <a:lnTo>
                    <a:pt x="836" y="880"/>
                  </a:lnTo>
                  <a:lnTo>
                    <a:pt x="873" y="883"/>
                  </a:lnTo>
                  <a:lnTo>
                    <a:pt x="909" y="883"/>
                  </a:lnTo>
                  <a:lnTo>
                    <a:pt x="946" y="886"/>
                  </a:lnTo>
                  <a:lnTo>
                    <a:pt x="987" y="886"/>
                  </a:lnTo>
                  <a:lnTo>
                    <a:pt x="1028" y="889"/>
                  </a:lnTo>
                  <a:lnTo>
                    <a:pt x="1065" y="889"/>
                  </a:lnTo>
                  <a:lnTo>
                    <a:pt x="1106" y="889"/>
                  </a:lnTo>
                  <a:lnTo>
                    <a:pt x="1143" y="889"/>
                  </a:lnTo>
                  <a:lnTo>
                    <a:pt x="1184" y="892"/>
                  </a:lnTo>
                  <a:lnTo>
                    <a:pt x="1225" y="892"/>
                  </a:lnTo>
                  <a:lnTo>
                    <a:pt x="1266" y="892"/>
                  </a:lnTo>
                  <a:lnTo>
                    <a:pt x="1303" y="892"/>
                  </a:lnTo>
                  <a:lnTo>
                    <a:pt x="1344" y="892"/>
                  </a:lnTo>
                  <a:lnTo>
                    <a:pt x="1385" y="892"/>
                  </a:lnTo>
                  <a:lnTo>
                    <a:pt x="1426" y="892"/>
                  </a:lnTo>
                  <a:lnTo>
                    <a:pt x="1462" y="889"/>
                  </a:lnTo>
                  <a:lnTo>
                    <a:pt x="1508" y="889"/>
                  </a:lnTo>
                  <a:lnTo>
                    <a:pt x="1549" y="889"/>
                  </a:lnTo>
                  <a:lnTo>
                    <a:pt x="1590" y="889"/>
                  </a:lnTo>
                  <a:lnTo>
                    <a:pt x="1627" y="889"/>
                  </a:lnTo>
                  <a:lnTo>
                    <a:pt x="1673" y="889"/>
                  </a:lnTo>
                  <a:lnTo>
                    <a:pt x="1714" y="886"/>
                  </a:lnTo>
                  <a:lnTo>
                    <a:pt x="1755" y="886"/>
                  </a:lnTo>
                  <a:lnTo>
                    <a:pt x="1792" y="880"/>
                  </a:lnTo>
                  <a:lnTo>
                    <a:pt x="1837" y="880"/>
                  </a:lnTo>
                  <a:lnTo>
                    <a:pt x="1874" y="880"/>
                  </a:lnTo>
                  <a:lnTo>
                    <a:pt x="1919" y="878"/>
                  </a:lnTo>
                  <a:lnTo>
                    <a:pt x="1956" y="875"/>
                  </a:lnTo>
                  <a:lnTo>
                    <a:pt x="1993" y="872"/>
                  </a:lnTo>
                  <a:lnTo>
                    <a:pt x="2038" y="869"/>
                  </a:lnTo>
                  <a:lnTo>
                    <a:pt x="2079" y="866"/>
                  </a:lnTo>
                  <a:lnTo>
                    <a:pt x="2116" y="866"/>
                  </a:lnTo>
                  <a:lnTo>
                    <a:pt x="2157" y="863"/>
                  </a:lnTo>
                  <a:lnTo>
                    <a:pt x="2198" y="860"/>
                  </a:lnTo>
                  <a:lnTo>
                    <a:pt x="2239" y="858"/>
                  </a:lnTo>
                  <a:lnTo>
                    <a:pt x="2281" y="855"/>
                  </a:lnTo>
                  <a:lnTo>
                    <a:pt x="2317" y="852"/>
                  </a:lnTo>
                  <a:lnTo>
                    <a:pt x="2363" y="849"/>
                  </a:lnTo>
                  <a:lnTo>
                    <a:pt x="2404" y="846"/>
                  </a:lnTo>
                  <a:lnTo>
                    <a:pt x="2440" y="843"/>
                  </a:lnTo>
                  <a:lnTo>
                    <a:pt x="2482" y="841"/>
                  </a:lnTo>
                  <a:lnTo>
                    <a:pt x="2523" y="838"/>
                  </a:lnTo>
                  <a:lnTo>
                    <a:pt x="2564" y="835"/>
                  </a:lnTo>
                  <a:lnTo>
                    <a:pt x="2605" y="832"/>
                  </a:lnTo>
                  <a:lnTo>
                    <a:pt x="2642" y="829"/>
                  </a:lnTo>
                  <a:lnTo>
                    <a:pt x="2683" y="826"/>
                  </a:lnTo>
                  <a:lnTo>
                    <a:pt x="2719" y="826"/>
                  </a:lnTo>
                  <a:lnTo>
                    <a:pt x="2760" y="821"/>
                  </a:lnTo>
                  <a:lnTo>
                    <a:pt x="2792" y="818"/>
                  </a:lnTo>
                  <a:lnTo>
                    <a:pt x="2834" y="815"/>
                  </a:lnTo>
                  <a:lnTo>
                    <a:pt x="2870" y="812"/>
                  </a:lnTo>
                  <a:lnTo>
                    <a:pt x="2907" y="809"/>
                  </a:lnTo>
                  <a:lnTo>
                    <a:pt x="2948" y="803"/>
                  </a:lnTo>
                  <a:lnTo>
                    <a:pt x="2980" y="803"/>
                  </a:lnTo>
                  <a:lnTo>
                    <a:pt x="3016" y="801"/>
                  </a:lnTo>
                  <a:lnTo>
                    <a:pt x="3048" y="798"/>
                  </a:lnTo>
                  <a:lnTo>
                    <a:pt x="3085" y="792"/>
                  </a:lnTo>
                  <a:lnTo>
                    <a:pt x="3117" y="789"/>
                  </a:lnTo>
                  <a:lnTo>
                    <a:pt x="3153" y="789"/>
                  </a:lnTo>
                  <a:lnTo>
                    <a:pt x="3185" y="784"/>
                  </a:lnTo>
                  <a:lnTo>
                    <a:pt x="3213" y="781"/>
                  </a:lnTo>
                  <a:lnTo>
                    <a:pt x="3245" y="778"/>
                  </a:lnTo>
                  <a:lnTo>
                    <a:pt x="3281" y="775"/>
                  </a:lnTo>
                  <a:lnTo>
                    <a:pt x="3304" y="772"/>
                  </a:lnTo>
                  <a:lnTo>
                    <a:pt x="3332" y="769"/>
                  </a:lnTo>
                  <a:lnTo>
                    <a:pt x="3359" y="766"/>
                  </a:lnTo>
                  <a:lnTo>
                    <a:pt x="3391" y="764"/>
                  </a:lnTo>
                  <a:lnTo>
                    <a:pt x="3414" y="761"/>
                  </a:lnTo>
                  <a:lnTo>
                    <a:pt x="3437" y="758"/>
                  </a:lnTo>
                  <a:lnTo>
                    <a:pt x="3464" y="755"/>
                  </a:lnTo>
                  <a:lnTo>
                    <a:pt x="3487" y="752"/>
                  </a:lnTo>
                  <a:lnTo>
                    <a:pt x="3505" y="749"/>
                  </a:lnTo>
                  <a:lnTo>
                    <a:pt x="3528" y="749"/>
                  </a:lnTo>
                  <a:lnTo>
                    <a:pt x="3546" y="744"/>
                  </a:lnTo>
                  <a:lnTo>
                    <a:pt x="3574" y="744"/>
                  </a:lnTo>
                  <a:lnTo>
                    <a:pt x="3588" y="741"/>
                  </a:lnTo>
                  <a:lnTo>
                    <a:pt x="3606" y="738"/>
                  </a:lnTo>
                  <a:lnTo>
                    <a:pt x="3615" y="735"/>
                  </a:lnTo>
                  <a:lnTo>
                    <a:pt x="3629" y="732"/>
                  </a:lnTo>
                  <a:lnTo>
                    <a:pt x="3642" y="732"/>
                  </a:lnTo>
                  <a:lnTo>
                    <a:pt x="3656" y="729"/>
                  </a:lnTo>
                  <a:lnTo>
                    <a:pt x="3665" y="727"/>
                  </a:lnTo>
                  <a:lnTo>
                    <a:pt x="3674" y="727"/>
                  </a:lnTo>
                  <a:lnTo>
                    <a:pt x="3688" y="721"/>
                  </a:lnTo>
                  <a:lnTo>
                    <a:pt x="3697" y="721"/>
                  </a:lnTo>
                  <a:lnTo>
                    <a:pt x="3702" y="718"/>
                  </a:lnTo>
                  <a:lnTo>
                    <a:pt x="3697" y="715"/>
                  </a:lnTo>
                  <a:lnTo>
                    <a:pt x="3688" y="712"/>
                  </a:lnTo>
                  <a:lnTo>
                    <a:pt x="3670" y="704"/>
                  </a:lnTo>
                  <a:lnTo>
                    <a:pt x="3661" y="698"/>
                  </a:lnTo>
                  <a:lnTo>
                    <a:pt x="3647" y="695"/>
                  </a:lnTo>
                  <a:lnTo>
                    <a:pt x="3633" y="687"/>
                  </a:lnTo>
                  <a:lnTo>
                    <a:pt x="3620" y="687"/>
                  </a:lnTo>
                  <a:lnTo>
                    <a:pt x="3601" y="675"/>
                  </a:lnTo>
                  <a:lnTo>
                    <a:pt x="3583" y="670"/>
                  </a:lnTo>
                  <a:lnTo>
                    <a:pt x="3565" y="661"/>
                  </a:lnTo>
                  <a:lnTo>
                    <a:pt x="3546" y="653"/>
                  </a:lnTo>
                  <a:lnTo>
                    <a:pt x="3524" y="644"/>
                  </a:lnTo>
                  <a:lnTo>
                    <a:pt x="3501" y="635"/>
                  </a:lnTo>
                  <a:lnTo>
                    <a:pt x="3482" y="627"/>
                  </a:lnTo>
                  <a:lnTo>
                    <a:pt x="3455" y="618"/>
                  </a:lnTo>
                  <a:lnTo>
                    <a:pt x="3432" y="607"/>
                  </a:lnTo>
                  <a:lnTo>
                    <a:pt x="3405" y="596"/>
                  </a:lnTo>
                  <a:lnTo>
                    <a:pt x="3377" y="584"/>
                  </a:lnTo>
                  <a:lnTo>
                    <a:pt x="3350" y="573"/>
                  </a:lnTo>
                  <a:lnTo>
                    <a:pt x="3323" y="561"/>
                  </a:lnTo>
                  <a:lnTo>
                    <a:pt x="3295" y="550"/>
                  </a:lnTo>
                  <a:lnTo>
                    <a:pt x="3263" y="539"/>
                  </a:lnTo>
                  <a:lnTo>
                    <a:pt x="3236" y="524"/>
                  </a:lnTo>
                  <a:lnTo>
                    <a:pt x="3204" y="513"/>
                  </a:lnTo>
                  <a:lnTo>
                    <a:pt x="3172" y="502"/>
                  </a:lnTo>
                  <a:lnTo>
                    <a:pt x="3140" y="487"/>
                  </a:lnTo>
                  <a:lnTo>
                    <a:pt x="3112" y="473"/>
                  </a:lnTo>
                  <a:lnTo>
                    <a:pt x="3076" y="462"/>
                  </a:lnTo>
                  <a:lnTo>
                    <a:pt x="3044" y="448"/>
                  </a:lnTo>
                  <a:lnTo>
                    <a:pt x="3016" y="433"/>
                  </a:lnTo>
                  <a:lnTo>
                    <a:pt x="2980" y="422"/>
                  </a:lnTo>
                  <a:lnTo>
                    <a:pt x="2948" y="408"/>
                  </a:lnTo>
                  <a:lnTo>
                    <a:pt x="2916" y="393"/>
                  </a:lnTo>
                  <a:lnTo>
                    <a:pt x="2884" y="379"/>
                  </a:lnTo>
                  <a:lnTo>
                    <a:pt x="2847" y="365"/>
                  </a:lnTo>
                  <a:lnTo>
                    <a:pt x="2815" y="351"/>
                  </a:lnTo>
                  <a:lnTo>
                    <a:pt x="2783" y="336"/>
                  </a:lnTo>
                  <a:lnTo>
                    <a:pt x="2747" y="325"/>
                  </a:lnTo>
                  <a:lnTo>
                    <a:pt x="2715" y="311"/>
                  </a:lnTo>
                  <a:lnTo>
                    <a:pt x="2683" y="297"/>
                  </a:lnTo>
                  <a:lnTo>
                    <a:pt x="2651" y="285"/>
                  </a:lnTo>
                  <a:lnTo>
                    <a:pt x="2619" y="271"/>
                  </a:lnTo>
                  <a:lnTo>
                    <a:pt x="2591" y="260"/>
                  </a:lnTo>
                  <a:lnTo>
                    <a:pt x="2559" y="245"/>
                  </a:lnTo>
                  <a:lnTo>
                    <a:pt x="2527" y="231"/>
                  </a:lnTo>
                  <a:lnTo>
                    <a:pt x="2500" y="220"/>
                  </a:lnTo>
                  <a:lnTo>
                    <a:pt x="2472" y="208"/>
                  </a:lnTo>
                  <a:lnTo>
                    <a:pt x="2440" y="194"/>
                  </a:lnTo>
                  <a:lnTo>
                    <a:pt x="2413" y="183"/>
                  </a:lnTo>
                  <a:lnTo>
                    <a:pt x="2386" y="171"/>
                  </a:lnTo>
                  <a:lnTo>
                    <a:pt x="2363" y="160"/>
                  </a:lnTo>
                  <a:lnTo>
                    <a:pt x="2335" y="151"/>
                  </a:lnTo>
                  <a:lnTo>
                    <a:pt x="2308" y="140"/>
                  </a:lnTo>
                  <a:lnTo>
                    <a:pt x="2285" y="131"/>
                  </a:lnTo>
                  <a:lnTo>
                    <a:pt x="2262" y="123"/>
                  </a:lnTo>
                  <a:lnTo>
                    <a:pt x="2244" y="112"/>
                  </a:lnTo>
                  <a:lnTo>
                    <a:pt x="2221" y="106"/>
                  </a:lnTo>
                  <a:lnTo>
                    <a:pt x="2203" y="97"/>
                  </a:lnTo>
                  <a:lnTo>
                    <a:pt x="2185" y="89"/>
                  </a:lnTo>
                  <a:lnTo>
                    <a:pt x="2166" y="83"/>
                  </a:lnTo>
                  <a:lnTo>
                    <a:pt x="2153" y="74"/>
                  </a:lnTo>
                  <a:lnTo>
                    <a:pt x="2134" y="69"/>
                  </a:lnTo>
                  <a:lnTo>
                    <a:pt x="2125" y="66"/>
                  </a:lnTo>
                  <a:lnTo>
                    <a:pt x="2116" y="60"/>
                  </a:lnTo>
                  <a:lnTo>
                    <a:pt x="2098" y="55"/>
                  </a:lnTo>
                  <a:lnTo>
                    <a:pt x="2089" y="49"/>
                  </a:lnTo>
                  <a:lnTo>
                    <a:pt x="2079" y="46"/>
                  </a:lnTo>
                  <a:lnTo>
                    <a:pt x="2061" y="43"/>
                  </a:lnTo>
                  <a:lnTo>
                    <a:pt x="2052" y="37"/>
                  </a:lnTo>
                  <a:lnTo>
                    <a:pt x="2043" y="35"/>
                  </a:lnTo>
                  <a:lnTo>
                    <a:pt x="2025" y="32"/>
                  </a:lnTo>
                  <a:lnTo>
                    <a:pt x="2015" y="26"/>
                  </a:lnTo>
                  <a:lnTo>
                    <a:pt x="2006" y="23"/>
                  </a:lnTo>
                  <a:lnTo>
                    <a:pt x="1993" y="20"/>
                  </a:lnTo>
                  <a:lnTo>
                    <a:pt x="1979" y="20"/>
                  </a:lnTo>
                  <a:lnTo>
                    <a:pt x="1970" y="15"/>
                  </a:lnTo>
                  <a:lnTo>
                    <a:pt x="1956" y="15"/>
                  </a:lnTo>
                  <a:lnTo>
                    <a:pt x="1947" y="12"/>
                  </a:lnTo>
                  <a:lnTo>
                    <a:pt x="1938" y="12"/>
                  </a:lnTo>
                  <a:lnTo>
                    <a:pt x="1924" y="9"/>
                  </a:lnTo>
                  <a:lnTo>
                    <a:pt x="1915" y="9"/>
                  </a:lnTo>
                  <a:lnTo>
                    <a:pt x="1901" y="6"/>
                  </a:lnTo>
                  <a:lnTo>
                    <a:pt x="1892" y="6"/>
                  </a:lnTo>
                  <a:lnTo>
                    <a:pt x="1869" y="0"/>
                  </a:lnTo>
                  <a:lnTo>
                    <a:pt x="1856" y="0"/>
                  </a:lnTo>
                  <a:lnTo>
                    <a:pt x="1833" y="0"/>
                  </a:lnTo>
                  <a:lnTo>
                    <a:pt x="1814" y="0"/>
                  </a:lnTo>
                  <a:lnTo>
                    <a:pt x="1796" y="0"/>
                  </a:lnTo>
                  <a:lnTo>
                    <a:pt x="1782" y="3"/>
                  </a:lnTo>
                  <a:lnTo>
                    <a:pt x="1764" y="3"/>
                  </a:lnTo>
                  <a:lnTo>
                    <a:pt x="1750" y="6"/>
                  </a:lnTo>
                  <a:lnTo>
                    <a:pt x="1732" y="6"/>
                  </a:lnTo>
                  <a:lnTo>
                    <a:pt x="1718" y="9"/>
                  </a:lnTo>
                  <a:lnTo>
                    <a:pt x="1700" y="9"/>
                  </a:lnTo>
                  <a:lnTo>
                    <a:pt x="1696" y="9"/>
                  </a:lnTo>
                  <a:lnTo>
                    <a:pt x="1682" y="12"/>
                  </a:lnTo>
                  <a:lnTo>
                    <a:pt x="1673" y="15"/>
                  </a:lnTo>
                  <a:lnTo>
                    <a:pt x="1654" y="20"/>
                  </a:lnTo>
                  <a:lnTo>
                    <a:pt x="1641" y="20"/>
                  </a:lnTo>
                  <a:lnTo>
                    <a:pt x="1636" y="23"/>
                  </a:lnTo>
                  <a:lnTo>
                    <a:pt x="1632" y="26"/>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21" name="Freeform 13"/>
            <p:cNvSpPr>
              <a:spLocks/>
            </p:cNvSpPr>
            <p:nvPr>
              <p:custDataLst>
                <p:tags r:id="rId220"/>
              </p:custDataLst>
            </p:nvPr>
          </p:nvSpPr>
          <p:spPr bwMode="gray">
            <a:xfrm>
              <a:off x="1358" y="666"/>
              <a:ext cx="1270" cy="535"/>
            </a:xfrm>
            <a:custGeom>
              <a:avLst/>
              <a:gdLst>
                <a:gd name="T0" fmla="*/ 2081 w 1239"/>
                <a:gd name="T1" fmla="*/ 5 h 587"/>
                <a:gd name="T2" fmla="*/ 1955 w 1239"/>
                <a:gd name="T3" fmla="*/ 5 h 587"/>
                <a:gd name="T4" fmla="*/ 1837 w 1239"/>
                <a:gd name="T5" fmla="*/ 6 h 587"/>
                <a:gd name="T6" fmla="*/ 1715 w 1239"/>
                <a:gd name="T7" fmla="*/ 9 h 587"/>
                <a:gd name="T8" fmla="*/ 1599 w 1239"/>
                <a:gd name="T9" fmla="*/ 12 h 587"/>
                <a:gd name="T10" fmla="*/ 1488 w 1239"/>
                <a:gd name="T11" fmla="*/ 14 h 587"/>
                <a:gd name="T12" fmla="*/ 1373 w 1239"/>
                <a:gd name="T13" fmla="*/ 16 h 587"/>
                <a:gd name="T14" fmla="*/ 1268 w 1239"/>
                <a:gd name="T15" fmla="*/ 18 h 587"/>
                <a:gd name="T16" fmla="*/ 1156 w 1239"/>
                <a:gd name="T17" fmla="*/ 21 h 587"/>
                <a:gd name="T18" fmla="*/ 1053 w 1239"/>
                <a:gd name="T19" fmla="*/ 24 h 587"/>
                <a:gd name="T20" fmla="*/ 944 w 1239"/>
                <a:gd name="T21" fmla="*/ 26 h 587"/>
                <a:gd name="T22" fmla="*/ 850 w 1239"/>
                <a:gd name="T23" fmla="*/ 29 h 587"/>
                <a:gd name="T24" fmla="*/ 767 w 1239"/>
                <a:gd name="T25" fmla="*/ 31 h 587"/>
                <a:gd name="T26" fmla="*/ 668 w 1239"/>
                <a:gd name="T27" fmla="*/ 33 h 587"/>
                <a:gd name="T28" fmla="*/ 590 w 1239"/>
                <a:gd name="T29" fmla="*/ 35 h 587"/>
                <a:gd name="T30" fmla="*/ 514 w 1239"/>
                <a:gd name="T31" fmla="*/ 37 h 587"/>
                <a:gd name="T32" fmla="*/ 427 w 1239"/>
                <a:gd name="T33" fmla="*/ 39 h 587"/>
                <a:gd name="T34" fmla="*/ 364 w 1239"/>
                <a:gd name="T35" fmla="*/ 42 h 587"/>
                <a:gd name="T36" fmla="*/ 304 w 1239"/>
                <a:gd name="T37" fmla="*/ 43 h 587"/>
                <a:gd name="T38" fmla="*/ 244 w 1239"/>
                <a:gd name="T39" fmla="*/ 46 h 587"/>
                <a:gd name="T40" fmla="*/ 182 w 1239"/>
                <a:gd name="T41" fmla="*/ 46 h 587"/>
                <a:gd name="T42" fmla="*/ 137 w 1239"/>
                <a:gd name="T43" fmla="*/ 47 h 587"/>
                <a:gd name="T44" fmla="*/ 94 w 1239"/>
                <a:gd name="T45" fmla="*/ 50 h 587"/>
                <a:gd name="T46" fmla="*/ 58 w 1239"/>
                <a:gd name="T47" fmla="*/ 51 h 587"/>
                <a:gd name="T48" fmla="*/ 14 w 1239"/>
                <a:gd name="T49" fmla="*/ 51 h 587"/>
                <a:gd name="T50" fmla="*/ 0 w 1239"/>
                <a:gd name="T51" fmla="*/ 52 h 587"/>
                <a:gd name="T52" fmla="*/ 0 w 1239"/>
                <a:gd name="T53" fmla="*/ 52 h 587"/>
                <a:gd name="T54" fmla="*/ 49 w 1239"/>
                <a:gd name="T55" fmla="*/ 51 h 587"/>
                <a:gd name="T56" fmla="*/ 94 w 1239"/>
                <a:gd name="T57" fmla="*/ 51 h 587"/>
                <a:gd name="T58" fmla="*/ 137 w 1239"/>
                <a:gd name="T59" fmla="*/ 48 h 587"/>
                <a:gd name="T60" fmla="*/ 201 w 1239"/>
                <a:gd name="T61" fmla="*/ 46 h 587"/>
                <a:gd name="T62" fmla="*/ 262 w 1239"/>
                <a:gd name="T63" fmla="*/ 46 h 587"/>
                <a:gd name="T64" fmla="*/ 330 w 1239"/>
                <a:gd name="T65" fmla="*/ 43 h 587"/>
                <a:gd name="T66" fmla="*/ 401 w 1239"/>
                <a:gd name="T67" fmla="*/ 42 h 587"/>
                <a:gd name="T68" fmla="*/ 488 w 1239"/>
                <a:gd name="T69" fmla="*/ 40 h 587"/>
                <a:gd name="T70" fmla="*/ 575 w 1239"/>
                <a:gd name="T71" fmla="*/ 38 h 587"/>
                <a:gd name="T72" fmla="*/ 652 w 1239"/>
                <a:gd name="T73" fmla="*/ 36 h 587"/>
                <a:gd name="T74" fmla="*/ 748 w 1239"/>
                <a:gd name="T75" fmla="*/ 35 h 587"/>
                <a:gd name="T76" fmla="*/ 850 w 1239"/>
                <a:gd name="T77" fmla="*/ 32 h 587"/>
                <a:gd name="T78" fmla="*/ 938 w 1239"/>
                <a:gd name="T79" fmla="*/ 30 h 587"/>
                <a:gd name="T80" fmla="*/ 1042 w 1239"/>
                <a:gd name="T81" fmla="*/ 27 h 587"/>
                <a:gd name="T82" fmla="*/ 1147 w 1239"/>
                <a:gd name="T83" fmla="*/ 26 h 587"/>
                <a:gd name="T84" fmla="*/ 1243 w 1239"/>
                <a:gd name="T85" fmla="*/ 24 h 587"/>
                <a:gd name="T86" fmla="*/ 1349 w 1239"/>
                <a:gd name="T87" fmla="*/ 22 h 587"/>
                <a:gd name="T88" fmla="*/ 1442 w 1239"/>
                <a:gd name="T89" fmla="*/ 19 h 587"/>
                <a:gd name="T90" fmla="*/ 1546 w 1239"/>
                <a:gd name="T91" fmla="*/ 16 h 587"/>
                <a:gd name="T92" fmla="*/ 1642 w 1239"/>
                <a:gd name="T93" fmla="*/ 15 h 587"/>
                <a:gd name="T94" fmla="*/ 1729 w 1239"/>
                <a:gd name="T95" fmla="*/ 13 h 587"/>
                <a:gd name="T96" fmla="*/ 1826 w 1239"/>
                <a:gd name="T97" fmla="*/ 11 h 587"/>
                <a:gd name="T98" fmla="*/ 1909 w 1239"/>
                <a:gd name="T99" fmla="*/ 10 h 587"/>
                <a:gd name="T100" fmla="*/ 1997 w 1239"/>
                <a:gd name="T101" fmla="*/ 7 h 587"/>
                <a:gd name="T102" fmla="*/ 2070 w 1239"/>
                <a:gd name="T103" fmla="*/ 5 h 587"/>
                <a:gd name="T104" fmla="*/ 2145 w 1239"/>
                <a:gd name="T105" fmla="*/ 5 h 587"/>
                <a:gd name="T106" fmla="*/ 2199 w 1239"/>
                <a:gd name="T107" fmla="*/ 5 h 587"/>
                <a:gd name="T108" fmla="*/ 2259 w 1239"/>
                <a:gd name="T109" fmla="*/ 5 h 587"/>
                <a:gd name="T110" fmla="*/ 2310 w 1239"/>
                <a:gd name="T111" fmla="*/ 5 h 587"/>
                <a:gd name="T112" fmla="*/ 2358 w 1239"/>
                <a:gd name="T113" fmla="*/ 0 h 587"/>
                <a:gd name="T114" fmla="*/ 2145 w 1239"/>
                <a:gd name="T115" fmla="*/ 5 h 58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39"/>
                <a:gd name="T175" fmla="*/ 0 h 587"/>
                <a:gd name="T176" fmla="*/ 1239 w 1239"/>
                <a:gd name="T177" fmla="*/ 587 h 58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39" h="587">
                  <a:moveTo>
                    <a:pt x="1129" y="14"/>
                  </a:moveTo>
                  <a:lnTo>
                    <a:pt x="1093" y="26"/>
                  </a:lnTo>
                  <a:lnTo>
                    <a:pt x="1061" y="34"/>
                  </a:lnTo>
                  <a:lnTo>
                    <a:pt x="1029" y="46"/>
                  </a:lnTo>
                  <a:lnTo>
                    <a:pt x="997" y="60"/>
                  </a:lnTo>
                  <a:lnTo>
                    <a:pt x="965" y="74"/>
                  </a:lnTo>
                  <a:lnTo>
                    <a:pt x="933" y="86"/>
                  </a:lnTo>
                  <a:lnTo>
                    <a:pt x="901" y="100"/>
                  </a:lnTo>
                  <a:lnTo>
                    <a:pt x="873" y="114"/>
                  </a:lnTo>
                  <a:lnTo>
                    <a:pt x="841" y="125"/>
                  </a:lnTo>
                  <a:lnTo>
                    <a:pt x="814" y="140"/>
                  </a:lnTo>
                  <a:lnTo>
                    <a:pt x="782" y="151"/>
                  </a:lnTo>
                  <a:lnTo>
                    <a:pt x="750" y="165"/>
                  </a:lnTo>
                  <a:lnTo>
                    <a:pt x="722" y="179"/>
                  </a:lnTo>
                  <a:lnTo>
                    <a:pt x="690" y="194"/>
                  </a:lnTo>
                  <a:lnTo>
                    <a:pt x="668" y="208"/>
                  </a:lnTo>
                  <a:lnTo>
                    <a:pt x="636" y="219"/>
                  </a:lnTo>
                  <a:lnTo>
                    <a:pt x="608" y="234"/>
                  </a:lnTo>
                  <a:lnTo>
                    <a:pt x="585" y="251"/>
                  </a:lnTo>
                  <a:lnTo>
                    <a:pt x="553" y="262"/>
                  </a:lnTo>
                  <a:lnTo>
                    <a:pt x="530" y="276"/>
                  </a:lnTo>
                  <a:lnTo>
                    <a:pt x="498" y="288"/>
                  </a:lnTo>
                  <a:lnTo>
                    <a:pt x="476" y="302"/>
                  </a:lnTo>
                  <a:lnTo>
                    <a:pt x="448" y="316"/>
                  </a:lnTo>
                  <a:lnTo>
                    <a:pt x="430" y="330"/>
                  </a:lnTo>
                  <a:lnTo>
                    <a:pt x="403" y="342"/>
                  </a:lnTo>
                  <a:lnTo>
                    <a:pt x="380" y="356"/>
                  </a:lnTo>
                  <a:lnTo>
                    <a:pt x="352" y="367"/>
                  </a:lnTo>
                  <a:lnTo>
                    <a:pt x="329" y="382"/>
                  </a:lnTo>
                  <a:lnTo>
                    <a:pt x="311" y="393"/>
                  </a:lnTo>
                  <a:lnTo>
                    <a:pt x="288" y="404"/>
                  </a:lnTo>
                  <a:lnTo>
                    <a:pt x="270" y="416"/>
                  </a:lnTo>
                  <a:lnTo>
                    <a:pt x="247" y="430"/>
                  </a:lnTo>
                  <a:lnTo>
                    <a:pt x="224" y="441"/>
                  </a:lnTo>
                  <a:lnTo>
                    <a:pt x="206" y="450"/>
                  </a:lnTo>
                  <a:lnTo>
                    <a:pt x="192" y="461"/>
                  </a:lnTo>
                  <a:lnTo>
                    <a:pt x="174" y="473"/>
                  </a:lnTo>
                  <a:lnTo>
                    <a:pt x="160" y="484"/>
                  </a:lnTo>
                  <a:lnTo>
                    <a:pt x="142" y="493"/>
                  </a:lnTo>
                  <a:lnTo>
                    <a:pt x="128" y="504"/>
                  </a:lnTo>
                  <a:lnTo>
                    <a:pt x="115" y="513"/>
                  </a:lnTo>
                  <a:lnTo>
                    <a:pt x="96" y="518"/>
                  </a:lnTo>
                  <a:lnTo>
                    <a:pt x="87" y="530"/>
                  </a:lnTo>
                  <a:lnTo>
                    <a:pt x="73" y="535"/>
                  </a:lnTo>
                  <a:lnTo>
                    <a:pt x="60" y="541"/>
                  </a:lnTo>
                  <a:lnTo>
                    <a:pt x="51" y="550"/>
                  </a:lnTo>
                  <a:lnTo>
                    <a:pt x="41" y="555"/>
                  </a:lnTo>
                  <a:lnTo>
                    <a:pt x="32" y="561"/>
                  </a:lnTo>
                  <a:lnTo>
                    <a:pt x="23" y="567"/>
                  </a:lnTo>
                  <a:lnTo>
                    <a:pt x="14" y="575"/>
                  </a:lnTo>
                  <a:lnTo>
                    <a:pt x="5" y="581"/>
                  </a:lnTo>
                  <a:lnTo>
                    <a:pt x="0" y="584"/>
                  </a:lnTo>
                  <a:lnTo>
                    <a:pt x="0" y="587"/>
                  </a:lnTo>
                  <a:lnTo>
                    <a:pt x="0" y="584"/>
                  </a:lnTo>
                  <a:lnTo>
                    <a:pt x="14" y="581"/>
                  </a:lnTo>
                  <a:lnTo>
                    <a:pt x="23" y="575"/>
                  </a:lnTo>
                  <a:lnTo>
                    <a:pt x="41" y="564"/>
                  </a:lnTo>
                  <a:lnTo>
                    <a:pt x="51" y="555"/>
                  </a:lnTo>
                  <a:lnTo>
                    <a:pt x="64" y="550"/>
                  </a:lnTo>
                  <a:lnTo>
                    <a:pt x="73" y="541"/>
                  </a:lnTo>
                  <a:lnTo>
                    <a:pt x="92" y="535"/>
                  </a:lnTo>
                  <a:lnTo>
                    <a:pt x="105" y="524"/>
                  </a:lnTo>
                  <a:lnTo>
                    <a:pt x="119" y="518"/>
                  </a:lnTo>
                  <a:lnTo>
                    <a:pt x="137" y="507"/>
                  </a:lnTo>
                  <a:lnTo>
                    <a:pt x="156" y="498"/>
                  </a:lnTo>
                  <a:lnTo>
                    <a:pt x="174" y="490"/>
                  </a:lnTo>
                  <a:lnTo>
                    <a:pt x="192" y="481"/>
                  </a:lnTo>
                  <a:lnTo>
                    <a:pt x="211" y="470"/>
                  </a:lnTo>
                  <a:lnTo>
                    <a:pt x="238" y="461"/>
                  </a:lnTo>
                  <a:lnTo>
                    <a:pt x="256" y="450"/>
                  </a:lnTo>
                  <a:lnTo>
                    <a:pt x="275" y="439"/>
                  </a:lnTo>
                  <a:lnTo>
                    <a:pt x="302" y="427"/>
                  </a:lnTo>
                  <a:lnTo>
                    <a:pt x="325" y="416"/>
                  </a:lnTo>
                  <a:lnTo>
                    <a:pt x="343" y="404"/>
                  </a:lnTo>
                  <a:lnTo>
                    <a:pt x="371" y="393"/>
                  </a:lnTo>
                  <a:lnTo>
                    <a:pt x="393" y="382"/>
                  </a:lnTo>
                  <a:lnTo>
                    <a:pt x="421" y="370"/>
                  </a:lnTo>
                  <a:lnTo>
                    <a:pt x="448" y="356"/>
                  </a:lnTo>
                  <a:lnTo>
                    <a:pt x="476" y="347"/>
                  </a:lnTo>
                  <a:lnTo>
                    <a:pt x="494" y="333"/>
                  </a:lnTo>
                  <a:lnTo>
                    <a:pt x="526" y="322"/>
                  </a:lnTo>
                  <a:lnTo>
                    <a:pt x="549" y="310"/>
                  </a:lnTo>
                  <a:lnTo>
                    <a:pt x="576" y="299"/>
                  </a:lnTo>
                  <a:lnTo>
                    <a:pt x="604" y="285"/>
                  </a:lnTo>
                  <a:lnTo>
                    <a:pt x="631" y="273"/>
                  </a:lnTo>
                  <a:lnTo>
                    <a:pt x="654" y="262"/>
                  </a:lnTo>
                  <a:lnTo>
                    <a:pt x="681" y="251"/>
                  </a:lnTo>
                  <a:lnTo>
                    <a:pt x="709" y="236"/>
                  </a:lnTo>
                  <a:lnTo>
                    <a:pt x="741" y="228"/>
                  </a:lnTo>
                  <a:lnTo>
                    <a:pt x="759" y="214"/>
                  </a:lnTo>
                  <a:lnTo>
                    <a:pt x="786" y="202"/>
                  </a:lnTo>
                  <a:lnTo>
                    <a:pt x="814" y="188"/>
                  </a:lnTo>
                  <a:lnTo>
                    <a:pt x="841" y="179"/>
                  </a:lnTo>
                  <a:lnTo>
                    <a:pt x="864" y="165"/>
                  </a:lnTo>
                  <a:lnTo>
                    <a:pt x="892" y="154"/>
                  </a:lnTo>
                  <a:lnTo>
                    <a:pt x="910" y="142"/>
                  </a:lnTo>
                  <a:lnTo>
                    <a:pt x="937" y="134"/>
                  </a:lnTo>
                  <a:lnTo>
                    <a:pt x="960" y="123"/>
                  </a:lnTo>
                  <a:lnTo>
                    <a:pt x="983" y="111"/>
                  </a:lnTo>
                  <a:lnTo>
                    <a:pt x="1006" y="103"/>
                  </a:lnTo>
                  <a:lnTo>
                    <a:pt x="1029" y="91"/>
                  </a:lnTo>
                  <a:lnTo>
                    <a:pt x="1051" y="83"/>
                  </a:lnTo>
                  <a:lnTo>
                    <a:pt x="1070" y="74"/>
                  </a:lnTo>
                  <a:lnTo>
                    <a:pt x="1088" y="66"/>
                  </a:lnTo>
                  <a:lnTo>
                    <a:pt x="1111" y="57"/>
                  </a:lnTo>
                  <a:lnTo>
                    <a:pt x="1129" y="48"/>
                  </a:lnTo>
                  <a:lnTo>
                    <a:pt x="1143" y="40"/>
                  </a:lnTo>
                  <a:lnTo>
                    <a:pt x="1157" y="34"/>
                  </a:lnTo>
                  <a:lnTo>
                    <a:pt x="1175" y="26"/>
                  </a:lnTo>
                  <a:lnTo>
                    <a:pt x="1189" y="20"/>
                  </a:lnTo>
                  <a:lnTo>
                    <a:pt x="1202" y="14"/>
                  </a:lnTo>
                  <a:lnTo>
                    <a:pt x="1216" y="9"/>
                  </a:lnTo>
                  <a:lnTo>
                    <a:pt x="1230" y="3"/>
                  </a:lnTo>
                  <a:lnTo>
                    <a:pt x="1239" y="0"/>
                  </a:lnTo>
                  <a:lnTo>
                    <a:pt x="1129" y="1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22" name="Freeform 14"/>
            <p:cNvSpPr>
              <a:spLocks/>
            </p:cNvSpPr>
            <p:nvPr>
              <p:custDataLst>
                <p:tags r:id="rId221"/>
              </p:custDataLst>
            </p:nvPr>
          </p:nvSpPr>
          <p:spPr bwMode="gray">
            <a:xfrm>
              <a:off x="1799" y="813"/>
              <a:ext cx="740" cy="393"/>
            </a:xfrm>
            <a:custGeom>
              <a:avLst/>
              <a:gdLst>
                <a:gd name="T0" fmla="*/ 1112 w 722"/>
                <a:gd name="T1" fmla="*/ 5 h 430"/>
                <a:gd name="T2" fmla="*/ 1034 w 722"/>
                <a:gd name="T3" fmla="*/ 5 h 430"/>
                <a:gd name="T4" fmla="*/ 962 w 722"/>
                <a:gd name="T5" fmla="*/ 7 h 430"/>
                <a:gd name="T6" fmla="*/ 894 w 722"/>
                <a:gd name="T7" fmla="*/ 10 h 430"/>
                <a:gd name="T8" fmla="*/ 831 w 722"/>
                <a:gd name="T9" fmla="*/ 12 h 430"/>
                <a:gd name="T10" fmla="*/ 764 w 722"/>
                <a:gd name="T11" fmla="*/ 14 h 430"/>
                <a:gd name="T12" fmla="*/ 700 w 722"/>
                <a:gd name="T13" fmla="*/ 15 h 430"/>
                <a:gd name="T14" fmla="*/ 643 w 722"/>
                <a:gd name="T15" fmla="*/ 16 h 430"/>
                <a:gd name="T16" fmla="*/ 582 w 722"/>
                <a:gd name="T17" fmla="*/ 19 h 430"/>
                <a:gd name="T18" fmla="*/ 520 w 722"/>
                <a:gd name="T19" fmla="*/ 21 h 430"/>
                <a:gd name="T20" fmla="*/ 459 w 722"/>
                <a:gd name="T21" fmla="*/ 23 h 430"/>
                <a:gd name="T22" fmla="*/ 416 w 722"/>
                <a:gd name="T23" fmla="*/ 24 h 430"/>
                <a:gd name="T24" fmla="*/ 364 w 722"/>
                <a:gd name="T25" fmla="*/ 26 h 430"/>
                <a:gd name="T26" fmla="*/ 321 w 722"/>
                <a:gd name="T27" fmla="*/ 28 h 430"/>
                <a:gd name="T28" fmla="*/ 271 w 722"/>
                <a:gd name="T29" fmla="*/ 29 h 430"/>
                <a:gd name="T30" fmla="*/ 223 w 722"/>
                <a:gd name="T31" fmla="*/ 31 h 430"/>
                <a:gd name="T32" fmla="*/ 191 w 722"/>
                <a:gd name="T33" fmla="*/ 33 h 430"/>
                <a:gd name="T34" fmla="*/ 153 w 722"/>
                <a:gd name="T35" fmla="*/ 34 h 430"/>
                <a:gd name="T36" fmla="*/ 123 w 722"/>
                <a:gd name="T37" fmla="*/ 34 h 430"/>
                <a:gd name="T38" fmla="*/ 91 w 722"/>
                <a:gd name="T39" fmla="*/ 37 h 430"/>
                <a:gd name="T40" fmla="*/ 58 w 722"/>
                <a:gd name="T41" fmla="*/ 37 h 430"/>
                <a:gd name="T42" fmla="*/ 14 w 722"/>
                <a:gd name="T43" fmla="*/ 40 h 430"/>
                <a:gd name="T44" fmla="*/ 0 w 722"/>
                <a:gd name="T45" fmla="*/ 40 h 430"/>
                <a:gd name="T46" fmla="*/ 4 w 722"/>
                <a:gd name="T47" fmla="*/ 41 h 430"/>
                <a:gd name="T48" fmla="*/ 18 w 722"/>
                <a:gd name="T49" fmla="*/ 40 h 430"/>
                <a:gd name="T50" fmla="*/ 83 w 722"/>
                <a:gd name="T51" fmla="*/ 39 h 430"/>
                <a:gd name="T52" fmla="*/ 137 w 722"/>
                <a:gd name="T53" fmla="*/ 37 h 430"/>
                <a:gd name="T54" fmla="*/ 171 w 722"/>
                <a:gd name="T55" fmla="*/ 37 h 430"/>
                <a:gd name="T56" fmla="*/ 223 w 722"/>
                <a:gd name="T57" fmla="*/ 36 h 430"/>
                <a:gd name="T58" fmla="*/ 259 w 722"/>
                <a:gd name="T59" fmla="*/ 34 h 430"/>
                <a:gd name="T60" fmla="*/ 301 w 722"/>
                <a:gd name="T61" fmla="*/ 33 h 430"/>
                <a:gd name="T62" fmla="*/ 355 w 722"/>
                <a:gd name="T63" fmla="*/ 31 h 430"/>
                <a:gd name="T64" fmla="*/ 416 w 722"/>
                <a:gd name="T65" fmla="*/ 28 h 430"/>
                <a:gd name="T66" fmla="*/ 459 w 722"/>
                <a:gd name="T67" fmla="*/ 28 h 430"/>
                <a:gd name="T68" fmla="*/ 520 w 722"/>
                <a:gd name="T69" fmla="*/ 26 h 430"/>
                <a:gd name="T70" fmla="*/ 582 w 722"/>
                <a:gd name="T71" fmla="*/ 24 h 430"/>
                <a:gd name="T72" fmla="*/ 643 w 722"/>
                <a:gd name="T73" fmla="*/ 22 h 430"/>
                <a:gd name="T74" fmla="*/ 696 w 722"/>
                <a:gd name="T75" fmla="*/ 20 h 430"/>
                <a:gd name="T76" fmla="*/ 753 w 722"/>
                <a:gd name="T77" fmla="*/ 18 h 430"/>
                <a:gd name="T78" fmla="*/ 816 w 722"/>
                <a:gd name="T79" fmla="*/ 16 h 430"/>
                <a:gd name="T80" fmla="*/ 876 w 722"/>
                <a:gd name="T81" fmla="*/ 15 h 430"/>
                <a:gd name="T82" fmla="*/ 924 w 722"/>
                <a:gd name="T83" fmla="*/ 14 h 430"/>
                <a:gd name="T84" fmla="*/ 981 w 722"/>
                <a:gd name="T85" fmla="*/ 12 h 430"/>
                <a:gd name="T86" fmla="*/ 1038 w 722"/>
                <a:gd name="T87" fmla="*/ 10 h 430"/>
                <a:gd name="T88" fmla="*/ 1091 w 722"/>
                <a:gd name="T89" fmla="*/ 8 h 430"/>
                <a:gd name="T90" fmla="*/ 1143 w 722"/>
                <a:gd name="T91" fmla="*/ 6 h 430"/>
                <a:gd name="T92" fmla="*/ 1187 w 722"/>
                <a:gd name="T93" fmla="*/ 5 h 430"/>
                <a:gd name="T94" fmla="*/ 1238 w 722"/>
                <a:gd name="T95" fmla="*/ 5 h 430"/>
                <a:gd name="T96" fmla="*/ 1284 w 722"/>
                <a:gd name="T97" fmla="*/ 5 h 430"/>
                <a:gd name="T98" fmla="*/ 1319 w 722"/>
                <a:gd name="T99" fmla="*/ 5 h 430"/>
                <a:gd name="T100" fmla="*/ 1367 w 722"/>
                <a:gd name="T101" fmla="*/ 0 h 430"/>
                <a:gd name="T102" fmla="*/ 1143 w 722"/>
                <a:gd name="T103" fmla="*/ 5 h 43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2"/>
                <a:gd name="T157" fmla="*/ 0 h 430"/>
                <a:gd name="T158" fmla="*/ 722 w 722"/>
                <a:gd name="T159" fmla="*/ 430 h 43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2" h="430">
                  <a:moveTo>
                    <a:pt x="603" y="29"/>
                  </a:moveTo>
                  <a:lnTo>
                    <a:pt x="585" y="37"/>
                  </a:lnTo>
                  <a:lnTo>
                    <a:pt x="567" y="46"/>
                  </a:lnTo>
                  <a:lnTo>
                    <a:pt x="544" y="57"/>
                  </a:lnTo>
                  <a:lnTo>
                    <a:pt x="525" y="66"/>
                  </a:lnTo>
                  <a:lnTo>
                    <a:pt x="507" y="77"/>
                  </a:lnTo>
                  <a:lnTo>
                    <a:pt x="489" y="89"/>
                  </a:lnTo>
                  <a:lnTo>
                    <a:pt x="471" y="97"/>
                  </a:lnTo>
                  <a:lnTo>
                    <a:pt x="457" y="109"/>
                  </a:lnTo>
                  <a:lnTo>
                    <a:pt x="439" y="117"/>
                  </a:lnTo>
                  <a:lnTo>
                    <a:pt x="420" y="129"/>
                  </a:lnTo>
                  <a:lnTo>
                    <a:pt x="402" y="137"/>
                  </a:lnTo>
                  <a:lnTo>
                    <a:pt x="388" y="148"/>
                  </a:lnTo>
                  <a:lnTo>
                    <a:pt x="370" y="157"/>
                  </a:lnTo>
                  <a:lnTo>
                    <a:pt x="352" y="168"/>
                  </a:lnTo>
                  <a:lnTo>
                    <a:pt x="338" y="177"/>
                  </a:lnTo>
                  <a:lnTo>
                    <a:pt x="320" y="188"/>
                  </a:lnTo>
                  <a:lnTo>
                    <a:pt x="306" y="197"/>
                  </a:lnTo>
                  <a:lnTo>
                    <a:pt x="288" y="205"/>
                  </a:lnTo>
                  <a:lnTo>
                    <a:pt x="274" y="217"/>
                  </a:lnTo>
                  <a:lnTo>
                    <a:pt x="260" y="225"/>
                  </a:lnTo>
                  <a:lnTo>
                    <a:pt x="242" y="234"/>
                  </a:lnTo>
                  <a:lnTo>
                    <a:pt x="233" y="242"/>
                  </a:lnTo>
                  <a:lnTo>
                    <a:pt x="219" y="254"/>
                  </a:lnTo>
                  <a:lnTo>
                    <a:pt x="206" y="262"/>
                  </a:lnTo>
                  <a:lnTo>
                    <a:pt x="192" y="271"/>
                  </a:lnTo>
                  <a:lnTo>
                    <a:pt x="178" y="279"/>
                  </a:lnTo>
                  <a:lnTo>
                    <a:pt x="169" y="288"/>
                  </a:lnTo>
                  <a:lnTo>
                    <a:pt x="155" y="297"/>
                  </a:lnTo>
                  <a:lnTo>
                    <a:pt x="142" y="305"/>
                  </a:lnTo>
                  <a:lnTo>
                    <a:pt x="132" y="314"/>
                  </a:lnTo>
                  <a:lnTo>
                    <a:pt x="119" y="322"/>
                  </a:lnTo>
                  <a:lnTo>
                    <a:pt x="114" y="331"/>
                  </a:lnTo>
                  <a:lnTo>
                    <a:pt x="100" y="336"/>
                  </a:lnTo>
                  <a:lnTo>
                    <a:pt x="91" y="345"/>
                  </a:lnTo>
                  <a:lnTo>
                    <a:pt x="82" y="351"/>
                  </a:lnTo>
                  <a:lnTo>
                    <a:pt x="73" y="356"/>
                  </a:lnTo>
                  <a:lnTo>
                    <a:pt x="64" y="362"/>
                  </a:lnTo>
                  <a:lnTo>
                    <a:pt x="55" y="368"/>
                  </a:lnTo>
                  <a:lnTo>
                    <a:pt x="50" y="376"/>
                  </a:lnTo>
                  <a:lnTo>
                    <a:pt x="46" y="382"/>
                  </a:lnTo>
                  <a:lnTo>
                    <a:pt x="32" y="391"/>
                  </a:lnTo>
                  <a:lnTo>
                    <a:pt x="18" y="402"/>
                  </a:lnTo>
                  <a:lnTo>
                    <a:pt x="14" y="408"/>
                  </a:lnTo>
                  <a:lnTo>
                    <a:pt x="4" y="416"/>
                  </a:lnTo>
                  <a:lnTo>
                    <a:pt x="0" y="425"/>
                  </a:lnTo>
                  <a:lnTo>
                    <a:pt x="0" y="430"/>
                  </a:lnTo>
                  <a:lnTo>
                    <a:pt x="4" y="428"/>
                  </a:lnTo>
                  <a:lnTo>
                    <a:pt x="14" y="425"/>
                  </a:lnTo>
                  <a:lnTo>
                    <a:pt x="18" y="419"/>
                  </a:lnTo>
                  <a:lnTo>
                    <a:pt x="36" y="413"/>
                  </a:lnTo>
                  <a:lnTo>
                    <a:pt x="46" y="405"/>
                  </a:lnTo>
                  <a:lnTo>
                    <a:pt x="64" y="396"/>
                  </a:lnTo>
                  <a:lnTo>
                    <a:pt x="73" y="391"/>
                  </a:lnTo>
                  <a:lnTo>
                    <a:pt x="82" y="385"/>
                  </a:lnTo>
                  <a:lnTo>
                    <a:pt x="91" y="379"/>
                  </a:lnTo>
                  <a:lnTo>
                    <a:pt x="105" y="373"/>
                  </a:lnTo>
                  <a:lnTo>
                    <a:pt x="119" y="368"/>
                  </a:lnTo>
                  <a:lnTo>
                    <a:pt x="128" y="356"/>
                  </a:lnTo>
                  <a:lnTo>
                    <a:pt x="137" y="353"/>
                  </a:lnTo>
                  <a:lnTo>
                    <a:pt x="151" y="345"/>
                  </a:lnTo>
                  <a:lnTo>
                    <a:pt x="160" y="336"/>
                  </a:lnTo>
                  <a:lnTo>
                    <a:pt x="174" y="328"/>
                  </a:lnTo>
                  <a:lnTo>
                    <a:pt x="187" y="319"/>
                  </a:lnTo>
                  <a:lnTo>
                    <a:pt x="206" y="314"/>
                  </a:lnTo>
                  <a:lnTo>
                    <a:pt x="219" y="302"/>
                  </a:lnTo>
                  <a:lnTo>
                    <a:pt x="233" y="297"/>
                  </a:lnTo>
                  <a:lnTo>
                    <a:pt x="242" y="285"/>
                  </a:lnTo>
                  <a:lnTo>
                    <a:pt x="260" y="277"/>
                  </a:lnTo>
                  <a:lnTo>
                    <a:pt x="274" y="268"/>
                  </a:lnTo>
                  <a:lnTo>
                    <a:pt x="292" y="260"/>
                  </a:lnTo>
                  <a:lnTo>
                    <a:pt x="306" y="248"/>
                  </a:lnTo>
                  <a:lnTo>
                    <a:pt x="320" y="240"/>
                  </a:lnTo>
                  <a:lnTo>
                    <a:pt x="338" y="228"/>
                  </a:lnTo>
                  <a:lnTo>
                    <a:pt x="352" y="220"/>
                  </a:lnTo>
                  <a:lnTo>
                    <a:pt x="366" y="211"/>
                  </a:lnTo>
                  <a:lnTo>
                    <a:pt x="384" y="205"/>
                  </a:lnTo>
                  <a:lnTo>
                    <a:pt x="398" y="194"/>
                  </a:lnTo>
                  <a:lnTo>
                    <a:pt x="416" y="185"/>
                  </a:lnTo>
                  <a:lnTo>
                    <a:pt x="430" y="174"/>
                  </a:lnTo>
                  <a:lnTo>
                    <a:pt x="448" y="166"/>
                  </a:lnTo>
                  <a:lnTo>
                    <a:pt x="462" y="154"/>
                  </a:lnTo>
                  <a:lnTo>
                    <a:pt x="480" y="146"/>
                  </a:lnTo>
                  <a:lnTo>
                    <a:pt x="489" y="137"/>
                  </a:lnTo>
                  <a:lnTo>
                    <a:pt x="507" y="129"/>
                  </a:lnTo>
                  <a:lnTo>
                    <a:pt x="516" y="117"/>
                  </a:lnTo>
                  <a:lnTo>
                    <a:pt x="535" y="109"/>
                  </a:lnTo>
                  <a:lnTo>
                    <a:pt x="548" y="100"/>
                  </a:lnTo>
                  <a:lnTo>
                    <a:pt x="567" y="94"/>
                  </a:lnTo>
                  <a:lnTo>
                    <a:pt x="576" y="83"/>
                  </a:lnTo>
                  <a:lnTo>
                    <a:pt x="589" y="77"/>
                  </a:lnTo>
                  <a:lnTo>
                    <a:pt x="603" y="69"/>
                  </a:lnTo>
                  <a:lnTo>
                    <a:pt x="617" y="60"/>
                  </a:lnTo>
                  <a:lnTo>
                    <a:pt x="626" y="54"/>
                  </a:lnTo>
                  <a:lnTo>
                    <a:pt x="640" y="46"/>
                  </a:lnTo>
                  <a:lnTo>
                    <a:pt x="653" y="40"/>
                  </a:lnTo>
                  <a:lnTo>
                    <a:pt x="663" y="35"/>
                  </a:lnTo>
                  <a:lnTo>
                    <a:pt x="676" y="26"/>
                  </a:lnTo>
                  <a:lnTo>
                    <a:pt x="685" y="20"/>
                  </a:lnTo>
                  <a:lnTo>
                    <a:pt x="695" y="12"/>
                  </a:lnTo>
                  <a:lnTo>
                    <a:pt x="704" y="9"/>
                  </a:lnTo>
                  <a:lnTo>
                    <a:pt x="722" y="0"/>
                  </a:lnTo>
                  <a:lnTo>
                    <a:pt x="603" y="2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23" name="Freeform 15"/>
            <p:cNvSpPr>
              <a:spLocks/>
            </p:cNvSpPr>
            <p:nvPr>
              <p:custDataLst>
                <p:tags r:id="rId222"/>
              </p:custDataLst>
            </p:nvPr>
          </p:nvSpPr>
          <p:spPr bwMode="gray">
            <a:xfrm>
              <a:off x="2900" y="679"/>
              <a:ext cx="1128" cy="487"/>
            </a:xfrm>
            <a:custGeom>
              <a:avLst/>
              <a:gdLst>
                <a:gd name="T0" fmla="*/ 317 w 1101"/>
                <a:gd name="T1" fmla="*/ 5 h 533"/>
                <a:gd name="T2" fmla="*/ 446 w 1101"/>
                <a:gd name="T3" fmla="*/ 8 h 533"/>
                <a:gd name="T4" fmla="*/ 584 w 1101"/>
                <a:gd name="T5" fmla="*/ 11 h 533"/>
                <a:gd name="T6" fmla="*/ 711 w 1101"/>
                <a:gd name="T7" fmla="*/ 14 h 533"/>
                <a:gd name="T8" fmla="*/ 848 w 1101"/>
                <a:gd name="T9" fmla="*/ 16 h 533"/>
                <a:gd name="T10" fmla="*/ 986 w 1101"/>
                <a:gd name="T11" fmla="*/ 20 h 533"/>
                <a:gd name="T12" fmla="*/ 1115 w 1101"/>
                <a:gd name="T13" fmla="*/ 24 h 533"/>
                <a:gd name="T14" fmla="*/ 1238 w 1101"/>
                <a:gd name="T15" fmla="*/ 26 h 533"/>
                <a:gd name="T16" fmla="*/ 1345 w 1101"/>
                <a:gd name="T17" fmla="*/ 30 h 533"/>
                <a:gd name="T18" fmla="*/ 1467 w 1101"/>
                <a:gd name="T19" fmla="*/ 34 h 533"/>
                <a:gd name="T20" fmla="*/ 1579 w 1101"/>
                <a:gd name="T21" fmla="*/ 37 h 533"/>
                <a:gd name="T22" fmla="*/ 1672 w 1101"/>
                <a:gd name="T23" fmla="*/ 38 h 533"/>
                <a:gd name="T24" fmla="*/ 1760 w 1101"/>
                <a:gd name="T25" fmla="*/ 40 h 533"/>
                <a:gd name="T26" fmla="*/ 1844 w 1101"/>
                <a:gd name="T27" fmla="*/ 44 h 533"/>
                <a:gd name="T28" fmla="*/ 1923 w 1101"/>
                <a:gd name="T29" fmla="*/ 45 h 533"/>
                <a:gd name="T30" fmla="*/ 1973 w 1101"/>
                <a:gd name="T31" fmla="*/ 48 h 533"/>
                <a:gd name="T32" fmla="*/ 2041 w 1101"/>
                <a:gd name="T33" fmla="*/ 48 h 533"/>
                <a:gd name="T34" fmla="*/ 2067 w 1101"/>
                <a:gd name="T35" fmla="*/ 51 h 533"/>
                <a:gd name="T36" fmla="*/ 2023 w 1101"/>
                <a:gd name="T37" fmla="*/ 49 h 533"/>
                <a:gd name="T38" fmla="*/ 1982 w 1101"/>
                <a:gd name="T39" fmla="*/ 48 h 533"/>
                <a:gd name="T40" fmla="*/ 1917 w 1101"/>
                <a:gd name="T41" fmla="*/ 48 h 533"/>
                <a:gd name="T42" fmla="*/ 1828 w 1101"/>
                <a:gd name="T43" fmla="*/ 44 h 533"/>
                <a:gd name="T44" fmla="*/ 1743 w 1101"/>
                <a:gd name="T45" fmla="*/ 44 h 533"/>
                <a:gd name="T46" fmla="*/ 1638 w 1101"/>
                <a:gd name="T47" fmla="*/ 40 h 533"/>
                <a:gd name="T48" fmla="*/ 1526 w 1101"/>
                <a:gd name="T49" fmla="*/ 37 h 533"/>
                <a:gd name="T50" fmla="*/ 1406 w 1101"/>
                <a:gd name="T51" fmla="*/ 34 h 533"/>
                <a:gd name="T52" fmla="*/ 1278 w 1101"/>
                <a:gd name="T53" fmla="*/ 31 h 533"/>
                <a:gd name="T54" fmla="*/ 1140 w 1101"/>
                <a:gd name="T55" fmla="*/ 28 h 533"/>
                <a:gd name="T56" fmla="*/ 1012 w 1101"/>
                <a:gd name="T57" fmla="*/ 26 h 533"/>
                <a:gd name="T58" fmla="*/ 875 w 1101"/>
                <a:gd name="T59" fmla="*/ 23 h 533"/>
                <a:gd name="T60" fmla="*/ 756 w 1101"/>
                <a:gd name="T61" fmla="*/ 20 h 533"/>
                <a:gd name="T62" fmla="*/ 626 w 1101"/>
                <a:gd name="T63" fmla="*/ 16 h 533"/>
                <a:gd name="T64" fmla="*/ 507 w 1101"/>
                <a:gd name="T65" fmla="*/ 14 h 533"/>
                <a:gd name="T66" fmla="*/ 394 w 1101"/>
                <a:gd name="T67" fmla="*/ 11 h 533"/>
                <a:gd name="T68" fmla="*/ 290 w 1101"/>
                <a:gd name="T69" fmla="*/ 9 h 533"/>
                <a:gd name="T70" fmla="*/ 199 w 1101"/>
                <a:gd name="T71" fmla="*/ 5 h 533"/>
                <a:gd name="T72" fmla="*/ 129 w 1101"/>
                <a:gd name="T73" fmla="*/ 5 h 533"/>
                <a:gd name="T74" fmla="*/ 58 w 1101"/>
                <a:gd name="T75" fmla="*/ 5 h 533"/>
                <a:gd name="T76" fmla="*/ 9 w 1101"/>
                <a:gd name="T77" fmla="*/ 5 h 533"/>
                <a:gd name="T78" fmla="*/ 0 w 1101"/>
                <a:gd name="T79" fmla="*/ 0 h 533"/>
                <a:gd name="T80" fmla="*/ 53 w 1101"/>
                <a:gd name="T81" fmla="*/ 3 h 533"/>
                <a:gd name="T82" fmla="*/ 129 w 1101"/>
                <a:gd name="T83" fmla="*/ 5 h 533"/>
                <a:gd name="T84" fmla="*/ 189 w 1101"/>
                <a:gd name="T85" fmla="*/ 5 h 533"/>
                <a:gd name="T86" fmla="*/ 229 w 1101"/>
                <a:gd name="T87" fmla="*/ 5 h 53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01"/>
                <a:gd name="T133" fmla="*/ 0 h 533"/>
                <a:gd name="T134" fmla="*/ 1101 w 1101"/>
                <a:gd name="T135" fmla="*/ 533 h 53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01" h="533">
                  <a:moveTo>
                    <a:pt x="128" y="37"/>
                  </a:moveTo>
                  <a:lnTo>
                    <a:pt x="151" y="46"/>
                  </a:lnTo>
                  <a:lnTo>
                    <a:pt x="169" y="54"/>
                  </a:lnTo>
                  <a:lnTo>
                    <a:pt x="192" y="63"/>
                  </a:lnTo>
                  <a:lnTo>
                    <a:pt x="215" y="74"/>
                  </a:lnTo>
                  <a:lnTo>
                    <a:pt x="238" y="83"/>
                  </a:lnTo>
                  <a:lnTo>
                    <a:pt x="265" y="91"/>
                  </a:lnTo>
                  <a:lnTo>
                    <a:pt x="283" y="103"/>
                  </a:lnTo>
                  <a:lnTo>
                    <a:pt x="311" y="114"/>
                  </a:lnTo>
                  <a:lnTo>
                    <a:pt x="334" y="126"/>
                  </a:lnTo>
                  <a:lnTo>
                    <a:pt x="352" y="137"/>
                  </a:lnTo>
                  <a:lnTo>
                    <a:pt x="379" y="146"/>
                  </a:lnTo>
                  <a:lnTo>
                    <a:pt x="407" y="157"/>
                  </a:lnTo>
                  <a:lnTo>
                    <a:pt x="425" y="165"/>
                  </a:lnTo>
                  <a:lnTo>
                    <a:pt x="452" y="180"/>
                  </a:lnTo>
                  <a:lnTo>
                    <a:pt x="475" y="191"/>
                  </a:lnTo>
                  <a:lnTo>
                    <a:pt x="503" y="202"/>
                  </a:lnTo>
                  <a:lnTo>
                    <a:pt x="525" y="214"/>
                  </a:lnTo>
                  <a:lnTo>
                    <a:pt x="548" y="222"/>
                  </a:lnTo>
                  <a:lnTo>
                    <a:pt x="571" y="237"/>
                  </a:lnTo>
                  <a:lnTo>
                    <a:pt x="594" y="245"/>
                  </a:lnTo>
                  <a:lnTo>
                    <a:pt x="612" y="257"/>
                  </a:lnTo>
                  <a:lnTo>
                    <a:pt x="635" y="268"/>
                  </a:lnTo>
                  <a:lnTo>
                    <a:pt x="658" y="279"/>
                  </a:lnTo>
                  <a:lnTo>
                    <a:pt x="681" y="291"/>
                  </a:lnTo>
                  <a:lnTo>
                    <a:pt x="699" y="299"/>
                  </a:lnTo>
                  <a:lnTo>
                    <a:pt x="717" y="311"/>
                  </a:lnTo>
                  <a:lnTo>
                    <a:pt x="740" y="322"/>
                  </a:lnTo>
                  <a:lnTo>
                    <a:pt x="763" y="333"/>
                  </a:lnTo>
                  <a:lnTo>
                    <a:pt x="781" y="345"/>
                  </a:lnTo>
                  <a:lnTo>
                    <a:pt x="800" y="353"/>
                  </a:lnTo>
                  <a:lnTo>
                    <a:pt x="823" y="365"/>
                  </a:lnTo>
                  <a:lnTo>
                    <a:pt x="841" y="376"/>
                  </a:lnTo>
                  <a:lnTo>
                    <a:pt x="859" y="385"/>
                  </a:lnTo>
                  <a:lnTo>
                    <a:pt x="877" y="393"/>
                  </a:lnTo>
                  <a:lnTo>
                    <a:pt x="891" y="405"/>
                  </a:lnTo>
                  <a:lnTo>
                    <a:pt x="909" y="413"/>
                  </a:lnTo>
                  <a:lnTo>
                    <a:pt x="923" y="422"/>
                  </a:lnTo>
                  <a:lnTo>
                    <a:pt x="937" y="430"/>
                  </a:lnTo>
                  <a:lnTo>
                    <a:pt x="955" y="439"/>
                  </a:lnTo>
                  <a:lnTo>
                    <a:pt x="969" y="450"/>
                  </a:lnTo>
                  <a:lnTo>
                    <a:pt x="982" y="456"/>
                  </a:lnTo>
                  <a:lnTo>
                    <a:pt x="996" y="464"/>
                  </a:lnTo>
                  <a:lnTo>
                    <a:pt x="1010" y="473"/>
                  </a:lnTo>
                  <a:lnTo>
                    <a:pt x="1024" y="479"/>
                  </a:lnTo>
                  <a:lnTo>
                    <a:pt x="1028" y="484"/>
                  </a:lnTo>
                  <a:lnTo>
                    <a:pt x="1042" y="493"/>
                  </a:lnTo>
                  <a:lnTo>
                    <a:pt x="1051" y="499"/>
                  </a:lnTo>
                  <a:lnTo>
                    <a:pt x="1060" y="504"/>
                  </a:lnTo>
                  <a:lnTo>
                    <a:pt x="1078" y="516"/>
                  </a:lnTo>
                  <a:lnTo>
                    <a:pt x="1088" y="521"/>
                  </a:lnTo>
                  <a:lnTo>
                    <a:pt x="1097" y="527"/>
                  </a:lnTo>
                  <a:lnTo>
                    <a:pt x="1101" y="530"/>
                  </a:lnTo>
                  <a:lnTo>
                    <a:pt x="1101" y="533"/>
                  </a:lnTo>
                  <a:lnTo>
                    <a:pt x="1097" y="533"/>
                  </a:lnTo>
                  <a:lnTo>
                    <a:pt x="1092" y="527"/>
                  </a:lnTo>
                  <a:lnTo>
                    <a:pt x="1078" y="524"/>
                  </a:lnTo>
                  <a:lnTo>
                    <a:pt x="1074" y="521"/>
                  </a:lnTo>
                  <a:lnTo>
                    <a:pt x="1065" y="516"/>
                  </a:lnTo>
                  <a:lnTo>
                    <a:pt x="1056" y="510"/>
                  </a:lnTo>
                  <a:lnTo>
                    <a:pt x="1042" y="504"/>
                  </a:lnTo>
                  <a:lnTo>
                    <a:pt x="1033" y="501"/>
                  </a:lnTo>
                  <a:lnTo>
                    <a:pt x="1019" y="493"/>
                  </a:lnTo>
                  <a:lnTo>
                    <a:pt x="1005" y="487"/>
                  </a:lnTo>
                  <a:lnTo>
                    <a:pt x="992" y="482"/>
                  </a:lnTo>
                  <a:lnTo>
                    <a:pt x="973" y="473"/>
                  </a:lnTo>
                  <a:lnTo>
                    <a:pt x="960" y="467"/>
                  </a:lnTo>
                  <a:lnTo>
                    <a:pt x="941" y="459"/>
                  </a:lnTo>
                  <a:lnTo>
                    <a:pt x="928" y="450"/>
                  </a:lnTo>
                  <a:lnTo>
                    <a:pt x="909" y="442"/>
                  </a:lnTo>
                  <a:lnTo>
                    <a:pt x="891" y="433"/>
                  </a:lnTo>
                  <a:lnTo>
                    <a:pt x="873" y="425"/>
                  </a:lnTo>
                  <a:lnTo>
                    <a:pt x="855" y="416"/>
                  </a:lnTo>
                  <a:lnTo>
                    <a:pt x="832" y="405"/>
                  </a:lnTo>
                  <a:lnTo>
                    <a:pt x="813" y="393"/>
                  </a:lnTo>
                  <a:lnTo>
                    <a:pt x="791" y="385"/>
                  </a:lnTo>
                  <a:lnTo>
                    <a:pt x="768" y="376"/>
                  </a:lnTo>
                  <a:lnTo>
                    <a:pt x="749" y="365"/>
                  </a:lnTo>
                  <a:lnTo>
                    <a:pt x="722" y="353"/>
                  </a:lnTo>
                  <a:lnTo>
                    <a:pt x="699" y="342"/>
                  </a:lnTo>
                  <a:lnTo>
                    <a:pt x="681" y="333"/>
                  </a:lnTo>
                  <a:lnTo>
                    <a:pt x="658" y="322"/>
                  </a:lnTo>
                  <a:lnTo>
                    <a:pt x="631" y="311"/>
                  </a:lnTo>
                  <a:lnTo>
                    <a:pt x="608" y="299"/>
                  </a:lnTo>
                  <a:lnTo>
                    <a:pt x="589" y="291"/>
                  </a:lnTo>
                  <a:lnTo>
                    <a:pt x="562" y="279"/>
                  </a:lnTo>
                  <a:lnTo>
                    <a:pt x="539" y="268"/>
                  </a:lnTo>
                  <a:lnTo>
                    <a:pt x="516" y="257"/>
                  </a:lnTo>
                  <a:lnTo>
                    <a:pt x="493" y="248"/>
                  </a:lnTo>
                  <a:lnTo>
                    <a:pt x="466" y="237"/>
                  </a:lnTo>
                  <a:lnTo>
                    <a:pt x="443" y="225"/>
                  </a:lnTo>
                  <a:lnTo>
                    <a:pt x="425" y="214"/>
                  </a:lnTo>
                  <a:lnTo>
                    <a:pt x="402" y="202"/>
                  </a:lnTo>
                  <a:lnTo>
                    <a:pt x="375" y="194"/>
                  </a:lnTo>
                  <a:lnTo>
                    <a:pt x="352" y="183"/>
                  </a:lnTo>
                  <a:lnTo>
                    <a:pt x="334" y="171"/>
                  </a:lnTo>
                  <a:lnTo>
                    <a:pt x="315" y="160"/>
                  </a:lnTo>
                  <a:lnTo>
                    <a:pt x="292" y="151"/>
                  </a:lnTo>
                  <a:lnTo>
                    <a:pt x="270" y="140"/>
                  </a:lnTo>
                  <a:lnTo>
                    <a:pt x="247" y="128"/>
                  </a:lnTo>
                  <a:lnTo>
                    <a:pt x="228" y="123"/>
                  </a:lnTo>
                  <a:lnTo>
                    <a:pt x="210" y="111"/>
                  </a:lnTo>
                  <a:lnTo>
                    <a:pt x="187" y="103"/>
                  </a:lnTo>
                  <a:lnTo>
                    <a:pt x="174" y="94"/>
                  </a:lnTo>
                  <a:lnTo>
                    <a:pt x="155" y="89"/>
                  </a:lnTo>
                  <a:lnTo>
                    <a:pt x="142" y="77"/>
                  </a:lnTo>
                  <a:lnTo>
                    <a:pt x="123" y="69"/>
                  </a:lnTo>
                  <a:lnTo>
                    <a:pt x="105" y="63"/>
                  </a:lnTo>
                  <a:lnTo>
                    <a:pt x="96" y="54"/>
                  </a:lnTo>
                  <a:lnTo>
                    <a:pt x="78" y="49"/>
                  </a:lnTo>
                  <a:lnTo>
                    <a:pt x="68" y="43"/>
                  </a:lnTo>
                  <a:lnTo>
                    <a:pt x="59" y="34"/>
                  </a:lnTo>
                  <a:lnTo>
                    <a:pt x="46" y="32"/>
                  </a:lnTo>
                  <a:lnTo>
                    <a:pt x="32" y="23"/>
                  </a:lnTo>
                  <a:lnTo>
                    <a:pt x="27" y="20"/>
                  </a:lnTo>
                  <a:lnTo>
                    <a:pt x="18" y="17"/>
                  </a:lnTo>
                  <a:lnTo>
                    <a:pt x="9" y="12"/>
                  </a:lnTo>
                  <a:lnTo>
                    <a:pt x="4" y="9"/>
                  </a:lnTo>
                  <a:lnTo>
                    <a:pt x="0" y="3"/>
                  </a:lnTo>
                  <a:lnTo>
                    <a:pt x="0" y="0"/>
                  </a:lnTo>
                  <a:lnTo>
                    <a:pt x="9" y="0"/>
                  </a:lnTo>
                  <a:lnTo>
                    <a:pt x="18" y="0"/>
                  </a:lnTo>
                  <a:lnTo>
                    <a:pt x="27" y="3"/>
                  </a:lnTo>
                  <a:lnTo>
                    <a:pt x="46" y="6"/>
                  </a:lnTo>
                  <a:lnTo>
                    <a:pt x="59" y="12"/>
                  </a:lnTo>
                  <a:lnTo>
                    <a:pt x="68" y="15"/>
                  </a:lnTo>
                  <a:lnTo>
                    <a:pt x="78" y="20"/>
                  </a:lnTo>
                  <a:lnTo>
                    <a:pt x="91" y="23"/>
                  </a:lnTo>
                  <a:lnTo>
                    <a:pt x="100" y="29"/>
                  </a:lnTo>
                  <a:lnTo>
                    <a:pt x="114" y="32"/>
                  </a:lnTo>
                  <a:lnTo>
                    <a:pt x="119" y="34"/>
                  </a:lnTo>
                  <a:lnTo>
                    <a:pt x="123" y="37"/>
                  </a:lnTo>
                  <a:lnTo>
                    <a:pt x="128" y="37"/>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24" name="Freeform 16"/>
            <p:cNvSpPr>
              <a:spLocks/>
            </p:cNvSpPr>
            <p:nvPr>
              <p:custDataLst>
                <p:tags r:id="rId223"/>
              </p:custDataLst>
            </p:nvPr>
          </p:nvSpPr>
          <p:spPr bwMode="gray">
            <a:xfrm>
              <a:off x="1476" y="993"/>
              <a:ext cx="2230" cy="143"/>
            </a:xfrm>
            <a:custGeom>
              <a:avLst/>
              <a:gdLst>
                <a:gd name="T0" fmla="*/ 480 w 2175"/>
                <a:gd name="T1" fmla="*/ 5 h 156"/>
                <a:gd name="T2" fmla="*/ 793 w 2175"/>
                <a:gd name="T3" fmla="*/ 8 h 156"/>
                <a:gd name="T4" fmla="*/ 1102 w 2175"/>
                <a:gd name="T5" fmla="*/ 12 h 156"/>
                <a:gd name="T6" fmla="*/ 1409 w 2175"/>
                <a:gd name="T7" fmla="*/ 14 h 156"/>
                <a:gd name="T8" fmla="*/ 1696 w 2175"/>
                <a:gd name="T9" fmla="*/ 15 h 156"/>
                <a:gd name="T10" fmla="*/ 1984 w 2175"/>
                <a:gd name="T11" fmla="*/ 16 h 156"/>
                <a:gd name="T12" fmla="*/ 2256 w 2175"/>
                <a:gd name="T13" fmla="*/ 16 h 156"/>
                <a:gd name="T14" fmla="*/ 2500 w 2175"/>
                <a:gd name="T15" fmla="*/ 17 h 156"/>
                <a:gd name="T16" fmla="*/ 2744 w 2175"/>
                <a:gd name="T17" fmla="*/ 17 h 156"/>
                <a:gd name="T18" fmla="*/ 2971 w 2175"/>
                <a:gd name="T19" fmla="*/ 17 h 156"/>
                <a:gd name="T20" fmla="*/ 3190 w 2175"/>
                <a:gd name="T21" fmla="*/ 17 h 156"/>
                <a:gd name="T22" fmla="*/ 3383 w 2175"/>
                <a:gd name="T23" fmla="*/ 16 h 156"/>
                <a:gd name="T24" fmla="*/ 3550 w 2175"/>
                <a:gd name="T25" fmla="*/ 16 h 156"/>
                <a:gd name="T26" fmla="*/ 3706 w 2175"/>
                <a:gd name="T27" fmla="*/ 15 h 156"/>
                <a:gd name="T28" fmla="*/ 3850 w 2175"/>
                <a:gd name="T29" fmla="*/ 15 h 156"/>
                <a:gd name="T30" fmla="*/ 3961 w 2175"/>
                <a:gd name="T31" fmla="*/ 14 h 156"/>
                <a:gd name="T32" fmla="*/ 4044 w 2175"/>
                <a:gd name="T33" fmla="*/ 13 h 156"/>
                <a:gd name="T34" fmla="*/ 4112 w 2175"/>
                <a:gd name="T35" fmla="*/ 13 h 156"/>
                <a:gd name="T36" fmla="*/ 4153 w 2175"/>
                <a:gd name="T37" fmla="*/ 13 h 156"/>
                <a:gd name="T38" fmla="*/ 4127 w 2175"/>
                <a:gd name="T39" fmla="*/ 12 h 156"/>
                <a:gd name="T40" fmla="*/ 4064 w 2175"/>
                <a:gd name="T41" fmla="*/ 12 h 156"/>
                <a:gd name="T42" fmla="*/ 3997 w 2175"/>
                <a:gd name="T43" fmla="*/ 13 h 156"/>
                <a:gd name="T44" fmla="*/ 3926 w 2175"/>
                <a:gd name="T45" fmla="*/ 13 h 156"/>
                <a:gd name="T46" fmla="*/ 3841 w 2175"/>
                <a:gd name="T47" fmla="*/ 13 h 156"/>
                <a:gd name="T48" fmla="*/ 3743 w 2175"/>
                <a:gd name="T49" fmla="*/ 13 h 156"/>
                <a:gd name="T50" fmla="*/ 3639 w 2175"/>
                <a:gd name="T51" fmla="*/ 13 h 156"/>
                <a:gd name="T52" fmla="*/ 3525 w 2175"/>
                <a:gd name="T53" fmla="*/ 13 h 156"/>
                <a:gd name="T54" fmla="*/ 3402 w 2175"/>
                <a:gd name="T55" fmla="*/ 14 h 156"/>
                <a:gd name="T56" fmla="*/ 3279 w 2175"/>
                <a:gd name="T57" fmla="*/ 14 h 156"/>
                <a:gd name="T58" fmla="*/ 3157 w 2175"/>
                <a:gd name="T59" fmla="*/ 14 h 156"/>
                <a:gd name="T60" fmla="*/ 3027 w 2175"/>
                <a:gd name="T61" fmla="*/ 14 h 156"/>
                <a:gd name="T62" fmla="*/ 2892 w 2175"/>
                <a:gd name="T63" fmla="*/ 14 h 156"/>
                <a:gd name="T64" fmla="*/ 2744 w 2175"/>
                <a:gd name="T65" fmla="*/ 14 h 156"/>
                <a:gd name="T66" fmla="*/ 2611 w 2175"/>
                <a:gd name="T67" fmla="*/ 14 h 156"/>
                <a:gd name="T68" fmla="*/ 2476 w 2175"/>
                <a:gd name="T69" fmla="*/ 13 h 156"/>
                <a:gd name="T70" fmla="*/ 2345 w 2175"/>
                <a:gd name="T71" fmla="*/ 13 h 156"/>
                <a:gd name="T72" fmla="*/ 2201 w 2175"/>
                <a:gd name="T73" fmla="*/ 13 h 156"/>
                <a:gd name="T74" fmla="*/ 2065 w 2175"/>
                <a:gd name="T75" fmla="*/ 13 h 156"/>
                <a:gd name="T76" fmla="*/ 1941 w 2175"/>
                <a:gd name="T77" fmla="*/ 12 h 156"/>
                <a:gd name="T78" fmla="*/ 1810 w 2175"/>
                <a:gd name="T79" fmla="*/ 11 h 156"/>
                <a:gd name="T80" fmla="*/ 1696 w 2175"/>
                <a:gd name="T81" fmla="*/ 11 h 156"/>
                <a:gd name="T82" fmla="*/ 1583 w 2175"/>
                <a:gd name="T83" fmla="*/ 10 h 156"/>
                <a:gd name="T84" fmla="*/ 1459 w 2175"/>
                <a:gd name="T85" fmla="*/ 9 h 156"/>
                <a:gd name="T86" fmla="*/ 1347 w 2175"/>
                <a:gd name="T87" fmla="*/ 8 h 156"/>
                <a:gd name="T88" fmla="*/ 1233 w 2175"/>
                <a:gd name="T89" fmla="*/ 7 h 156"/>
                <a:gd name="T90" fmla="*/ 1121 w 2175"/>
                <a:gd name="T91" fmla="*/ 6 h 156"/>
                <a:gd name="T92" fmla="*/ 1004 w 2175"/>
                <a:gd name="T93" fmla="*/ 5 h 156"/>
                <a:gd name="T94" fmla="*/ 899 w 2175"/>
                <a:gd name="T95" fmla="*/ 5 h 156"/>
                <a:gd name="T96" fmla="*/ 793 w 2175"/>
                <a:gd name="T97" fmla="*/ 5 h 156"/>
                <a:gd name="T98" fmla="*/ 697 w 2175"/>
                <a:gd name="T99" fmla="*/ 5 h 156"/>
                <a:gd name="T100" fmla="*/ 601 w 2175"/>
                <a:gd name="T101" fmla="*/ 5 h 156"/>
                <a:gd name="T102" fmla="*/ 516 w 2175"/>
                <a:gd name="T103" fmla="*/ 5 h 156"/>
                <a:gd name="T104" fmla="*/ 429 w 2175"/>
                <a:gd name="T105" fmla="*/ 5 h 156"/>
                <a:gd name="T106" fmla="*/ 349 w 2175"/>
                <a:gd name="T107" fmla="*/ 5 h 156"/>
                <a:gd name="T108" fmla="*/ 270 w 2175"/>
                <a:gd name="T109" fmla="*/ 5 h 156"/>
                <a:gd name="T110" fmla="*/ 209 w 2175"/>
                <a:gd name="T111" fmla="*/ 5 h 156"/>
                <a:gd name="T112" fmla="*/ 145 w 2175"/>
                <a:gd name="T113" fmla="*/ 5 h 156"/>
                <a:gd name="T114" fmla="*/ 74 w 2175"/>
                <a:gd name="T115" fmla="*/ 5 h 156"/>
                <a:gd name="T116" fmla="*/ 4 w 2175"/>
                <a:gd name="T117" fmla="*/ 0 h 156"/>
                <a:gd name="T118" fmla="*/ 270 w 2175"/>
                <a:gd name="T119" fmla="*/ 5 h 1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75"/>
                <a:gd name="T181" fmla="*/ 0 h 156"/>
                <a:gd name="T182" fmla="*/ 2175 w 2175"/>
                <a:gd name="T183" fmla="*/ 156 h 1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75" h="156">
                  <a:moveTo>
                    <a:pt x="141" y="34"/>
                  </a:moveTo>
                  <a:lnTo>
                    <a:pt x="196" y="43"/>
                  </a:lnTo>
                  <a:lnTo>
                    <a:pt x="251" y="54"/>
                  </a:lnTo>
                  <a:lnTo>
                    <a:pt x="306" y="63"/>
                  </a:lnTo>
                  <a:lnTo>
                    <a:pt x="361" y="74"/>
                  </a:lnTo>
                  <a:lnTo>
                    <a:pt x="415" y="80"/>
                  </a:lnTo>
                  <a:lnTo>
                    <a:pt x="470" y="88"/>
                  </a:lnTo>
                  <a:lnTo>
                    <a:pt x="521" y="97"/>
                  </a:lnTo>
                  <a:lnTo>
                    <a:pt x="575" y="105"/>
                  </a:lnTo>
                  <a:lnTo>
                    <a:pt x="630" y="111"/>
                  </a:lnTo>
                  <a:lnTo>
                    <a:pt x="685" y="117"/>
                  </a:lnTo>
                  <a:lnTo>
                    <a:pt x="735" y="119"/>
                  </a:lnTo>
                  <a:lnTo>
                    <a:pt x="786" y="128"/>
                  </a:lnTo>
                  <a:lnTo>
                    <a:pt x="836" y="128"/>
                  </a:lnTo>
                  <a:lnTo>
                    <a:pt x="886" y="134"/>
                  </a:lnTo>
                  <a:lnTo>
                    <a:pt x="936" y="137"/>
                  </a:lnTo>
                  <a:lnTo>
                    <a:pt x="991" y="142"/>
                  </a:lnTo>
                  <a:lnTo>
                    <a:pt x="1037" y="145"/>
                  </a:lnTo>
                  <a:lnTo>
                    <a:pt x="1083" y="148"/>
                  </a:lnTo>
                  <a:lnTo>
                    <a:pt x="1128" y="148"/>
                  </a:lnTo>
                  <a:lnTo>
                    <a:pt x="1179" y="151"/>
                  </a:lnTo>
                  <a:lnTo>
                    <a:pt x="1220" y="154"/>
                  </a:lnTo>
                  <a:lnTo>
                    <a:pt x="1266" y="156"/>
                  </a:lnTo>
                  <a:lnTo>
                    <a:pt x="1307" y="156"/>
                  </a:lnTo>
                  <a:lnTo>
                    <a:pt x="1352" y="156"/>
                  </a:lnTo>
                  <a:lnTo>
                    <a:pt x="1398" y="156"/>
                  </a:lnTo>
                  <a:lnTo>
                    <a:pt x="1435" y="156"/>
                  </a:lnTo>
                  <a:lnTo>
                    <a:pt x="1476" y="156"/>
                  </a:lnTo>
                  <a:lnTo>
                    <a:pt x="1517" y="156"/>
                  </a:lnTo>
                  <a:lnTo>
                    <a:pt x="1553" y="156"/>
                  </a:lnTo>
                  <a:lnTo>
                    <a:pt x="1590" y="156"/>
                  </a:lnTo>
                  <a:lnTo>
                    <a:pt x="1631" y="156"/>
                  </a:lnTo>
                  <a:lnTo>
                    <a:pt x="1668" y="156"/>
                  </a:lnTo>
                  <a:lnTo>
                    <a:pt x="1704" y="151"/>
                  </a:lnTo>
                  <a:lnTo>
                    <a:pt x="1732" y="148"/>
                  </a:lnTo>
                  <a:lnTo>
                    <a:pt x="1768" y="148"/>
                  </a:lnTo>
                  <a:lnTo>
                    <a:pt x="1796" y="148"/>
                  </a:lnTo>
                  <a:lnTo>
                    <a:pt x="1828" y="145"/>
                  </a:lnTo>
                  <a:lnTo>
                    <a:pt x="1855" y="145"/>
                  </a:lnTo>
                  <a:lnTo>
                    <a:pt x="1887" y="139"/>
                  </a:lnTo>
                  <a:lnTo>
                    <a:pt x="1914" y="139"/>
                  </a:lnTo>
                  <a:lnTo>
                    <a:pt x="1937" y="137"/>
                  </a:lnTo>
                  <a:lnTo>
                    <a:pt x="1965" y="137"/>
                  </a:lnTo>
                  <a:lnTo>
                    <a:pt x="1988" y="134"/>
                  </a:lnTo>
                  <a:lnTo>
                    <a:pt x="2010" y="131"/>
                  </a:lnTo>
                  <a:lnTo>
                    <a:pt x="2029" y="128"/>
                  </a:lnTo>
                  <a:lnTo>
                    <a:pt x="2052" y="128"/>
                  </a:lnTo>
                  <a:lnTo>
                    <a:pt x="2070" y="125"/>
                  </a:lnTo>
                  <a:lnTo>
                    <a:pt x="2088" y="122"/>
                  </a:lnTo>
                  <a:lnTo>
                    <a:pt x="2102" y="119"/>
                  </a:lnTo>
                  <a:lnTo>
                    <a:pt x="2111" y="117"/>
                  </a:lnTo>
                  <a:lnTo>
                    <a:pt x="2125" y="117"/>
                  </a:lnTo>
                  <a:lnTo>
                    <a:pt x="2138" y="114"/>
                  </a:lnTo>
                  <a:lnTo>
                    <a:pt x="2148" y="114"/>
                  </a:lnTo>
                  <a:lnTo>
                    <a:pt x="2157" y="111"/>
                  </a:lnTo>
                  <a:lnTo>
                    <a:pt x="2161" y="111"/>
                  </a:lnTo>
                  <a:lnTo>
                    <a:pt x="2170" y="111"/>
                  </a:lnTo>
                  <a:lnTo>
                    <a:pt x="2175" y="105"/>
                  </a:lnTo>
                  <a:lnTo>
                    <a:pt x="2170" y="105"/>
                  </a:lnTo>
                  <a:lnTo>
                    <a:pt x="2157" y="108"/>
                  </a:lnTo>
                  <a:lnTo>
                    <a:pt x="2148" y="108"/>
                  </a:lnTo>
                  <a:lnTo>
                    <a:pt x="2138" y="108"/>
                  </a:lnTo>
                  <a:lnTo>
                    <a:pt x="2125" y="108"/>
                  </a:lnTo>
                  <a:lnTo>
                    <a:pt x="2116" y="108"/>
                  </a:lnTo>
                  <a:lnTo>
                    <a:pt x="2102" y="108"/>
                  </a:lnTo>
                  <a:lnTo>
                    <a:pt x="2088" y="111"/>
                  </a:lnTo>
                  <a:lnTo>
                    <a:pt x="2079" y="111"/>
                  </a:lnTo>
                  <a:lnTo>
                    <a:pt x="2070" y="111"/>
                  </a:lnTo>
                  <a:lnTo>
                    <a:pt x="2052" y="111"/>
                  </a:lnTo>
                  <a:lnTo>
                    <a:pt x="2033" y="111"/>
                  </a:lnTo>
                  <a:lnTo>
                    <a:pt x="2020" y="114"/>
                  </a:lnTo>
                  <a:lnTo>
                    <a:pt x="2006" y="114"/>
                  </a:lnTo>
                  <a:lnTo>
                    <a:pt x="1988" y="114"/>
                  </a:lnTo>
                  <a:lnTo>
                    <a:pt x="1969" y="114"/>
                  </a:lnTo>
                  <a:lnTo>
                    <a:pt x="1956" y="114"/>
                  </a:lnTo>
                  <a:lnTo>
                    <a:pt x="1942" y="117"/>
                  </a:lnTo>
                  <a:lnTo>
                    <a:pt x="1919" y="117"/>
                  </a:lnTo>
                  <a:lnTo>
                    <a:pt x="1901" y="117"/>
                  </a:lnTo>
                  <a:lnTo>
                    <a:pt x="1882" y="117"/>
                  </a:lnTo>
                  <a:lnTo>
                    <a:pt x="1864" y="117"/>
                  </a:lnTo>
                  <a:lnTo>
                    <a:pt x="1841" y="117"/>
                  </a:lnTo>
                  <a:lnTo>
                    <a:pt x="1823" y="117"/>
                  </a:lnTo>
                  <a:lnTo>
                    <a:pt x="1800" y="117"/>
                  </a:lnTo>
                  <a:lnTo>
                    <a:pt x="1777" y="119"/>
                  </a:lnTo>
                  <a:lnTo>
                    <a:pt x="1759" y="119"/>
                  </a:lnTo>
                  <a:lnTo>
                    <a:pt x="1741" y="119"/>
                  </a:lnTo>
                  <a:lnTo>
                    <a:pt x="1713" y="119"/>
                  </a:lnTo>
                  <a:lnTo>
                    <a:pt x="1695" y="119"/>
                  </a:lnTo>
                  <a:lnTo>
                    <a:pt x="1672" y="119"/>
                  </a:lnTo>
                  <a:lnTo>
                    <a:pt x="1649" y="119"/>
                  </a:lnTo>
                  <a:lnTo>
                    <a:pt x="1627" y="119"/>
                  </a:lnTo>
                  <a:lnTo>
                    <a:pt x="1604" y="122"/>
                  </a:lnTo>
                  <a:lnTo>
                    <a:pt x="1581" y="119"/>
                  </a:lnTo>
                  <a:lnTo>
                    <a:pt x="1558" y="119"/>
                  </a:lnTo>
                  <a:lnTo>
                    <a:pt x="1535" y="119"/>
                  </a:lnTo>
                  <a:lnTo>
                    <a:pt x="1512" y="119"/>
                  </a:lnTo>
                  <a:lnTo>
                    <a:pt x="1485" y="119"/>
                  </a:lnTo>
                  <a:lnTo>
                    <a:pt x="1462" y="119"/>
                  </a:lnTo>
                  <a:lnTo>
                    <a:pt x="1435" y="119"/>
                  </a:lnTo>
                  <a:lnTo>
                    <a:pt x="1416" y="119"/>
                  </a:lnTo>
                  <a:lnTo>
                    <a:pt x="1389" y="119"/>
                  </a:lnTo>
                  <a:lnTo>
                    <a:pt x="1366" y="119"/>
                  </a:lnTo>
                  <a:lnTo>
                    <a:pt x="1343" y="117"/>
                  </a:lnTo>
                  <a:lnTo>
                    <a:pt x="1316" y="117"/>
                  </a:lnTo>
                  <a:lnTo>
                    <a:pt x="1293" y="117"/>
                  </a:lnTo>
                  <a:lnTo>
                    <a:pt x="1270" y="117"/>
                  </a:lnTo>
                  <a:lnTo>
                    <a:pt x="1247" y="117"/>
                  </a:lnTo>
                  <a:lnTo>
                    <a:pt x="1224" y="117"/>
                  </a:lnTo>
                  <a:lnTo>
                    <a:pt x="1197" y="114"/>
                  </a:lnTo>
                  <a:lnTo>
                    <a:pt x="1174" y="114"/>
                  </a:lnTo>
                  <a:lnTo>
                    <a:pt x="1151" y="114"/>
                  </a:lnTo>
                  <a:lnTo>
                    <a:pt x="1124" y="114"/>
                  </a:lnTo>
                  <a:lnTo>
                    <a:pt x="1101" y="111"/>
                  </a:lnTo>
                  <a:lnTo>
                    <a:pt x="1078" y="111"/>
                  </a:lnTo>
                  <a:lnTo>
                    <a:pt x="1055" y="108"/>
                  </a:lnTo>
                  <a:lnTo>
                    <a:pt x="1037" y="108"/>
                  </a:lnTo>
                  <a:lnTo>
                    <a:pt x="1014" y="105"/>
                  </a:lnTo>
                  <a:lnTo>
                    <a:pt x="991" y="105"/>
                  </a:lnTo>
                  <a:lnTo>
                    <a:pt x="968" y="102"/>
                  </a:lnTo>
                  <a:lnTo>
                    <a:pt x="946" y="100"/>
                  </a:lnTo>
                  <a:lnTo>
                    <a:pt x="923" y="100"/>
                  </a:lnTo>
                  <a:lnTo>
                    <a:pt x="904" y="97"/>
                  </a:lnTo>
                  <a:lnTo>
                    <a:pt x="886" y="97"/>
                  </a:lnTo>
                  <a:lnTo>
                    <a:pt x="868" y="94"/>
                  </a:lnTo>
                  <a:lnTo>
                    <a:pt x="845" y="91"/>
                  </a:lnTo>
                  <a:lnTo>
                    <a:pt x="827" y="91"/>
                  </a:lnTo>
                  <a:lnTo>
                    <a:pt x="804" y="85"/>
                  </a:lnTo>
                  <a:lnTo>
                    <a:pt x="786" y="85"/>
                  </a:lnTo>
                  <a:lnTo>
                    <a:pt x="763" y="82"/>
                  </a:lnTo>
                  <a:lnTo>
                    <a:pt x="745" y="80"/>
                  </a:lnTo>
                  <a:lnTo>
                    <a:pt x="726" y="77"/>
                  </a:lnTo>
                  <a:lnTo>
                    <a:pt x="703" y="77"/>
                  </a:lnTo>
                  <a:lnTo>
                    <a:pt x="681" y="74"/>
                  </a:lnTo>
                  <a:lnTo>
                    <a:pt x="662" y="71"/>
                  </a:lnTo>
                  <a:lnTo>
                    <a:pt x="644" y="68"/>
                  </a:lnTo>
                  <a:lnTo>
                    <a:pt x="626" y="68"/>
                  </a:lnTo>
                  <a:lnTo>
                    <a:pt x="603" y="65"/>
                  </a:lnTo>
                  <a:lnTo>
                    <a:pt x="585" y="63"/>
                  </a:lnTo>
                  <a:lnTo>
                    <a:pt x="566" y="60"/>
                  </a:lnTo>
                  <a:lnTo>
                    <a:pt x="548" y="60"/>
                  </a:lnTo>
                  <a:lnTo>
                    <a:pt x="525" y="57"/>
                  </a:lnTo>
                  <a:lnTo>
                    <a:pt x="507" y="54"/>
                  </a:lnTo>
                  <a:lnTo>
                    <a:pt x="489" y="51"/>
                  </a:lnTo>
                  <a:lnTo>
                    <a:pt x="470" y="51"/>
                  </a:lnTo>
                  <a:lnTo>
                    <a:pt x="452" y="48"/>
                  </a:lnTo>
                  <a:lnTo>
                    <a:pt x="434" y="45"/>
                  </a:lnTo>
                  <a:lnTo>
                    <a:pt x="415" y="43"/>
                  </a:lnTo>
                  <a:lnTo>
                    <a:pt x="402" y="43"/>
                  </a:lnTo>
                  <a:lnTo>
                    <a:pt x="383" y="40"/>
                  </a:lnTo>
                  <a:lnTo>
                    <a:pt x="365" y="40"/>
                  </a:lnTo>
                  <a:lnTo>
                    <a:pt x="351" y="37"/>
                  </a:lnTo>
                  <a:lnTo>
                    <a:pt x="333" y="34"/>
                  </a:lnTo>
                  <a:lnTo>
                    <a:pt x="315" y="34"/>
                  </a:lnTo>
                  <a:lnTo>
                    <a:pt x="301" y="31"/>
                  </a:lnTo>
                  <a:lnTo>
                    <a:pt x="283" y="31"/>
                  </a:lnTo>
                  <a:lnTo>
                    <a:pt x="269" y="31"/>
                  </a:lnTo>
                  <a:lnTo>
                    <a:pt x="256" y="28"/>
                  </a:lnTo>
                  <a:lnTo>
                    <a:pt x="237" y="28"/>
                  </a:lnTo>
                  <a:lnTo>
                    <a:pt x="224" y="23"/>
                  </a:lnTo>
                  <a:lnTo>
                    <a:pt x="210" y="23"/>
                  </a:lnTo>
                  <a:lnTo>
                    <a:pt x="196" y="20"/>
                  </a:lnTo>
                  <a:lnTo>
                    <a:pt x="182" y="20"/>
                  </a:lnTo>
                  <a:lnTo>
                    <a:pt x="169" y="17"/>
                  </a:lnTo>
                  <a:lnTo>
                    <a:pt x="160" y="17"/>
                  </a:lnTo>
                  <a:lnTo>
                    <a:pt x="141" y="17"/>
                  </a:lnTo>
                  <a:lnTo>
                    <a:pt x="132" y="14"/>
                  </a:lnTo>
                  <a:lnTo>
                    <a:pt x="123" y="11"/>
                  </a:lnTo>
                  <a:lnTo>
                    <a:pt x="109" y="11"/>
                  </a:lnTo>
                  <a:lnTo>
                    <a:pt x="100" y="11"/>
                  </a:lnTo>
                  <a:lnTo>
                    <a:pt x="86" y="8"/>
                  </a:lnTo>
                  <a:lnTo>
                    <a:pt x="77" y="8"/>
                  </a:lnTo>
                  <a:lnTo>
                    <a:pt x="73" y="8"/>
                  </a:lnTo>
                  <a:lnTo>
                    <a:pt x="54" y="8"/>
                  </a:lnTo>
                  <a:lnTo>
                    <a:pt x="41" y="8"/>
                  </a:lnTo>
                  <a:lnTo>
                    <a:pt x="27" y="3"/>
                  </a:lnTo>
                  <a:lnTo>
                    <a:pt x="18" y="3"/>
                  </a:lnTo>
                  <a:lnTo>
                    <a:pt x="4" y="0"/>
                  </a:lnTo>
                  <a:lnTo>
                    <a:pt x="0" y="0"/>
                  </a:lnTo>
                  <a:lnTo>
                    <a:pt x="141" y="3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25" name="Freeform 17"/>
            <p:cNvSpPr>
              <a:spLocks/>
            </p:cNvSpPr>
            <p:nvPr>
              <p:custDataLst>
                <p:tags r:id="rId224"/>
              </p:custDataLst>
            </p:nvPr>
          </p:nvSpPr>
          <p:spPr bwMode="gray">
            <a:xfrm>
              <a:off x="1775" y="917"/>
              <a:ext cx="1172" cy="102"/>
            </a:xfrm>
            <a:custGeom>
              <a:avLst/>
              <a:gdLst>
                <a:gd name="T0" fmla="*/ 210 w 1143"/>
                <a:gd name="T1" fmla="*/ 6 h 111"/>
                <a:gd name="T2" fmla="*/ 315 w 1143"/>
                <a:gd name="T3" fmla="*/ 6 h 111"/>
                <a:gd name="T4" fmla="*/ 439 w 1143"/>
                <a:gd name="T5" fmla="*/ 6 h 111"/>
                <a:gd name="T6" fmla="*/ 551 w 1143"/>
                <a:gd name="T7" fmla="*/ 6 h 111"/>
                <a:gd name="T8" fmla="*/ 687 w 1143"/>
                <a:gd name="T9" fmla="*/ 6 h 111"/>
                <a:gd name="T10" fmla="*/ 817 w 1143"/>
                <a:gd name="T11" fmla="*/ 6 h 111"/>
                <a:gd name="T12" fmla="*/ 949 w 1143"/>
                <a:gd name="T13" fmla="*/ 6 h 111"/>
                <a:gd name="T14" fmla="*/ 1078 w 1143"/>
                <a:gd name="T15" fmla="*/ 6 h 111"/>
                <a:gd name="T16" fmla="*/ 1212 w 1143"/>
                <a:gd name="T17" fmla="*/ 6 h 111"/>
                <a:gd name="T18" fmla="*/ 1343 w 1143"/>
                <a:gd name="T19" fmla="*/ 6 h 111"/>
                <a:gd name="T20" fmla="*/ 1461 w 1143"/>
                <a:gd name="T21" fmla="*/ 7 h 111"/>
                <a:gd name="T22" fmla="*/ 1587 w 1143"/>
                <a:gd name="T23" fmla="*/ 7 h 111"/>
                <a:gd name="T24" fmla="*/ 1703 w 1143"/>
                <a:gd name="T25" fmla="*/ 8 h 111"/>
                <a:gd name="T26" fmla="*/ 1806 w 1143"/>
                <a:gd name="T27" fmla="*/ 8 h 111"/>
                <a:gd name="T28" fmla="*/ 1892 w 1143"/>
                <a:gd name="T29" fmla="*/ 8 h 111"/>
                <a:gd name="T30" fmla="*/ 1980 w 1143"/>
                <a:gd name="T31" fmla="*/ 8 h 111"/>
                <a:gd name="T32" fmla="*/ 2062 w 1143"/>
                <a:gd name="T33" fmla="*/ 8 h 111"/>
                <a:gd name="T34" fmla="*/ 2121 w 1143"/>
                <a:gd name="T35" fmla="*/ 9 h 111"/>
                <a:gd name="T36" fmla="*/ 2190 w 1143"/>
                <a:gd name="T37" fmla="*/ 9 h 111"/>
                <a:gd name="T38" fmla="*/ 2161 w 1143"/>
                <a:gd name="T39" fmla="*/ 10 h 111"/>
                <a:gd name="T40" fmla="*/ 2086 w 1143"/>
                <a:gd name="T41" fmla="*/ 11 h 111"/>
                <a:gd name="T42" fmla="*/ 2011 w 1143"/>
                <a:gd name="T43" fmla="*/ 12 h 111"/>
                <a:gd name="T44" fmla="*/ 1919 w 1143"/>
                <a:gd name="T45" fmla="*/ 12 h 111"/>
                <a:gd name="T46" fmla="*/ 1818 w 1143"/>
                <a:gd name="T47" fmla="*/ 12 h 111"/>
                <a:gd name="T48" fmla="*/ 1746 w 1143"/>
                <a:gd name="T49" fmla="*/ 13 h 111"/>
                <a:gd name="T50" fmla="*/ 1686 w 1143"/>
                <a:gd name="T51" fmla="*/ 13 h 111"/>
                <a:gd name="T52" fmla="*/ 1622 w 1143"/>
                <a:gd name="T53" fmla="*/ 13 h 111"/>
                <a:gd name="T54" fmla="*/ 1563 w 1143"/>
                <a:gd name="T55" fmla="*/ 13 h 111"/>
                <a:gd name="T56" fmla="*/ 1490 w 1143"/>
                <a:gd name="T57" fmla="*/ 13 h 111"/>
                <a:gd name="T58" fmla="*/ 1430 w 1143"/>
                <a:gd name="T59" fmla="*/ 13 h 111"/>
                <a:gd name="T60" fmla="*/ 1350 w 1143"/>
                <a:gd name="T61" fmla="*/ 12 h 111"/>
                <a:gd name="T62" fmla="*/ 1275 w 1143"/>
                <a:gd name="T63" fmla="*/ 12 h 111"/>
                <a:gd name="T64" fmla="*/ 1201 w 1143"/>
                <a:gd name="T65" fmla="*/ 12 h 111"/>
                <a:gd name="T66" fmla="*/ 1124 w 1143"/>
                <a:gd name="T67" fmla="*/ 12 h 111"/>
                <a:gd name="T68" fmla="*/ 1034 w 1143"/>
                <a:gd name="T69" fmla="*/ 12 h 111"/>
                <a:gd name="T70" fmla="*/ 955 w 1143"/>
                <a:gd name="T71" fmla="*/ 11 h 111"/>
                <a:gd name="T72" fmla="*/ 867 w 1143"/>
                <a:gd name="T73" fmla="*/ 10 h 111"/>
                <a:gd name="T74" fmla="*/ 789 w 1143"/>
                <a:gd name="T75" fmla="*/ 9 h 111"/>
                <a:gd name="T76" fmla="*/ 709 w 1143"/>
                <a:gd name="T77" fmla="*/ 9 h 111"/>
                <a:gd name="T78" fmla="*/ 623 w 1143"/>
                <a:gd name="T79" fmla="*/ 8 h 111"/>
                <a:gd name="T80" fmla="*/ 542 w 1143"/>
                <a:gd name="T81" fmla="*/ 6 h 111"/>
                <a:gd name="T82" fmla="*/ 473 w 1143"/>
                <a:gd name="T83" fmla="*/ 6 h 111"/>
                <a:gd name="T84" fmla="*/ 395 w 1143"/>
                <a:gd name="T85" fmla="*/ 6 h 111"/>
                <a:gd name="T86" fmla="*/ 315 w 1143"/>
                <a:gd name="T87" fmla="*/ 6 h 111"/>
                <a:gd name="T88" fmla="*/ 255 w 1143"/>
                <a:gd name="T89" fmla="*/ 6 h 111"/>
                <a:gd name="T90" fmla="*/ 195 w 1143"/>
                <a:gd name="T91" fmla="*/ 6 h 111"/>
                <a:gd name="T92" fmla="*/ 132 w 1143"/>
                <a:gd name="T93" fmla="*/ 6 h 111"/>
                <a:gd name="T94" fmla="*/ 14 w 1143"/>
                <a:gd name="T95" fmla="*/ 6 h 111"/>
                <a:gd name="T96" fmla="*/ 14 w 1143"/>
                <a:gd name="T97" fmla="*/ 0 h 111"/>
                <a:gd name="T98" fmla="*/ 84 w 1143"/>
                <a:gd name="T99" fmla="*/ 0 h 111"/>
                <a:gd name="T100" fmla="*/ 138 w 1143"/>
                <a:gd name="T101" fmla="*/ 0 h 11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43"/>
                <a:gd name="T154" fmla="*/ 0 h 111"/>
                <a:gd name="T155" fmla="*/ 1143 w 1143"/>
                <a:gd name="T156" fmla="*/ 111 h 11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43" h="111">
                  <a:moveTo>
                    <a:pt x="78" y="0"/>
                  </a:moveTo>
                  <a:lnTo>
                    <a:pt x="96" y="3"/>
                  </a:lnTo>
                  <a:lnTo>
                    <a:pt x="110" y="6"/>
                  </a:lnTo>
                  <a:lnTo>
                    <a:pt x="133" y="12"/>
                  </a:lnTo>
                  <a:lnTo>
                    <a:pt x="151" y="15"/>
                  </a:lnTo>
                  <a:lnTo>
                    <a:pt x="165" y="17"/>
                  </a:lnTo>
                  <a:lnTo>
                    <a:pt x="187" y="20"/>
                  </a:lnTo>
                  <a:lnTo>
                    <a:pt x="206" y="23"/>
                  </a:lnTo>
                  <a:lnTo>
                    <a:pt x="229" y="26"/>
                  </a:lnTo>
                  <a:lnTo>
                    <a:pt x="247" y="29"/>
                  </a:lnTo>
                  <a:lnTo>
                    <a:pt x="265" y="29"/>
                  </a:lnTo>
                  <a:lnTo>
                    <a:pt x="288" y="34"/>
                  </a:lnTo>
                  <a:lnTo>
                    <a:pt x="311" y="34"/>
                  </a:lnTo>
                  <a:lnTo>
                    <a:pt x="334" y="37"/>
                  </a:lnTo>
                  <a:lnTo>
                    <a:pt x="357" y="40"/>
                  </a:lnTo>
                  <a:lnTo>
                    <a:pt x="379" y="43"/>
                  </a:lnTo>
                  <a:lnTo>
                    <a:pt x="402" y="46"/>
                  </a:lnTo>
                  <a:lnTo>
                    <a:pt x="425" y="46"/>
                  </a:lnTo>
                  <a:lnTo>
                    <a:pt x="448" y="49"/>
                  </a:lnTo>
                  <a:lnTo>
                    <a:pt x="471" y="49"/>
                  </a:lnTo>
                  <a:lnTo>
                    <a:pt x="494" y="52"/>
                  </a:lnTo>
                  <a:lnTo>
                    <a:pt x="517" y="52"/>
                  </a:lnTo>
                  <a:lnTo>
                    <a:pt x="539" y="54"/>
                  </a:lnTo>
                  <a:lnTo>
                    <a:pt x="562" y="54"/>
                  </a:lnTo>
                  <a:lnTo>
                    <a:pt x="590" y="57"/>
                  </a:lnTo>
                  <a:lnTo>
                    <a:pt x="608" y="57"/>
                  </a:lnTo>
                  <a:lnTo>
                    <a:pt x="631" y="60"/>
                  </a:lnTo>
                  <a:lnTo>
                    <a:pt x="654" y="60"/>
                  </a:lnTo>
                  <a:lnTo>
                    <a:pt x="676" y="63"/>
                  </a:lnTo>
                  <a:lnTo>
                    <a:pt x="699" y="63"/>
                  </a:lnTo>
                  <a:lnTo>
                    <a:pt x="722" y="63"/>
                  </a:lnTo>
                  <a:lnTo>
                    <a:pt x="745" y="63"/>
                  </a:lnTo>
                  <a:lnTo>
                    <a:pt x="763" y="69"/>
                  </a:lnTo>
                  <a:lnTo>
                    <a:pt x="786" y="69"/>
                  </a:lnTo>
                  <a:lnTo>
                    <a:pt x="809" y="69"/>
                  </a:lnTo>
                  <a:lnTo>
                    <a:pt x="827" y="69"/>
                  </a:lnTo>
                  <a:lnTo>
                    <a:pt x="850" y="69"/>
                  </a:lnTo>
                  <a:lnTo>
                    <a:pt x="864" y="69"/>
                  </a:lnTo>
                  <a:lnTo>
                    <a:pt x="887" y="71"/>
                  </a:lnTo>
                  <a:lnTo>
                    <a:pt x="905" y="71"/>
                  </a:lnTo>
                  <a:lnTo>
                    <a:pt x="923" y="71"/>
                  </a:lnTo>
                  <a:lnTo>
                    <a:pt x="942" y="71"/>
                  </a:lnTo>
                  <a:lnTo>
                    <a:pt x="955" y="71"/>
                  </a:lnTo>
                  <a:lnTo>
                    <a:pt x="974" y="71"/>
                  </a:lnTo>
                  <a:lnTo>
                    <a:pt x="987" y="71"/>
                  </a:lnTo>
                  <a:lnTo>
                    <a:pt x="1006" y="71"/>
                  </a:lnTo>
                  <a:lnTo>
                    <a:pt x="1019" y="74"/>
                  </a:lnTo>
                  <a:lnTo>
                    <a:pt x="1033" y="74"/>
                  </a:lnTo>
                  <a:lnTo>
                    <a:pt x="1051" y="74"/>
                  </a:lnTo>
                  <a:lnTo>
                    <a:pt x="1060" y="74"/>
                  </a:lnTo>
                  <a:lnTo>
                    <a:pt x="1074" y="74"/>
                  </a:lnTo>
                  <a:lnTo>
                    <a:pt x="1083" y="74"/>
                  </a:lnTo>
                  <a:lnTo>
                    <a:pt x="1092" y="77"/>
                  </a:lnTo>
                  <a:lnTo>
                    <a:pt x="1106" y="77"/>
                  </a:lnTo>
                  <a:lnTo>
                    <a:pt x="1124" y="80"/>
                  </a:lnTo>
                  <a:lnTo>
                    <a:pt x="1133" y="80"/>
                  </a:lnTo>
                  <a:lnTo>
                    <a:pt x="1143" y="80"/>
                  </a:lnTo>
                  <a:lnTo>
                    <a:pt x="1143" y="83"/>
                  </a:lnTo>
                  <a:lnTo>
                    <a:pt x="1124" y="89"/>
                  </a:lnTo>
                  <a:lnTo>
                    <a:pt x="1106" y="91"/>
                  </a:lnTo>
                  <a:lnTo>
                    <a:pt x="1097" y="91"/>
                  </a:lnTo>
                  <a:lnTo>
                    <a:pt x="1088" y="94"/>
                  </a:lnTo>
                  <a:lnTo>
                    <a:pt x="1074" y="94"/>
                  </a:lnTo>
                  <a:lnTo>
                    <a:pt x="1060" y="100"/>
                  </a:lnTo>
                  <a:lnTo>
                    <a:pt x="1047" y="100"/>
                  </a:lnTo>
                  <a:lnTo>
                    <a:pt x="1033" y="100"/>
                  </a:lnTo>
                  <a:lnTo>
                    <a:pt x="1015" y="103"/>
                  </a:lnTo>
                  <a:lnTo>
                    <a:pt x="1001" y="103"/>
                  </a:lnTo>
                  <a:lnTo>
                    <a:pt x="983" y="103"/>
                  </a:lnTo>
                  <a:lnTo>
                    <a:pt x="964" y="106"/>
                  </a:lnTo>
                  <a:lnTo>
                    <a:pt x="946" y="106"/>
                  </a:lnTo>
                  <a:lnTo>
                    <a:pt x="932" y="109"/>
                  </a:lnTo>
                  <a:lnTo>
                    <a:pt x="919" y="109"/>
                  </a:lnTo>
                  <a:lnTo>
                    <a:pt x="910" y="109"/>
                  </a:lnTo>
                  <a:lnTo>
                    <a:pt x="900" y="109"/>
                  </a:lnTo>
                  <a:lnTo>
                    <a:pt x="887" y="109"/>
                  </a:lnTo>
                  <a:lnTo>
                    <a:pt x="878" y="109"/>
                  </a:lnTo>
                  <a:lnTo>
                    <a:pt x="864" y="109"/>
                  </a:lnTo>
                  <a:lnTo>
                    <a:pt x="855" y="109"/>
                  </a:lnTo>
                  <a:lnTo>
                    <a:pt x="846" y="111"/>
                  </a:lnTo>
                  <a:lnTo>
                    <a:pt x="832" y="111"/>
                  </a:lnTo>
                  <a:lnTo>
                    <a:pt x="823" y="111"/>
                  </a:lnTo>
                  <a:lnTo>
                    <a:pt x="814" y="111"/>
                  </a:lnTo>
                  <a:lnTo>
                    <a:pt x="800" y="111"/>
                  </a:lnTo>
                  <a:lnTo>
                    <a:pt x="786" y="111"/>
                  </a:lnTo>
                  <a:lnTo>
                    <a:pt x="777" y="111"/>
                  </a:lnTo>
                  <a:lnTo>
                    <a:pt x="763" y="111"/>
                  </a:lnTo>
                  <a:lnTo>
                    <a:pt x="754" y="111"/>
                  </a:lnTo>
                  <a:lnTo>
                    <a:pt x="745" y="109"/>
                  </a:lnTo>
                  <a:lnTo>
                    <a:pt x="727" y="106"/>
                  </a:lnTo>
                  <a:lnTo>
                    <a:pt x="718" y="106"/>
                  </a:lnTo>
                  <a:lnTo>
                    <a:pt x="704" y="106"/>
                  </a:lnTo>
                  <a:lnTo>
                    <a:pt x="686" y="106"/>
                  </a:lnTo>
                  <a:lnTo>
                    <a:pt x="676" y="106"/>
                  </a:lnTo>
                  <a:lnTo>
                    <a:pt x="663" y="106"/>
                  </a:lnTo>
                  <a:lnTo>
                    <a:pt x="654" y="106"/>
                  </a:lnTo>
                  <a:lnTo>
                    <a:pt x="635" y="103"/>
                  </a:lnTo>
                  <a:lnTo>
                    <a:pt x="626" y="103"/>
                  </a:lnTo>
                  <a:lnTo>
                    <a:pt x="608" y="103"/>
                  </a:lnTo>
                  <a:lnTo>
                    <a:pt x="599" y="103"/>
                  </a:lnTo>
                  <a:lnTo>
                    <a:pt x="585" y="100"/>
                  </a:lnTo>
                  <a:lnTo>
                    <a:pt x="571" y="100"/>
                  </a:lnTo>
                  <a:lnTo>
                    <a:pt x="558" y="100"/>
                  </a:lnTo>
                  <a:lnTo>
                    <a:pt x="539" y="100"/>
                  </a:lnTo>
                  <a:lnTo>
                    <a:pt x="526" y="94"/>
                  </a:lnTo>
                  <a:lnTo>
                    <a:pt x="512" y="94"/>
                  </a:lnTo>
                  <a:lnTo>
                    <a:pt x="498" y="91"/>
                  </a:lnTo>
                  <a:lnTo>
                    <a:pt x="485" y="91"/>
                  </a:lnTo>
                  <a:lnTo>
                    <a:pt x="471" y="91"/>
                  </a:lnTo>
                  <a:lnTo>
                    <a:pt x="453" y="89"/>
                  </a:lnTo>
                  <a:lnTo>
                    <a:pt x="443" y="83"/>
                  </a:lnTo>
                  <a:lnTo>
                    <a:pt x="430" y="83"/>
                  </a:lnTo>
                  <a:lnTo>
                    <a:pt x="411" y="80"/>
                  </a:lnTo>
                  <a:lnTo>
                    <a:pt x="398" y="80"/>
                  </a:lnTo>
                  <a:lnTo>
                    <a:pt x="384" y="77"/>
                  </a:lnTo>
                  <a:lnTo>
                    <a:pt x="370" y="77"/>
                  </a:lnTo>
                  <a:lnTo>
                    <a:pt x="352" y="74"/>
                  </a:lnTo>
                  <a:lnTo>
                    <a:pt x="343" y="71"/>
                  </a:lnTo>
                  <a:lnTo>
                    <a:pt x="325" y="71"/>
                  </a:lnTo>
                  <a:lnTo>
                    <a:pt x="315" y="69"/>
                  </a:lnTo>
                  <a:lnTo>
                    <a:pt x="297" y="63"/>
                  </a:lnTo>
                  <a:lnTo>
                    <a:pt x="283" y="63"/>
                  </a:lnTo>
                  <a:lnTo>
                    <a:pt x="270" y="60"/>
                  </a:lnTo>
                  <a:lnTo>
                    <a:pt x="256" y="57"/>
                  </a:lnTo>
                  <a:lnTo>
                    <a:pt x="247" y="54"/>
                  </a:lnTo>
                  <a:lnTo>
                    <a:pt x="229" y="52"/>
                  </a:lnTo>
                  <a:lnTo>
                    <a:pt x="215" y="49"/>
                  </a:lnTo>
                  <a:lnTo>
                    <a:pt x="206" y="49"/>
                  </a:lnTo>
                  <a:lnTo>
                    <a:pt x="192" y="46"/>
                  </a:lnTo>
                  <a:lnTo>
                    <a:pt x="178" y="43"/>
                  </a:lnTo>
                  <a:lnTo>
                    <a:pt x="165" y="40"/>
                  </a:lnTo>
                  <a:lnTo>
                    <a:pt x="155" y="37"/>
                  </a:lnTo>
                  <a:lnTo>
                    <a:pt x="142" y="34"/>
                  </a:lnTo>
                  <a:lnTo>
                    <a:pt x="133" y="34"/>
                  </a:lnTo>
                  <a:lnTo>
                    <a:pt x="123" y="32"/>
                  </a:lnTo>
                  <a:lnTo>
                    <a:pt x="110" y="29"/>
                  </a:lnTo>
                  <a:lnTo>
                    <a:pt x="101" y="29"/>
                  </a:lnTo>
                  <a:lnTo>
                    <a:pt x="87" y="23"/>
                  </a:lnTo>
                  <a:lnTo>
                    <a:pt x="78" y="23"/>
                  </a:lnTo>
                  <a:lnTo>
                    <a:pt x="69" y="20"/>
                  </a:lnTo>
                  <a:lnTo>
                    <a:pt x="50" y="17"/>
                  </a:lnTo>
                  <a:lnTo>
                    <a:pt x="32" y="15"/>
                  </a:lnTo>
                  <a:lnTo>
                    <a:pt x="14" y="6"/>
                  </a:lnTo>
                  <a:lnTo>
                    <a:pt x="0" y="6"/>
                  </a:lnTo>
                  <a:lnTo>
                    <a:pt x="5" y="0"/>
                  </a:lnTo>
                  <a:lnTo>
                    <a:pt x="14" y="0"/>
                  </a:lnTo>
                  <a:lnTo>
                    <a:pt x="23" y="0"/>
                  </a:lnTo>
                  <a:lnTo>
                    <a:pt x="37" y="0"/>
                  </a:lnTo>
                  <a:lnTo>
                    <a:pt x="46" y="0"/>
                  </a:lnTo>
                  <a:lnTo>
                    <a:pt x="55" y="0"/>
                  </a:lnTo>
                  <a:lnTo>
                    <a:pt x="64" y="0"/>
                  </a:lnTo>
                  <a:lnTo>
                    <a:pt x="73" y="0"/>
                  </a:lnTo>
                  <a:lnTo>
                    <a:pt x="78"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26" name="Freeform 18"/>
            <p:cNvSpPr>
              <a:spLocks/>
            </p:cNvSpPr>
            <p:nvPr>
              <p:custDataLst>
                <p:tags r:id="rId225"/>
              </p:custDataLst>
            </p:nvPr>
          </p:nvSpPr>
          <p:spPr bwMode="gray">
            <a:xfrm>
              <a:off x="632" y="1094"/>
              <a:ext cx="750" cy="290"/>
            </a:xfrm>
            <a:custGeom>
              <a:avLst/>
              <a:gdLst>
                <a:gd name="T0" fmla="*/ 784 w 731"/>
                <a:gd name="T1" fmla="*/ 6 h 316"/>
                <a:gd name="T2" fmla="*/ 676 w 731"/>
                <a:gd name="T3" fmla="*/ 6 h 316"/>
                <a:gd name="T4" fmla="*/ 559 w 731"/>
                <a:gd name="T5" fmla="*/ 9 h 316"/>
                <a:gd name="T6" fmla="*/ 443 w 731"/>
                <a:gd name="T7" fmla="*/ 13 h 316"/>
                <a:gd name="T8" fmla="*/ 348 w 731"/>
                <a:gd name="T9" fmla="*/ 16 h 316"/>
                <a:gd name="T10" fmla="*/ 248 w 731"/>
                <a:gd name="T11" fmla="*/ 18 h 316"/>
                <a:gd name="T12" fmla="*/ 168 w 731"/>
                <a:gd name="T13" fmla="*/ 22 h 316"/>
                <a:gd name="T14" fmla="*/ 94 w 731"/>
                <a:gd name="T15" fmla="*/ 24 h 316"/>
                <a:gd name="T16" fmla="*/ 14 w 731"/>
                <a:gd name="T17" fmla="*/ 26 h 316"/>
                <a:gd name="T18" fmla="*/ 5 w 731"/>
                <a:gd name="T19" fmla="*/ 28 h 316"/>
                <a:gd name="T20" fmla="*/ 68 w 731"/>
                <a:gd name="T21" fmla="*/ 28 h 316"/>
                <a:gd name="T22" fmla="*/ 133 w 731"/>
                <a:gd name="T23" fmla="*/ 28 h 316"/>
                <a:gd name="T24" fmla="*/ 205 w 731"/>
                <a:gd name="T25" fmla="*/ 28 h 316"/>
                <a:gd name="T26" fmla="*/ 277 w 731"/>
                <a:gd name="T27" fmla="*/ 28 h 316"/>
                <a:gd name="T28" fmla="*/ 357 w 731"/>
                <a:gd name="T29" fmla="*/ 30 h 316"/>
                <a:gd name="T30" fmla="*/ 437 w 731"/>
                <a:gd name="T31" fmla="*/ 30 h 316"/>
                <a:gd name="T32" fmla="*/ 505 w 731"/>
                <a:gd name="T33" fmla="*/ 30 h 316"/>
                <a:gd name="T34" fmla="*/ 580 w 731"/>
                <a:gd name="T35" fmla="*/ 30 h 316"/>
                <a:gd name="T36" fmla="*/ 642 w 731"/>
                <a:gd name="T37" fmla="*/ 30 h 316"/>
                <a:gd name="T38" fmla="*/ 715 w 731"/>
                <a:gd name="T39" fmla="*/ 32 h 316"/>
                <a:gd name="T40" fmla="*/ 801 w 731"/>
                <a:gd name="T41" fmla="*/ 32 h 316"/>
                <a:gd name="T42" fmla="*/ 902 w 731"/>
                <a:gd name="T43" fmla="*/ 33 h 316"/>
                <a:gd name="T44" fmla="*/ 1015 w 731"/>
                <a:gd name="T45" fmla="*/ 33 h 316"/>
                <a:gd name="T46" fmla="*/ 1132 w 731"/>
                <a:gd name="T47" fmla="*/ 33 h 316"/>
                <a:gd name="T48" fmla="*/ 1238 w 731"/>
                <a:gd name="T49" fmla="*/ 33 h 316"/>
                <a:gd name="T50" fmla="*/ 1328 w 731"/>
                <a:gd name="T51" fmla="*/ 33 h 316"/>
                <a:gd name="T52" fmla="*/ 1408 w 731"/>
                <a:gd name="T53" fmla="*/ 33 h 316"/>
                <a:gd name="T54" fmla="*/ 1392 w 731"/>
                <a:gd name="T55" fmla="*/ 33 h 316"/>
                <a:gd name="T56" fmla="*/ 1320 w 731"/>
                <a:gd name="T57" fmla="*/ 33 h 316"/>
                <a:gd name="T58" fmla="*/ 1258 w 731"/>
                <a:gd name="T59" fmla="*/ 33 h 316"/>
                <a:gd name="T60" fmla="*/ 1183 w 731"/>
                <a:gd name="T61" fmla="*/ 30 h 316"/>
                <a:gd name="T62" fmla="*/ 1107 w 731"/>
                <a:gd name="T63" fmla="*/ 30 h 316"/>
                <a:gd name="T64" fmla="*/ 1026 w 731"/>
                <a:gd name="T65" fmla="*/ 30 h 316"/>
                <a:gd name="T66" fmla="*/ 945 w 731"/>
                <a:gd name="T67" fmla="*/ 29 h 316"/>
                <a:gd name="T68" fmla="*/ 864 w 731"/>
                <a:gd name="T69" fmla="*/ 28 h 316"/>
                <a:gd name="T70" fmla="*/ 775 w 731"/>
                <a:gd name="T71" fmla="*/ 28 h 316"/>
                <a:gd name="T72" fmla="*/ 694 w 731"/>
                <a:gd name="T73" fmla="*/ 27 h 316"/>
                <a:gd name="T74" fmla="*/ 604 w 731"/>
                <a:gd name="T75" fmla="*/ 26 h 316"/>
                <a:gd name="T76" fmla="*/ 542 w 731"/>
                <a:gd name="T77" fmla="*/ 26 h 316"/>
                <a:gd name="T78" fmla="*/ 472 w 731"/>
                <a:gd name="T79" fmla="*/ 25 h 316"/>
                <a:gd name="T80" fmla="*/ 409 w 731"/>
                <a:gd name="T81" fmla="*/ 24 h 316"/>
                <a:gd name="T82" fmla="*/ 348 w 731"/>
                <a:gd name="T83" fmla="*/ 24 h 316"/>
                <a:gd name="T84" fmla="*/ 284 w 731"/>
                <a:gd name="T85" fmla="*/ 24 h 316"/>
                <a:gd name="T86" fmla="*/ 864 w 731"/>
                <a:gd name="T87" fmla="*/ 0 h 3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31"/>
                <a:gd name="T133" fmla="*/ 0 h 316"/>
                <a:gd name="T134" fmla="*/ 731 w 731"/>
                <a:gd name="T135" fmla="*/ 316 h 3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31" h="316">
                  <a:moveTo>
                    <a:pt x="443" y="0"/>
                  </a:moveTo>
                  <a:lnTo>
                    <a:pt x="425" y="6"/>
                  </a:lnTo>
                  <a:lnTo>
                    <a:pt x="402" y="17"/>
                  </a:lnTo>
                  <a:lnTo>
                    <a:pt x="384" y="26"/>
                  </a:lnTo>
                  <a:lnTo>
                    <a:pt x="366" y="37"/>
                  </a:lnTo>
                  <a:lnTo>
                    <a:pt x="347" y="45"/>
                  </a:lnTo>
                  <a:lnTo>
                    <a:pt x="329" y="57"/>
                  </a:lnTo>
                  <a:lnTo>
                    <a:pt x="306" y="65"/>
                  </a:lnTo>
                  <a:lnTo>
                    <a:pt x="288" y="77"/>
                  </a:lnTo>
                  <a:lnTo>
                    <a:pt x="265" y="88"/>
                  </a:lnTo>
                  <a:lnTo>
                    <a:pt x="247" y="100"/>
                  </a:lnTo>
                  <a:lnTo>
                    <a:pt x="228" y="108"/>
                  </a:lnTo>
                  <a:lnTo>
                    <a:pt x="210" y="120"/>
                  </a:lnTo>
                  <a:lnTo>
                    <a:pt x="192" y="128"/>
                  </a:lnTo>
                  <a:lnTo>
                    <a:pt x="178" y="139"/>
                  </a:lnTo>
                  <a:lnTo>
                    <a:pt x="160" y="148"/>
                  </a:lnTo>
                  <a:lnTo>
                    <a:pt x="142" y="159"/>
                  </a:lnTo>
                  <a:lnTo>
                    <a:pt x="128" y="168"/>
                  </a:lnTo>
                  <a:lnTo>
                    <a:pt x="114" y="176"/>
                  </a:lnTo>
                  <a:lnTo>
                    <a:pt x="96" y="188"/>
                  </a:lnTo>
                  <a:lnTo>
                    <a:pt x="87" y="196"/>
                  </a:lnTo>
                  <a:lnTo>
                    <a:pt x="73" y="202"/>
                  </a:lnTo>
                  <a:lnTo>
                    <a:pt x="59" y="211"/>
                  </a:lnTo>
                  <a:lnTo>
                    <a:pt x="50" y="219"/>
                  </a:lnTo>
                  <a:lnTo>
                    <a:pt x="41" y="225"/>
                  </a:lnTo>
                  <a:lnTo>
                    <a:pt x="23" y="233"/>
                  </a:lnTo>
                  <a:lnTo>
                    <a:pt x="14" y="242"/>
                  </a:lnTo>
                  <a:lnTo>
                    <a:pt x="5" y="248"/>
                  </a:lnTo>
                  <a:lnTo>
                    <a:pt x="0" y="251"/>
                  </a:lnTo>
                  <a:lnTo>
                    <a:pt x="5" y="251"/>
                  </a:lnTo>
                  <a:lnTo>
                    <a:pt x="14" y="251"/>
                  </a:lnTo>
                  <a:lnTo>
                    <a:pt x="23" y="253"/>
                  </a:lnTo>
                  <a:lnTo>
                    <a:pt x="37" y="253"/>
                  </a:lnTo>
                  <a:lnTo>
                    <a:pt x="46" y="253"/>
                  </a:lnTo>
                  <a:lnTo>
                    <a:pt x="55" y="256"/>
                  </a:lnTo>
                  <a:lnTo>
                    <a:pt x="69" y="259"/>
                  </a:lnTo>
                  <a:lnTo>
                    <a:pt x="82" y="262"/>
                  </a:lnTo>
                  <a:lnTo>
                    <a:pt x="91" y="262"/>
                  </a:lnTo>
                  <a:lnTo>
                    <a:pt x="105" y="265"/>
                  </a:lnTo>
                  <a:lnTo>
                    <a:pt x="114" y="265"/>
                  </a:lnTo>
                  <a:lnTo>
                    <a:pt x="128" y="268"/>
                  </a:lnTo>
                  <a:lnTo>
                    <a:pt x="142" y="268"/>
                  </a:lnTo>
                  <a:lnTo>
                    <a:pt x="155" y="270"/>
                  </a:lnTo>
                  <a:lnTo>
                    <a:pt x="169" y="270"/>
                  </a:lnTo>
                  <a:lnTo>
                    <a:pt x="183" y="273"/>
                  </a:lnTo>
                  <a:lnTo>
                    <a:pt x="192" y="273"/>
                  </a:lnTo>
                  <a:lnTo>
                    <a:pt x="210" y="276"/>
                  </a:lnTo>
                  <a:lnTo>
                    <a:pt x="224" y="279"/>
                  </a:lnTo>
                  <a:lnTo>
                    <a:pt x="238" y="282"/>
                  </a:lnTo>
                  <a:lnTo>
                    <a:pt x="247" y="282"/>
                  </a:lnTo>
                  <a:lnTo>
                    <a:pt x="260" y="282"/>
                  </a:lnTo>
                  <a:lnTo>
                    <a:pt x="274" y="282"/>
                  </a:lnTo>
                  <a:lnTo>
                    <a:pt x="288" y="285"/>
                  </a:lnTo>
                  <a:lnTo>
                    <a:pt x="297" y="288"/>
                  </a:lnTo>
                  <a:lnTo>
                    <a:pt x="311" y="288"/>
                  </a:lnTo>
                  <a:lnTo>
                    <a:pt x="320" y="288"/>
                  </a:lnTo>
                  <a:lnTo>
                    <a:pt x="329" y="290"/>
                  </a:lnTo>
                  <a:lnTo>
                    <a:pt x="338" y="290"/>
                  </a:lnTo>
                  <a:lnTo>
                    <a:pt x="352" y="290"/>
                  </a:lnTo>
                  <a:lnTo>
                    <a:pt x="366" y="293"/>
                  </a:lnTo>
                  <a:lnTo>
                    <a:pt x="379" y="293"/>
                  </a:lnTo>
                  <a:lnTo>
                    <a:pt x="393" y="293"/>
                  </a:lnTo>
                  <a:lnTo>
                    <a:pt x="411" y="293"/>
                  </a:lnTo>
                  <a:lnTo>
                    <a:pt x="425" y="296"/>
                  </a:lnTo>
                  <a:lnTo>
                    <a:pt x="448" y="299"/>
                  </a:lnTo>
                  <a:lnTo>
                    <a:pt x="462" y="299"/>
                  </a:lnTo>
                  <a:lnTo>
                    <a:pt x="480" y="302"/>
                  </a:lnTo>
                  <a:lnTo>
                    <a:pt x="503" y="302"/>
                  </a:lnTo>
                  <a:lnTo>
                    <a:pt x="521" y="305"/>
                  </a:lnTo>
                  <a:lnTo>
                    <a:pt x="539" y="305"/>
                  </a:lnTo>
                  <a:lnTo>
                    <a:pt x="558" y="307"/>
                  </a:lnTo>
                  <a:lnTo>
                    <a:pt x="580" y="310"/>
                  </a:lnTo>
                  <a:lnTo>
                    <a:pt x="599" y="310"/>
                  </a:lnTo>
                  <a:lnTo>
                    <a:pt x="617" y="310"/>
                  </a:lnTo>
                  <a:lnTo>
                    <a:pt x="635" y="310"/>
                  </a:lnTo>
                  <a:lnTo>
                    <a:pt x="649" y="313"/>
                  </a:lnTo>
                  <a:lnTo>
                    <a:pt x="672" y="313"/>
                  </a:lnTo>
                  <a:lnTo>
                    <a:pt x="681" y="313"/>
                  </a:lnTo>
                  <a:lnTo>
                    <a:pt x="699" y="316"/>
                  </a:lnTo>
                  <a:lnTo>
                    <a:pt x="708" y="316"/>
                  </a:lnTo>
                  <a:lnTo>
                    <a:pt x="722" y="316"/>
                  </a:lnTo>
                  <a:lnTo>
                    <a:pt x="731" y="316"/>
                  </a:lnTo>
                  <a:lnTo>
                    <a:pt x="731" y="313"/>
                  </a:lnTo>
                  <a:lnTo>
                    <a:pt x="713" y="310"/>
                  </a:lnTo>
                  <a:lnTo>
                    <a:pt x="695" y="307"/>
                  </a:lnTo>
                  <a:lnTo>
                    <a:pt x="690" y="305"/>
                  </a:lnTo>
                  <a:lnTo>
                    <a:pt x="676" y="302"/>
                  </a:lnTo>
                  <a:lnTo>
                    <a:pt x="667" y="302"/>
                  </a:lnTo>
                  <a:lnTo>
                    <a:pt x="658" y="302"/>
                  </a:lnTo>
                  <a:lnTo>
                    <a:pt x="644" y="299"/>
                  </a:lnTo>
                  <a:lnTo>
                    <a:pt x="635" y="296"/>
                  </a:lnTo>
                  <a:lnTo>
                    <a:pt x="617" y="293"/>
                  </a:lnTo>
                  <a:lnTo>
                    <a:pt x="608" y="290"/>
                  </a:lnTo>
                  <a:lnTo>
                    <a:pt x="590" y="290"/>
                  </a:lnTo>
                  <a:lnTo>
                    <a:pt x="580" y="288"/>
                  </a:lnTo>
                  <a:lnTo>
                    <a:pt x="567" y="285"/>
                  </a:lnTo>
                  <a:lnTo>
                    <a:pt x="558" y="285"/>
                  </a:lnTo>
                  <a:lnTo>
                    <a:pt x="539" y="282"/>
                  </a:lnTo>
                  <a:lnTo>
                    <a:pt x="526" y="279"/>
                  </a:lnTo>
                  <a:lnTo>
                    <a:pt x="512" y="276"/>
                  </a:lnTo>
                  <a:lnTo>
                    <a:pt x="503" y="273"/>
                  </a:lnTo>
                  <a:lnTo>
                    <a:pt x="484" y="270"/>
                  </a:lnTo>
                  <a:lnTo>
                    <a:pt x="471" y="268"/>
                  </a:lnTo>
                  <a:lnTo>
                    <a:pt x="457" y="265"/>
                  </a:lnTo>
                  <a:lnTo>
                    <a:pt x="443" y="265"/>
                  </a:lnTo>
                  <a:lnTo>
                    <a:pt x="425" y="262"/>
                  </a:lnTo>
                  <a:lnTo>
                    <a:pt x="411" y="259"/>
                  </a:lnTo>
                  <a:lnTo>
                    <a:pt x="398" y="253"/>
                  </a:lnTo>
                  <a:lnTo>
                    <a:pt x="384" y="253"/>
                  </a:lnTo>
                  <a:lnTo>
                    <a:pt x="370" y="251"/>
                  </a:lnTo>
                  <a:lnTo>
                    <a:pt x="356" y="248"/>
                  </a:lnTo>
                  <a:lnTo>
                    <a:pt x="343" y="245"/>
                  </a:lnTo>
                  <a:lnTo>
                    <a:pt x="329" y="242"/>
                  </a:lnTo>
                  <a:lnTo>
                    <a:pt x="311" y="239"/>
                  </a:lnTo>
                  <a:lnTo>
                    <a:pt x="302" y="239"/>
                  </a:lnTo>
                  <a:lnTo>
                    <a:pt x="292" y="233"/>
                  </a:lnTo>
                  <a:lnTo>
                    <a:pt x="279" y="233"/>
                  </a:lnTo>
                  <a:lnTo>
                    <a:pt x="265" y="231"/>
                  </a:lnTo>
                  <a:lnTo>
                    <a:pt x="256" y="231"/>
                  </a:lnTo>
                  <a:lnTo>
                    <a:pt x="242" y="228"/>
                  </a:lnTo>
                  <a:lnTo>
                    <a:pt x="238" y="225"/>
                  </a:lnTo>
                  <a:lnTo>
                    <a:pt x="224" y="225"/>
                  </a:lnTo>
                  <a:lnTo>
                    <a:pt x="210" y="222"/>
                  </a:lnTo>
                  <a:lnTo>
                    <a:pt x="201" y="219"/>
                  </a:lnTo>
                  <a:lnTo>
                    <a:pt x="192" y="219"/>
                  </a:lnTo>
                  <a:lnTo>
                    <a:pt x="178" y="216"/>
                  </a:lnTo>
                  <a:lnTo>
                    <a:pt x="169" y="214"/>
                  </a:lnTo>
                  <a:lnTo>
                    <a:pt x="155" y="211"/>
                  </a:lnTo>
                  <a:lnTo>
                    <a:pt x="146" y="211"/>
                  </a:lnTo>
                  <a:lnTo>
                    <a:pt x="142" y="211"/>
                  </a:lnTo>
                  <a:lnTo>
                    <a:pt x="443"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27" name="Freeform 19"/>
            <p:cNvSpPr>
              <a:spLocks/>
            </p:cNvSpPr>
            <p:nvPr>
              <p:custDataLst>
                <p:tags r:id="rId226"/>
              </p:custDataLst>
            </p:nvPr>
          </p:nvSpPr>
          <p:spPr bwMode="gray">
            <a:xfrm>
              <a:off x="2047" y="511"/>
              <a:ext cx="988" cy="211"/>
            </a:xfrm>
            <a:custGeom>
              <a:avLst/>
              <a:gdLst>
                <a:gd name="T0" fmla="*/ 58 w 964"/>
                <a:gd name="T1" fmla="*/ 20 h 231"/>
                <a:gd name="T2" fmla="*/ 163 w 964"/>
                <a:gd name="T3" fmla="*/ 18 h 231"/>
                <a:gd name="T4" fmla="*/ 241 w 964"/>
                <a:gd name="T5" fmla="*/ 16 h 231"/>
                <a:gd name="T6" fmla="*/ 301 w 964"/>
                <a:gd name="T7" fmla="*/ 15 h 231"/>
                <a:gd name="T8" fmla="*/ 373 w 964"/>
                <a:gd name="T9" fmla="*/ 13 h 231"/>
                <a:gd name="T10" fmla="*/ 434 w 964"/>
                <a:gd name="T11" fmla="*/ 13 h 231"/>
                <a:gd name="T12" fmla="*/ 503 w 964"/>
                <a:gd name="T13" fmla="*/ 11 h 231"/>
                <a:gd name="T14" fmla="*/ 563 w 964"/>
                <a:gd name="T15" fmla="*/ 10 h 231"/>
                <a:gd name="T16" fmla="*/ 633 w 964"/>
                <a:gd name="T17" fmla="*/ 8 h 231"/>
                <a:gd name="T18" fmla="*/ 695 w 964"/>
                <a:gd name="T19" fmla="*/ 6 h 231"/>
                <a:gd name="T20" fmla="*/ 761 w 964"/>
                <a:gd name="T21" fmla="*/ 5 h 231"/>
                <a:gd name="T22" fmla="*/ 824 w 964"/>
                <a:gd name="T23" fmla="*/ 5 h 231"/>
                <a:gd name="T24" fmla="*/ 881 w 964"/>
                <a:gd name="T25" fmla="*/ 5 h 231"/>
                <a:gd name="T26" fmla="*/ 942 w 964"/>
                <a:gd name="T27" fmla="*/ 5 h 231"/>
                <a:gd name="T28" fmla="*/ 1039 w 964"/>
                <a:gd name="T29" fmla="*/ 5 h 231"/>
                <a:gd name="T30" fmla="*/ 1137 w 964"/>
                <a:gd name="T31" fmla="*/ 5 h 231"/>
                <a:gd name="T32" fmla="*/ 1224 w 964"/>
                <a:gd name="T33" fmla="*/ 0 h 231"/>
                <a:gd name="T34" fmla="*/ 1291 w 964"/>
                <a:gd name="T35" fmla="*/ 0 h 231"/>
                <a:gd name="T36" fmla="*/ 1367 w 964"/>
                <a:gd name="T37" fmla="*/ 0 h 231"/>
                <a:gd name="T38" fmla="*/ 1437 w 964"/>
                <a:gd name="T39" fmla="*/ 5 h 231"/>
                <a:gd name="T40" fmla="*/ 1525 w 964"/>
                <a:gd name="T41" fmla="*/ 5 h 231"/>
                <a:gd name="T42" fmla="*/ 1594 w 964"/>
                <a:gd name="T43" fmla="*/ 5 h 231"/>
                <a:gd name="T44" fmla="*/ 1665 w 964"/>
                <a:gd name="T45" fmla="*/ 5 h 231"/>
                <a:gd name="T46" fmla="*/ 1731 w 964"/>
                <a:gd name="T47" fmla="*/ 5 h 231"/>
                <a:gd name="T48" fmla="*/ 1811 w 964"/>
                <a:gd name="T49" fmla="*/ 5 h 231"/>
                <a:gd name="T50" fmla="*/ 1825 w 964"/>
                <a:gd name="T51" fmla="*/ 5 h 231"/>
                <a:gd name="T52" fmla="*/ 1760 w 964"/>
                <a:gd name="T53" fmla="*/ 5 h 231"/>
                <a:gd name="T54" fmla="*/ 1665 w 964"/>
                <a:gd name="T55" fmla="*/ 5 h 231"/>
                <a:gd name="T56" fmla="*/ 1603 w 964"/>
                <a:gd name="T57" fmla="*/ 5 h 231"/>
                <a:gd name="T58" fmla="*/ 1525 w 964"/>
                <a:gd name="T59" fmla="*/ 5 h 231"/>
                <a:gd name="T60" fmla="*/ 1437 w 964"/>
                <a:gd name="T61" fmla="*/ 5 h 231"/>
                <a:gd name="T62" fmla="*/ 1353 w 964"/>
                <a:gd name="T63" fmla="*/ 5 h 231"/>
                <a:gd name="T64" fmla="*/ 1264 w 964"/>
                <a:gd name="T65" fmla="*/ 5 h 231"/>
                <a:gd name="T66" fmla="*/ 1179 w 964"/>
                <a:gd name="T67" fmla="*/ 5 h 231"/>
                <a:gd name="T68" fmla="*/ 1083 w 964"/>
                <a:gd name="T69" fmla="*/ 5 h 231"/>
                <a:gd name="T70" fmla="*/ 987 w 964"/>
                <a:gd name="T71" fmla="*/ 5 h 231"/>
                <a:gd name="T72" fmla="*/ 924 w 964"/>
                <a:gd name="T73" fmla="*/ 5 h 231"/>
                <a:gd name="T74" fmla="*/ 868 w 964"/>
                <a:gd name="T75" fmla="*/ 7 h 231"/>
                <a:gd name="T76" fmla="*/ 789 w 964"/>
                <a:gd name="T77" fmla="*/ 9 h 231"/>
                <a:gd name="T78" fmla="*/ 717 w 964"/>
                <a:gd name="T79" fmla="*/ 10 h 231"/>
                <a:gd name="T80" fmla="*/ 650 w 964"/>
                <a:gd name="T81" fmla="*/ 11 h 231"/>
                <a:gd name="T82" fmla="*/ 574 w 964"/>
                <a:gd name="T83" fmla="*/ 12 h 231"/>
                <a:gd name="T84" fmla="*/ 503 w 964"/>
                <a:gd name="T85" fmla="*/ 13 h 231"/>
                <a:gd name="T86" fmla="*/ 434 w 964"/>
                <a:gd name="T87" fmla="*/ 14 h 231"/>
                <a:gd name="T88" fmla="*/ 356 w 964"/>
                <a:gd name="T89" fmla="*/ 15 h 231"/>
                <a:gd name="T90" fmla="*/ 294 w 964"/>
                <a:gd name="T91" fmla="*/ 16 h 231"/>
                <a:gd name="T92" fmla="*/ 234 w 964"/>
                <a:gd name="T93" fmla="*/ 18 h 231"/>
                <a:gd name="T94" fmla="*/ 163 w 964"/>
                <a:gd name="T95" fmla="*/ 18 h 231"/>
                <a:gd name="T96" fmla="*/ 65 w 964"/>
                <a:gd name="T97" fmla="*/ 21 h 231"/>
                <a:gd name="T98" fmla="*/ 0 w 964"/>
                <a:gd name="T99" fmla="*/ 22 h 2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64"/>
                <a:gd name="T151" fmla="*/ 0 h 231"/>
                <a:gd name="T152" fmla="*/ 964 w 964"/>
                <a:gd name="T153" fmla="*/ 231 h 23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64" h="231">
                  <a:moveTo>
                    <a:pt x="0" y="231"/>
                  </a:moveTo>
                  <a:lnTo>
                    <a:pt x="14" y="222"/>
                  </a:lnTo>
                  <a:lnTo>
                    <a:pt x="32" y="214"/>
                  </a:lnTo>
                  <a:lnTo>
                    <a:pt x="46" y="202"/>
                  </a:lnTo>
                  <a:lnTo>
                    <a:pt x="69" y="197"/>
                  </a:lnTo>
                  <a:lnTo>
                    <a:pt x="87" y="185"/>
                  </a:lnTo>
                  <a:lnTo>
                    <a:pt x="105" y="177"/>
                  </a:lnTo>
                  <a:lnTo>
                    <a:pt x="119" y="171"/>
                  </a:lnTo>
                  <a:lnTo>
                    <a:pt x="128" y="168"/>
                  </a:lnTo>
                  <a:lnTo>
                    <a:pt x="142" y="163"/>
                  </a:lnTo>
                  <a:lnTo>
                    <a:pt x="151" y="157"/>
                  </a:lnTo>
                  <a:lnTo>
                    <a:pt x="160" y="154"/>
                  </a:lnTo>
                  <a:lnTo>
                    <a:pt x="169" y="148"/>
                  </a:lnTo>
                  <a:lnTo>
                    <a:pt x="183" y="143"/>
                  </a:lnTo>
                  <a:lnTo>
                    <a:pt x="197" y="137"/>
                  </a:lnTo>
                  <a:lnTo>
                    <a:pt x="206" y="134"/>
                  </a:lnTo>
                  <a:lnTo>
                    <a:pt x="220" y="128"/>
                  </a:lnTo>
                  <a:lnTo>
                    <a:pt x="229" y="126"/>
                  </a:lnTo>
                  <a:lnTo>
                    <a:pt x="238" y="120"/>
                  </a:lnTo>
                  <a:lnTo>
                    <a:pt x="256" y="114"/>
                  </a:lnTo>
                  <a:lnTo>
                    <a:pt x="265" y="111"/>
                  </a:lnTo>
                  <a:lnTo>
                    <a:pt x="274" y="106"/>
                  </a:lnTo>
                  <a:lnTo>
                    <a:pt x="288" y="103"/>
                  </a:lnTo>
                  <a:lnTo>
                    <a:pt x="297" y="97"/>
                  </a:lnTo>
                  <a:lnTo>
                    <a:pt x="311" y="91"/>
                  </a:lnTo>
                  <a:lnTo>
                    <a:pt x="325" y="91"/>
                  </a:lnTo>
                  <a:lnTo>
                    <a:pt x="334" y="86"/>
                  </a:lnTo>
                  <a:lnTo>
                    <a:pt x="343" y="80"/>
                  </a:lnTo>
                  <a:lnTo>
                    <a:pt x="357" y="77"/>
                  </a:lnTo>
                  <a:lnTo>
                    <a:pt x="366" y="71"/>
                  </a:lnTo>
                  <a:lnTo>
                    <a:pt x="379" y="69"/>
                  </a:lnTo>
                  <a:lnTo>
                    <a:pt x="389" y="66"/>
                  </a:lnTo>
                  <a:lnTo>
                    <a:pt x="402" y="60"/>
                  </a:lnTo>
                  <a:lnTo>
                    <a:pt x="411" y="57"/>
                  </a:lnTo>
                  <a:lnTo>
                    <a:pt x="425" y="54"/>
                  </a:lnTo>
                  <a:lnTo>
                    <a:pt x="434" y="49"/>
                  </a:lnTo>
                  <a:lnTo>
                    <a:pt x="448" y="49"/>
                  </a:lnTo>
                  <a:lnTo>
                    <a:pt x="457" y="43"/>
                  </a:lnTo>
                  <a:lnTo>
                    <a:pt x="466" y="40"/>
                  </a:lnTo>
                  <a:lnTo>
                    <a:pt x="480" y="37"/>
                  </a:lnTo>
                  <a:lnTo>
                    <a:pt x="489" y="34"/>
                  </a:lnTo>
                  <a:lnTo>
                    <a:pt x="498" y="32"/>
                  </a:lnTo>
                  <a:lnTo>
                    <a:pt x="512" y="29"/>
                  </a:lnTo>
                  <a:lnTo>
                    <a:pt x="530" y="23"/>
                  </a:lnTo>
                  <a:lnTo>
                    <a:pt x="549" y="17"/>
                  </a:lnTo>
                  <a:lnTo>
                    <a:pt x="567" y="15"/>
                  </a:lnTo>
                  <a:lnTo>
                    <a:pt x="585" y="9"/>
                  </a:lnTo>
                  <a:lnTo>
                    <a:pt x="599" y="6"/>
                  </a:lnTo>
                  <a:lnTo>
                    <a:pt x="617" y="6"/>
                  </a:lnTo>
                  <a:lnTo>
                    <a:pt x="631" y="0"/>
                  </a:lnTo>
                  <a:lnTo>
                    <a:pt x="645" y="0"/>
                  </a:lnTo>
                  <a:lnTo>
                    <a:pt x="654" y="0"/>
                  </a:lnTo>
                  <a:lnTo>
                    <a:pt x="667" y="0"/>
                  </a:lnTo>
                  <a:lnTo>
                    <a:pt x="681" y="0"/>
                  </a:lnTo>
                  <a:lnTo>
                    <a:pt x="695" y="0"/>
                  </a:lnTo>
                  <a:lnTo>
                    <a:pt x="704" y="0"/>
                  </a:lnTo>
                  <a:lnTo>
                    <a:pt x="722" y="0"/>
                  </a:lnTo>
                  <a:lnTo>
                    <a:pt x="736" y="3"/>
                  </a:lnTo>
                  <a:lnTo>
                    <a:pt x="750" y="6"/>
                  </a:lnTo>
                  <a:lnTo>
                    <a:pt x="759" y="6"/>
                  </a:lnTo>
                  <a:lnTo>
                    <a:pt x="777" y="9"/>
                  </a:lnTo>
                  <a:lnTo>
                    <a:pt x="786" y="12"/>
                  </a:lnTo>
                  <a:lnTo>
                    <a:pt x="804" y="17"/>
                  </a:lnTo>
                  <a:lnTo>
                    <a:pt x="814" y="17"/>
                  </a:lnTo>
                  <a:lnTo>
                    <a:pt x="827" y="20"/>
                  </a:lnTo>
                  <a:lnTo>
                    <a:pt x="841" y="23"/>
                  </a:lnTo>
                  <a:lnTo>
                    <a:pt x="855" y="29"/>
                  </a:lnTo>
                  <a:lnTo>
                    <a:pt x="864" y="29"/>
                  </a:lnTo>
                  <a:lnTo>
                    <a:pt x="878" y="34"/>
                  </a:lnTo>
                  <a:lnTo>
                    <a:pt x="887" y="37"/>
                  </a:lnTo>
                  <a:lnTo>
                    <a:pt x="896" y="40"/>
                  </a:lnTo>
                  <a:lnTo>
                    <a:pt x="914" y="43"/>
                  </a:lnTo>
                  <a:lnTo>
                    <a:pt x="932" y="49"/>
                  </a:lnTo>
                  <a:lnTo>
                    <a:pt x="946" y="54"/>
                  </a:lnTo>
                  <a:lnTo>
                    <a:pt x="955" y="57"/>
                  </a:lnTo>
                  <a:lnTo>
                    <a:pt x="964" y="60"/>
                  </a:lnTo>
                  <a:lnTo>
                    <a:pt x="955" y="60"/>
                  </a:lnTo>
                  <a:lnTo>
                    <a:pt x="946" y="57"/>
                  </a:lnTo>
                  <a:lnTo>
                    <a:pt x="928" y="54"/>
                  </a:lnTo>
                  <a:lnTo>
                    <a:pt x="910" y="49"/>
                  </a:lnTo>
                  <a:lnTo>
                    <a:pt x="891" y="49"/>
                  </a:lnTo>
                  <a:lnTo>
                    <a:pt x="878" y="46"/>
                  </a:lnTo>
                  <a:lnTo>
                    <a:pt x="868" y="43"/>
                  </a:lnTo>
                  <a:lnTo>
                    <a:pt x="859" y="43"/>
                  </a:lnTo>
                  <a:lnTo>
                    <a:pt x="846" y="43"/>
                  </a:lnTo>
                  <a:lnTo>
                    <a:pt x="832" y="40"/>
                  </a:lnTo>
                  <a:lnTo>
                    <a:pt x="823" y="37"/>
                  </a:lnTo>
                  <a:lnTo>
                    <a:pt x="804" y="37"/>
                  </a:lnTo>
                  <a:lnTo>
                    <a:pt x="791" y="37"/>
                  </a:lnTo>
                  <a:lnTo>
                    <a:pt x="772" y="34"/>
                  </a:lnTo>
                  <a:lnTo>
                    <a:pt x="759" y="34"/>
                  </a:lnTo>
                  <a:lnTo>
                    <a:pt x="745" y="34"/>
                  </a:lnTo>
                  <a:lnTo>
                    <a:pt x="731" y="34"/>
                  </a:lnTo>
                  <a:lnTo>
                    <a:pt x="713" y="32"/>
                  </a:lnTo>
                  <a:lnTo>
                    <a:pt x="699" y="32"/>
                  </a:lnTo>
                  <a:lnTo>
                    <a:pt x="681" y="32"/>
                  </a:lnTo>
                  <a:lnTo>
                    <a:pt x="667" y="34"/>
                  </a:lnTo>
                  <a:lnTo>
                    <a:pt x="654" y="34"/>
                  </a:lnTo>
                  <a:lnTo>
                    <a:pt x="635" y="37"/>
                  </a:lnTo>
                  <a:lnTo>
                    <a:pt x="622" y="37"/>
                  </a:lnTo>
                  <a:lnTo>
                    <a:pt x="608" y="43"/>
                  </a:lnTo>
                  <a:lnTo>
                    <a:pt x="585" y="43"/>
                  </a:lnTo>
                  <a:lnTo>
                    <a:pt x="571" y="46"/>
                  </a:lnTo>
                  <a:lnTo>
                    <a:pt x="549" y="49"/>
                  </a:lnTo>
                  <a:lnTo>
                    <a:pt x="530" y="57"/>
                  </a:lnTo>
                  <a:lnTo>
                    <a:pt x="521" y="57"/>
                  </a:lnTo>
                  <a:lnTo>
                    <a:pt x="512" y="60"/>
                  </a:lnTo>
                  <a:lnTo>
                    <a:pt x="498" y="63"/>
                  </a:lnTo>
                  <a:lnTo>
                    <a:pt x="489" y="66"/>
                  </a:lnTo>
                  <a:lnTo>
                    <a:pt x="480" y="71"/>
                  </a:lnTo>
                  <a:lnTo>
                    <a:pt x="466" y="71"/>
                  </a:lnTo>
                  <a:lnTo>
                    <a:pt x="457" y="77"/>
                  </a:lnTo>
                  <a:lnTo>
                    <a:pt x="443" y="80"/>
                  </a:lnTo>
                  <a:lnTo>
                    <a:pt x="430" y="83"/>
                  </a:lnTo>
                  <a:lnTo>
                    <a:pt x="416" y="89"/>
                  </a:lnTo>
                  <a:lnTo>
                    <a:pt x="402" y="91"/>
                  </a:lnTo>
                  <a:lnTo>
                    <a:pt x="393" y="94"/>
                  </a:lnTo>
                  <a:lnTo>
                    <a:pt x="379" y="97"/>
                  </a:lnTo>
                  <a:lnTo>
                    <a:pt x="366" y="103"/>
                  </a:lnTo>
                  <a:lnTo>
                    <a:pt x="357" y="106"/>
                  </a:lnTo>
                  <a:lnTo>
                    <a:pt x="343" y="111"/>
                  </a:lnTo>
                  <a:lnTo>
                    <a:pt x="325" y="114"/>
                  </a:lnTo>
                  <a:lnTo>
                    <a:pt x="311" y="117"/>
                  </a:lnTo>
                  <a:lnTo>
                    <a:pt x="302" y="123"/>
                  </a:lnTo>
                  <a:lnTo>
                    <a:pt x="288" y="128"/>
                  </a:lnTo>
                  <a:lnTo>
                    <a:pt x="274" y="131"/>
                  </a:lnTo>
                  <a:lnTo>
                    <a:pt x="265" y="134"/>
                  </a:lnTo>
                  <a:lnTo>
                    <a:pt x="256" y="140"/>
                  </a:lnTo>
                  <a:lnTo>
                    <a:pt x="238" y="145"/>
                  </a:lnTo>
                  <a:lnTo>
                    <a:pt x="229" y="148"/>
                  </a:lnTo>
                  <a:lnTo>
                    <a:pt x="215" y="151"/>
                  </a:lnTo>
                  <a:lnTo>
                    <a:pt x="201" y="157"/>
                  </a:lnTo>
                  <a:lnTo>
                    <a:pt x="188" y="160"/>
                  </a:lnTo>
                  <a:lnTo>
                    <a:pt x="178" y="163"/>
                  </a:lnTo>
                  <a:lnTo>
                    <a:pt x="169" y="168"/>
                  </a:lnTo>
                  <a:lnTo>
                    <a:pt x="156" y="171"/>
                  </a:lnTo>
                  <a:lnTo>
                    <a:pt x="146" y="177"/>
                  </a:lnTo>
                  <a:lnTo>
                    <a:pt x="133" y="180"/>
                  </a:lnTo>
                  <a:lnTo>
                    <a:pt x="124" y="183"/>
                  </a:lnTo>
                  <a:lnTo>
                    <a:pt x="114" y="185"/>
                  </a:lnTo>
                  <a:lnTo>
                    <a:pt x="105" y="191"/>
                  </a:lnTo>
                  <a:lnTo>
                    <a:pt x="87" y="197"/>
                  </a:lnTo>
                  <a:lnTo>
                    <a:pt x="69" y="205"/>
                  </a:lnTo>
                  <a:lnTo>
                    <a:pt x="55" y="211"/>
                  </a:lnTo>
                  <a:lnTo>
                    <a:pt x="37" y="217"/>
                  </a:lnTo>
                  <a:lnTo>
                    <a:pt x="28" y="220"/>
                  </a:lnTo>
                  <a:lnTo>
                    <a:pt x="18" y="225"/>
                  </a:lnTo>
                  <a:lnTo>
                    <a:pt x="0" y="231"/>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28" name="Freeform 20"/>
            <p:cNvSpPr>
              <a:spLocks/>
            </p:cNvSpPr>
            <p:nvPr>
              <p:custDataLst>
                <p:tags r:id="rId227"/>
              </p:custDataLst>
            </p:nvPr>
          </p:nvSpPr>
          <p:spPr bwMode="gray">
            <a:xfrm>
              <a:off x="4230" y="923"/>
              <a:ext cx="797" cy="336"/>
            </a:xfrm>
            <a:custGeom>
              <a:avLst/>
              <a:gdLst>
                <a:gd name="T0" fmla="*/ 49 w 777"/>
                <a:gd name="T1" fmla="*/ 5 h 367"/>
                <a:gd name="T2" fmla="*/ 125 w 777"/>
                <a:gd name="T3" fmla="*/ 5 h 367"/>
                <a:gd name="T4" fmla="*/ 196 w 777"/>
                <a:gd name="T5" fmla="*/ 5 h 367"/>
                <a:gd name="T6" fmla="*/ 267 w 777"/>
                <a:gd name="T7" fmla="*/ 5 h 367"/>
                <a:gd name="T8" fmla="*/ 354 w 777"/>
                <a:gd name="T9" fmla="*/ 6 h 367"/>
                <a:gd name="T10" fmla="*/ 441 w 777"/>
                <a:gd name="T11" fmla="*/ 9 h 367"/>
                <a:gd name="T12" fmla="*/ 541 w 777"/>
                <a:gd name="T13" fmla="*/ 12 h 367"/>
                <a:gd name="T14" fmla="*/ 636 w 777"/>
                <a:gd name="T15" fmla="*/ 14 h 367"/>
                <a:gd name="T16" fmla="*/ 743 w 777"/>
                <a:gd name="T17" fmla="*/ 16 h 367"/>
                <a:gd name="T18" fmla="*/ 841 w 777"/>
                <a:gd name="T19" fmla="*/ 17 h 367"/>
                <a:gd name="T20" fmla="*/ 947 w 777"/>
                <a:gd name="T21" fmla="*/ 21 h 367"/>
                <a:gd name="T22" fmla="*/ 1043 w 777"/>
                <a:gd name="T23" fmla="*/ 23 h 367"/>
                <a:gd name="T24" fmla="*/ 1131 w 777"/>
                <a:gd name="T25" fmla="*/ 25 h 367"/>
                <a:gd name="T26" fmla="*/ 1220 w 777"/>
                <a:gd name="T27" fmla="*/ 27 h 367"/>
                <a:gd name="T28" fmla="*/ 1301 w 777"/>
                <a:gd name="T29" fmla="*/ 27 h 367"/>
                <a:gd name="T30" fmla="*/ 1372 w 777"/>
                <a:gd name="T31" fmla="*/ 29 h 367"/>
                <a:gd name="T32" fmla="*/ 1448 w 777"/>
                <a:gd name="T33" fmla="*/ 32 h 367"/>
                <a:gd name="T34" fmla="*/ 1506 w 777"/>
                <a:gd name="T35" fmla="*/ 33 h 367"/>
                <a:gd name="T36" fmla="*/ 1448 w 777"/>
                <a:gd name="T37" fmla="*/ 33 h 367"/>
                <a:gd name="T38" fmla="*/ 1381 w 777"/>
                <a:gd name="T39" fmla="*/ 35 h 367"/>
                <a:gd name="T40" fmla="*/ 1296 w 777"/>
                <a:gd name="T41" fmla="*/ 35 h 367"/>
                <a:gd name="T42" fmla="*/ 1185 w 777"/>
                <a:gd name="T43" fmla="*/ 35 h 367"/>
                <a:gd name="T44" fmla="*/ 1076 w 777"/>
                <a:gd name="T45" fmla="*/ 35 h 367"/>
                <a:gd name="T46" fmla="*/ 956 w 777"/>
                <a:gd name="T47" fmla="*/ 36 h 367"/>
                <a:gd name="T48" fmla="*/ 856 w 777"/>
                <a:gd name="T49" fmla="*/ 36 h 367"/>
                <a:gd name="T50" fmla="*/ 769 w 777"/>
                <a:gd name="T51" fmla="*/ 37 h 367"/>
                <a:gd name="T52" fmla="*/ 1131 w 777"/>
                <a:gd name="T53" fmla="*/ 29 h 367"/>
                <a:gd name="T54" fmla="*/ 1061 w 777"/>
                <a:gd name="T55" fmla="*/ 27 h 367"/>
                <a:gd name="T56" fmla="*/ 991 w 777"/>
                <a:gd name="T57" fmla="*/ 25 h 367"/>
                <a:gd name="T58" fmla="*/ 919 w 777"/>
                <a:gd name="T59" fmla="*/ 24 h 367"/>
                <a:gd name="T60" fmla="*/ 851 w 777"/>
                <a:gd name="T61" fmla="*/ 22 h 367"/>
                <a:gd name="T62" fmla="*/ 769 w 777"/>
                <a:gd name="T63" fmla="*/ 21 h 367"/>
                <a:gd name="T64" fmla="*/ 700 w 777"/>
                <a:gd name="T65" fmla="*/ 17 h 367"/>
                <a:gd name="T66" fmla="*/ 602 w 777"/>
                <a:gd name="T67" fmla="*/ 16 h 367"/>
                <a:gd name="T68" fmla="*/ 530 w 777"/>
                <a:gd name="T69" fmla="*/ 14 h 367"/>
                <a:gd name="T70" fmla="*/ 441 w 777"/>
                <a:gd name="T71" fmla="*/ 13 h 367"/>
                <a:gd name="T72" fmla="*/ 362 w 777"/>
                <a:gd name="T73" fmla="*/ 10 h 367"/>
                <a:gd name="T74" fmla="*/ 282 w 777"/>
                <a:gd name="T75" fmla="*/ 7 h 367"/>
                <a:gd name="T76" fmla="*/ 218 w 777"/>
                <a:gd name="T77" fmla="*/ 5 h 367"/>
                <a:gd name="T78" fmla="*/ 157 w 777"/>
                <a:gd name="T79" fmla="*/ 5 h 367"/>
                <a:gd name="T80" fmla="*/ 65 w 777"/>
                <a:gd name="T81" fmla="*/ 5 h 367"/>
                <a:gd name="T82" fmla="*/ 0 w 777"/>
                <a:gd name="T83" fmla="*/ 0 h 3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77"/>
                <a:gd name="T127" fmla="*/ 0 h 367"/>
                <a:gd name="T128" fmla="*/ 777 w 777"/>
                <a:gd name="T129" fmla="*/ 367 h 3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77" h="367">
                  <a:moveTo>
                    <a:pt x="4" y="0"/>
                  </a:moveTo>
                  <a:lnTo>
                    <a:pt x="9" y="0"/>
                  </a:lnTo>
                  <a:lnTo>
                    <a:pt x="23" y="6"/>
                  </a:lnTo>
                  <a:lnTo>
                    <a:pt x="36" y="11"/>
                  </a:lnTo>
                  <a:lnTo>
                    <a:pt x="55" y="17"/>
                  </a:lnTo>
                  <a:lnTo>
                    <a:pt x="64" y="23"/>
                  </a:lnTo>
                  <a:lnTo>
                    <a:pt x="73" y="26"/>
                  </a:lnTo>
                  <a:lnTo>
                    <a:pt x="87" y="28"/>
                  </a:lnTo>
                  <a:lnTo>
                    <a:pt x="100" y="37"/>
                  </a:lnTo>
                  <a:lnTo>
                    <a:pt x="110" y="40"/>
                  </a:lnTo>
                  <a:lnTo>
                    <a:pt x="123" y="46"/>
                  </a:lnTo>
                  <a:lnTo>
                    <a:pt x="137" y="51"/>
                  </a:lnTo>
                  <a:lnTo>
                    <a:pt x="155" y="57"/>
                  </a:lnTo>
                  <a:lnTo>
                    <a:pt x="169" y="65"/>
                  </a:lnTo>
                  <a:lnTo>
                    <a:pt x="183" y="68"/>
                  </a:lnTo>
                  <a:lnTo>
                    <a:pt x="196" y="74"/>
                  </a:lnTo>
                  <a:lnTo>
                    <a:pt x="215" y="85"/>
                  </a:lnTo>
                  <a:lnTo>
                    <a:pt x="228" y="88"/>
                  </a:lnTo>
                  <a:lnTo>
                    <a:pt x="247" y="97"/>
                  </a:lnTo>
                  <a:lnTo>
                    <a:pt x="260" y="105"/>
                  </a:lnTo>
                  <a:lnTo>
                    <a:pt x="279" y="111"/>
                  </a:lnTo>
                  <a:lnTo>
                    <a:pt x="297" y="117"/>
                  </a:lnTo>
                  <a:lnTo>
                    <a:pt x="311" y="125"/>
                  </a:lnTo>
                  <a:lnTo>
                    <a:pt x="329" y="131"/>
                  </a:lnTo>
                  <a:lnTo>
                    <a:pt x="347" y="140"/>
                  </a:lnTo>
                  <a:lnTo>
                    <a:pt x="365" y="148"/>
                  </a:lnTo>
                  <a:lnTo>
                    <a:pt x="384" y="154"/>
                  </a:lnTo>
                  <a:lnTo>
                    <a:pt x="402" y="162"/>
                  </a:lnTo>
                  <a:lnTo>
                    <a:pt x="420" y="171"/>
                  </a:lnTo>
                  <a:lnTo>
                    <a:pt x="434" y="177"/>
                  </a:lnTo>
                  <a:lnTo>
                    <a:pt x="457" y="185"/>
                  </a:lnTo>
                  <a:lnTo>
                    <a:pt x="471" y="191"/>
                  </a:lnTo>
                  <a:lnTo>
                    <a:pt x="489" y="199"/>
                  </a:lnTo>
                  <a:lnTo>
                    <a:pt x="507" y="205"/>
                  </a:lnTo>
                  <a:lnTo>
                    <a:pt x="525" y="214"/>
                  </a:lnTo>
                  <a:lnTo>
                    <a:pt x="539" y="219"/>
                  </a:lnTo>
                  <a:lnTo>
                    <a:pt x="557" y="225"/>
                  </a:lnTo>
                  <a:lnTo>
                    <a:pt x="571" y="233"/>
                  </a:lnTo>
                  <a:lnTo>
                    <a:pt x="585" y="239"/>
                  </a:lnTo>
                  <a:lnTo>
                    <a:pt x="603" y="248"/>
                  </a:lnTo>
                  <a:lnTo>
                    <a:pt x="617" y="253"/>
                  </a:lnTo>
                  <a:lnTo>
                    <a:pt x="630" y="259"/>
                  </a:lnTo>
                  <a:lnTo>
                    <a:pt x="644" y="268"/>
                  </a:lnTo>
                  <a:lnTo>
                    <a:pt x="658" y="273"/>
                  </a:lnTo>
                  <a:lnTo>
                    <a:pt x="672" y="279"/>
                  </a:lnTo>
                  <a:lnTo>
                    <a:pt x="681" y="282"/>
                  </a:lnTo>
                  <a:lnTo>
                    <a:pt x="690" y="288"/>
                  </a:lnTo>
                  <a:lnTo>
                    <a:pt x="708" y="293"/>
                  </a:lnTo>
                  <a:lnTo>
                    <a:pt x="717" y="299"/>
                  </a:lnTo>
                  <a:lnTo>
                    <a:pt x="736" y="308"/>
                  </a:lnTo>
                  <a:lnTo>
                    <a:pt x="749" y="316"/>
                  </a:lnTo>
                  <a:lnTo>
                    <a:pt x="763" y="322"/>
                  </a:lnTo>
                  <a:lnTo>
                    <a:pt x="772" y="325"/>
                  </a:lnTo>
                  <a:lnTo>
                    <a:pt x="777" y="330"/>
                  </a:lnTo>
                  <a:lnTo>
                    <a:pt x="763" y="330"/>
                  </a:lnTo>
                  <a:lnTo>
                    <a:pt x="749" y="333"/>
                  </a:lnTo>
                  <a:lnTo>
                    <a:pt x="740" y="336"/>
                  </a:lnTo>
                  <a:lnTo>
                    <a:pt x="726" y="336"/>
                  </a:lnTo>
                  <a:lnTo>
                    <a:pt x="713" y="339"/>
                  </a:lnTo>
                  <a:lnTo>
                    <a:pt x="699" y="342"/>
                  </a:lnTo>
                  <a:lnTo>
                    <a:pt x="681" y="342"/>
                  </a:lnTo>
                  <a:lnTo>
                    <a:pt x="667" y="342"/>
                  </a:lnTo>
                  <a:lnTo>
                    <a:pt x="649" y="342"/>
                  </a:lnTo>
                  <a:lnTo>
                    <a:pt x="630" y="347"/>
                  </a:lnTo>
                  <a:lnTo>
                    <a:pt x="612" y="347"/>
                  </a:lnTo>
                  <a:lnTo>
                    <a:pt x="594" y="350"/>
                  </a:lnTo>
                  <a:lnTo>
                    <a:pt x="571" y="353"/>
                  </a:lnTo>
                  <a:lnTo>
                    <a:pt x="557" y="353"/>
                  </a:lnTo>
                  <a:lnTo>
                    <a:pt x="535" y="356"/>
                  </a:lnTo>
                  <a:lnTo>
                    <a:pt x="516" y="359"/>
                  </a:lnTo>
                  <a:lnTo>
                    <a:pt x="493" y="359"/>
                  </a:lnTo>
                  <a:lnTo>
                    <a:pt x="480" y="362"/>
                  </a:lnTo>
                  <a:lnTo>
                    <a:pt x="461" y="362"/>
                  </a:lnTo>
                  <a:lnTo>
                    <a:pt x="443" y="364"/>
                  </a:lnTo>
                  <a:lnTo>
                    <a:pt x="425" y="364"/>
                  </a:lnTo>
                  <a:lnTo>
                    <a:pt x="416" y="367"/>
                  </a:lnTo>
                  <a:lnTo>
                    <a:pt x="397" y="367"/>
                  </a:lnTo>
                  <a:lnTo>
                    <a:pt x="589" y="293"/>
                  </a:lnTo>
                  <a:lnTo>
                    <a:pt x="585" y="290"/>
                  </a:lnTo>
                  <a:lnTo>
                    <a:pt x="585" y="288"/>
                  </a:lnTo>
                  <a:lnTo>
                    <a:pt x="571" y="282"/>
                  </a:lnTo>
                  <a:lnTo>
                    <a:pt x="562" y="279"/>
                  </a:lnTo>
                  <a:lnTo>
                    <a:pt x="548" y="271"/>
                  </a:lnTo>
                  <a:lnTo>
                    <a:pt x="525" y="262"/>
                  </a:lnTo>
                  <a:lnTo>
                    <a:pt x="516" y="256"/>
                  </a:lnTo>
                  <a:lnTo>
                    <a:pt x="512" y="253"/>
                  </a:lnTo>
                  <a:lnTo>
                    <a:pt x="498" y="248"/>
                  </a:lnTo>
                  <a:lnTo>
                    <a:pt x="489" y="242"/>
                  </a:lnTo>
                  <a:lnTo>
                    <a:pt x="475" y="236"/>
                  </a:lnTo>
                  <a:lnTo>
                    <a:pt x="466" y="231"/>
                  </a:lnTo>
                  <a:lnTo>
                    <a:pt x="452" y="225"/>
                  </a:lnTo>
                  <a:lnTo>
                    <a:pt x="439" y="216"/>
                  </a:lnTo>
                  <a:lnTo>
                    <a:pt x="425" y="211"/>
                  </a:lnTo>
                  <a:lnTo>
                    <a:pt x="416" y="205"/>
                  </a:lnTo>
                  <a:lnTo>
                    <a:pt x="397" y="199"/>
                  </a:lnTo>
                  <a:lnTo>
                    <a:pt x="384" y="194"/>
                  </a:lnTo>
                  <a:lnTo>
                    <a:pt x="370" y="185"/>
                  </a:lnTo>
                  <a:lnTo>
                    <a:pt x="361" y="179"/>
                  </a:lnTo>
                  <a:lnTo>
                    <a:pt x="347" y="171"/>
                  </a:lnTo>
                  <a:lnTo>
                    <a:pt x="329" y="165"/>
                  </a:lnTo>
                  <a:lnTo>
                    <a:pt x="311" y="157"/>
                  </a:lnTo>
                  <a:lnTo>
                    <a:pt x="301" y="151"/>
                  </a:lnTo>
                  <a:lnTo>
                    <a:pt x="288" y="145"/>
                  </a:lnTo>
                  <a:lnTo>
                    <a:pt x="274" y="137"/>
                  </a:lnTo>
                  <a:lnTo>
                    <a:pt x="256" y="131"/>
                  </a:lnTo>
                  <a:lnTo>
                    <a:pt x="242" y="122"/>
                  </a:lnTo>
                  <a:lnTo>
                    <a:pt x="228" y="117"/>
                  </a:lnTo>
                  <a:lnTo>
                    <a:pt x="215" y="108"/>
                  </a:lnTo>
                  <a:lnTo>
                    <a:pt x="201" y="103"/>
                  </a:lnTo>
                  <a:lnTo>
                    <a:pt x="187" y="97"/>
                  </a:lnTo>
                  <a:lnTo>
                    <a:pt x="173" y="88"/>
                  </a:lnTo>
                  <a:lnTo>
                    <a:pt x="160" y="85"/>
                  </a:lnTo>
                  <a:lnTo>
                    <a:pt x="146" y="74"/>
                  </a:lnTo>
                  <a:lnTo>
                    <a:pt x="137" y="68"/>
                  </a:lnTo>
                  <a:lnTo>
                    <a:pt x="123" y="65"/>
                  </a:lnTo>
                  <a:lnTo>
                    <a:pt x="114" y="57"/>
                  </a:lnTo>
                  <a:lnTo>
                    <a:pt x="100" y="48"/>
                  </a:lnTo>
                  <a:lnTo>
                    <a:pt x="87" y="46"/>
                  </a:lnTo>
                  <a:lnTo>
                    <a:pt x="82" y="40"/>
                  </a:lnTo>
                  <a:lnTo>
                    <a:pt x="73" y="37"/>
                  </a:lnTo>
                  <a:lnTo>
                    <a:pt x="50" y="26"/>
                  </a:lnTo>
                  <a:lnTo>
                    <a:pt x="36" y="17"/>
                  </a:lnTo>
                  <a:lnTo>
                    <a:pt x="23" y="11"/>
                  </a:lnTo>
                  <a:lnTo>
                    <a:pt x="14" y="6"/>
                  </a:lnTo>
                  <a:lnTo>
                    <a:pt x="0" y="0"/>
                  </a:lnTo>
                  <a:lnTo>
                    <a:pt x="4"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29" name="Freeform 21"/>
            <p:cNvSpPr>
              <a:spLocks/>
            </p:cNvSpPr>
            <p:nvPr>
              <p:custDataLst>
                <p:tags r:id="rId228"/>
              </p:custDataLst>
            </p:nvPr>
          </p:nvSpPr>
          <p:spPr bwMode="gray">
            <a:xfrm>
              <a:off x="2000" y="1341"/>
              <a:ext cx="1804" cy="70"/>
            </a:xfrm>
            <a:custGeom>
              <a:avLst/>
              <a:gdLst>
                <a:gd name="T0" fmla="*/ 668 w 1760"/>
                <a:gd name="T1" fmla="*/ 5 h 77"/>
                <a:gd name="T2" fmla="*/ 890 w 1760"/>
                <a:gd name="T3" fmla="*/ 6 h 77"/>
                <a:gd name="T4" fmla="*/ 1121 w 1760"/>
                <a:gd name="T5" fmla="*/ 6 h 77"/>
                <a:gd name="T6" fmla="*/ 1355 w 1760"/>
                <a:gd name="T7" fmla="*/ 6 h 77"/>
                <a:gd name="T8" fmla="*/ 1598 w 1760"/>
                <a:gd name="T9" fmla="*/ 6 h 77"/>
                <a:gd name="T10" fmla="*/ 1851 w 1760"/>
                <a:gd name="T11" fmla="*/ 5 h 77"/>
                <a:gd name="T12" fmla="*/ 2086 w 1760"/>
                <a:gd name="T13" fmla="*/ 5 h 77"/>
                <a:gd name="T14" fmla="*/ 2320 w 1760"/>
                <a:gd name="T15" fmla="*/ 5 h 77"/>
                <a:gd name="T16" fmla="*/ 2539 w 1760"/>
                <a:gd name="T17" fmla="*/ 5 h 77"/>
                <a:gd name="T18" fmla="*/ 2739 w 1760"/>
                <a:gd name="T19" fmla="*/ 5 h 77"/>
                <a:gd name="T20" fmla="*/ 2915 w 1760"/>
                <a:gd name="T21" fmla="*/ 5 h 77"/>
                <a:gd name="T22" fmla="*/ 3064 w 1760"/>
                <a:gd name="T23" fmla="*/ 5 h 77"/>
                <a:gd name="T24" fmla="*/ 3187 w 1760"/>
                <a:gd name="T25" fmla="*/ 5 h 77"/>
                <a:gd name="T26" fmla="*/ 3274 w 1760"/>
                <a:gd name="T27" fmla="*/ 5 h 77"/>
                <a:gd name="T28" fmla="*/ 3346 w 1760"/>
                <a:gd name="T29" fmla="*/ 0 h 77"/>
                <a:gd name="T30" fmla="*/ 3249 w 1760"/>
                <a:gd name="T31" fmla="*/ 0 h 77"/>
                <a:gd name="T32" fmla="*/ 3133 w 1760"/>
                <a:gd name="T33" fmla="*/ 3 h 77"/>
                <a:gd name="T34" fmla="*/ 3031 w 1760"/>
                <a:gd name="T35" fmla="*/ 5 h 77"/>
                <a:gd name="T36" fmla="*/ 2901 w 1760"/>
                <a:gd name="T37" fmla="*/ 5 h 77"/>
                <a:gd name="T38" fmla="*/ 2766 w 1760"/>
                <a:gd name="T39" fmla="*/ 5 h 77"/>
                <a:gd name="T40" fmla="*/ 2623 w 1760"/>
                <a:gd name="T41" fmla="*/ 5 h 77"/>
                <a:gd name="T42" fmla="*/ 2478 w 1760"/>
                <a:gd name="T43" fmla="*/ 5 h 77"/>
                <a:gd name="T44" fmla="*/ 2310 w 1760"/>
                <a:gd name="T45" fmla="*/ 5 h 77"/>
                <a:gd name="T46" fmla="*/ 2154 w 1760"/>
                <a:gd name="T47" fmla="*/ 5 h 77"/>
                <a:gd name="T48" fmla="*/ 1999 w 1760"/>
                <a:gd name="T49" fmla="*/ 5 h 77"/>
                <a:gd name="T50" fmla="*/ 1851 w 1760"/>
                <a:gd name="T51" fmla="*/ 5 h 77"/>
                <a:gd name="T52" fmla="*/ 1713 w 1760"/>
                <a:gd name="T53" fmla="*/ 5 h 77"/>
                <a:gd name="T54" fmla="*/ 1582 w 1760"/>
                <a:gd name="T55" fmla="*/ 5 h 77"/>
                <a:gd name="T56" fmla="*/ 1474 w 1760"/>
                <a:gd name="T57" fmla="*/ 5 h 77"/>
                <a:gd name="T58" fmla="*/ 1392 w 1760"/>
                <a:gd name="T59" fmla="*/ 5 h 77"/>
                <a:gd name="T60" fmla="*/ 1301 w 1760"/>
                <a:gd name="T61" fmla="*/ 5 h 77"/>
                <a:gd name="T62" fmla="*/ 1219 w 1760"/>
                <a:gd name="T63" fmla="*/ 5 h 77"/>
                <a:gd name="T64" fmla="*/ 1112 w 1760"/>
                <a:gd name="T65" fmla="*/ 5 h 77"/>
                <a:gd name="T66" fmla="*/ 1001 w 1760"/>
                <a:gd name="T67" fmla="*/ 5 h 77"/>
                <a:gd name="T68" fmla="*/ 890 w 1760"/>
                <a:gd name="T69" fmla="*/ 5 h 77"/>
                <a:gd name="T70" fmla="*/ 767 w 1760"/>
                <a:gd name="T71" fmla="*/ 5 h 77"/>
                <a:gd name="T72" fmla="*/ 645 w 1760"/>
                <a:gd name="T73" fmla="*/ 5 h 77"/>
                <a:gd name="T74" fmla="*/ 531 w 1760"/>
                <a:gd name="T75" fmla="*/ 5 h 77"/>
                <a:gd name="T76" fmla="*/ 420 w 1760"/>
                <a:gd name="T77" fmla="*/ 5 h 77"/>
                <a:gd name="T78" fmla="*/ 313 w 1760"/>
                <a:gd name="T79" fmla="*/ 5 h 77"/>
                <a:gd name="T80" fmla="*/ 224 w 1760"/>
                <a:gd name="T81" fmla="*/ 5 h 77"/>
                <a:gd name="T82" fmla="*/ 138 w 1760"/>
                <a:gd name="T83" fmla="*/ 5 h 77"/>
                <a:gd name="T84" fmla="*/ 49 w 1760"/>
                <a:gd name="T85" fmla="*/ 5 h 77"/>
                <a:gd name="T86" fmla="*/ 10 w 1760"/>
                <a:gd name="T87" fmla="*/ 5 h 77"/>
                <a:gd name="T88" fmla="*/ 131 w 1760"/>
                <a:gd name="T89" fmla="*/ 5 h 77"/>
                <a:gd name="T90" fmla="*/ 224 w 1760"/>
                <a:gd name="T91" fmla="*/ 5 h 77"/>
                <a:gd name="T92" fmla="*/ 313 w 1760"/>
                <a:gd name="T93" fmla="*/ 5 h 77"/>
                <a:gd name="T94" fmla="*/ 401 w 1760"/>
                <a:gd name="T95" fmla="*/ 5 h 77"/>
                <a:gd name="T96" fmla="*/ 478 w 1760"/>
                <a:gd name="T97" fmla="*/ 5 h 77"/>
                <a:gd name="T98" fmla="*/ 522 w 1760"/>
                <a:gd name="T99" fmla="*/ 5 h 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60"/>
                <a:gd name="T151" fmla="*/ 0 h 77"/>
                <a:gd name="T152" fmla="*/ 1760 w 1760"/>
                <a:gd name="T153" fmla="*/ 77 h 7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60" h="77">
                  <a:moveTo>
                    <a:pt x="275" y="66"/>
                  </a:moveTo>
                  <a:lnTo>
                    <a:pt x="302" y="66"/>
                  </a:lnTo>
                  <a:lnTo>
                    <a:pt x="325" y="66"/>
                  </a:lnTo>
                  <a:lnTo>
                    <a:pt x="352" y="69"/>
                  </a:lnTo>
                  <a:lnTo>
                    <a:pt x="380" y="72"/>
                  </a:lnTo>
                  <a:lnTo>
                    <a:pt x="407" y="74"/>
                  </a:lnTo>
                  <a:lnTo>
                    <a:pt x="435" y="74"/>
                  </a:lnTo>
                  <a:lnTo>
                    <a:pt x="467" y="77"/>
                  </a:lnTo>
                  <a:lnTo>
                    <a:pt x="499" y="77"/>
                  </a:lnTo>
                  <a:lnTo>
                    <a:pt x="526" y="77"/>
                  </a:lnTo>
                  <a:lnTo>
                    <a:pt x="558" y="77"/>
                  </a:lnTo>
                  <a:lnTo>
                    <a:pt x="590" y="77"/>
                  </a:lnTo>
                  <a:lnTo>
                    <a:pt x="622" y="77"/>
                  </a:lnTo>
                  <a:lnTo>
                    <a:pt x="649" y="77"/>
                  </a:lnTo>
                  <a:lnTo>
                    <a:pt x="681" y="77"/>
                  </a:lnTo>
                  <a:lnTo>
                    <a:pt x="713" y="77"/>
                  </a:lnTo>
                  <a:lnTo>
                    <a:pt x="750" y="77"/>
                  </a:lnTo>
                  <a:lnTo>
                    <a:pt x="782" y="77"/>
                  </a:lnTo>
                  <a:lnTo>
                    <a:pt x="809" y="77"/>
                  </a:lnTo>
                  <a:lnTo>
                    <a:pt x="841" y="77"/>
                  </a:lnTo>
                  <a:lnTo>
                    <a:pt x="878" y="77"/>
                  </a:lnTo>
                  <a:lnTo>
                    <a:pt x="905" y="74"/>
                  </a:lnTo>
                  <a:lnTo>
                    <a:pt x="937" y="72"/>
                  </a:lnTo>
                  <a:lnTo>
                    <a:pt x="974" y="72"/>
                  </a:lnTo>
                  <a:lnTo>
                    <a:pt x="1006" y="69"/>
                  </a:lnTo>
                  <a:lnTo>
                    <a:pt x="1033" y="66"/>
                  </a:lnTo>
                  <a:lnTo>
                    <a:pt x="1065" y="66"/>
                  </a:lnTo>
                  <a:lnTo>
                    <a:pt x="1097" y="63"/>
                  </a:lnTo>
                  <a:lnTo>
                    <a:pt x="1129" y="60"/>
                  </a:lnTo>
                  <a:lnTo>
                    <a:pt x="1161" y="60"/>
                  </a:lnTo>
                  <a:lnTo>
                    <a:pt x="1193" y="57"/>
                  </a:lnTo>
                  <a:lnTo>
                    <a:pt x="1221" y="55"/>
                  </a:lnTo>
                  <a:lnTo>
                    <a:pt x="1248" y="55"/>
                  </a:lnTo>
                  <a:lnTo>
                    <a:pt x="1280" y="52"/>
                  </a:lnTo>
                  <a:lnTo>
                    <a:pt x="1303" y="49"/>
                  </a:lnTo>
                  <a:lnTo>
                    <a:pt x="1335" y="46"/>
                  </a:lnTo>
                  <a:lnTo>
                    <a:pt x="1362" y="46"/>
                  </a:lnTo>
                  <a:lnTo>
                    <a:pt x="1390" y="40"/>
                  </a:lnTo>
                  <a:lnTo>
                    <a:pt x="1413" y="40"/>
                  </a:lnTo>
                  <a:lnTo>
                    <a:pt x="1440" y="37"/>
                  </a:lnTo>
                  <a:lnTo>
                    <a:pt x="1467" y="35"/>
                  </a:lnTo>
                  <a:lnTo>
                    <a:pt x="1490" y="32"/>
                  </a:lnTo>
                  <a:lnTo>
                    <a:pt x="1513" y="32"/>
                  </a:lnTo>
                  <a:lnTo>
                    <a:pt x="1536" y="29"/>
                  </a:lnTo>
                  <a:lnTo>
                    <a:pt x="1559" y="23"/>
                  </a:lnTo>
                  <a:lnTo>
                    <a:pt x="1577" y="23"/>
                  </a:lnTo>
                  <a:lnTo>
                    <a:pt x="1595" y="20"/>
                  </a:lnTo>
                  <a:lnTo>
                    <a:pt x="1614" y="20"/>
                  </a:lnTo>
                  <a:lnTo>
                    <a:pt x="1637" y="18"/>
                  </a:lnTo>
                  <a:lnTo>
                    <a:pt x="1650" y="15"/>
                  </a:lnTo>
                  <a:lnTo>
                    <a:pt x="1664" y="15"/>
                  </a:lnTo>
                  <a:lnTo>
                    <a:pt x="1678" y="12"/>
                  </a:lnTo>
                  <a:lnTo>
                    <a:pt x="1691" y="12"/>
                  </a:lnTo>
                  <a:lnTo>
                    <a:pt x="1701" y="9"/>
                  </a:lnTo>
                  <a:lnTo>
                    <a:pt x="1719" y="6"/>
                  </a:lnTo>
                  <a:lnTo>
                    <a:pt x="1723" y="6"/>
                  </a:lnTo>
                  <a:lnTo>
                    <a:pt x="1737" y="6"/>
                  </a:lnTo>
                  <a:lnTo>
                    <a:pt x="1746" y="3"/>
                  </a:lnTo>
                  <a:lnTo>
                    <a:pt x="1755" y="0"/>
                  </a:lnTo>
                  <a:lnTo>
                    <a:pt x="1760" y="0"/>
                  </a:lnTo>
                  <a:lnTo>
                    <a:pt x="1755" y="0"/>
                  </a:lnTo>
                  <a:lnTo>
                    <a:pt x="1742" y="0"/>
                  </a:lnTo>
                  <a:lnTo>
                    <a:pt x="1723" y="0"/>
                  </a:lnTo>
                  <a:lnTo>
                    <a:pt x="1710" y="0"/>
                  </a:lnTo>
                  <a:lnTo>
                    <a:pt x="1691" y="3"/>
                  </a:lnTo>
                  <a:lnTo>
                    <a:pt x="1678" y="3"/>
                  </a:lnTo>
                  <a:lnTo>
                    <a:pt x="1664" y="3"/>
                  </a:lnTo>
                  <a:lnTo>
                    <a:pt x="1650" y="3"/>
                  </a:lnTo>
                  <a:lnTo>
                    <a:pt x="1637" y="3"/>
                  </a:lnTo>
                  <a:lnTo>
                    <a:pt x="1627" y="3"/>
                  </a:lnTo>
                  <a:lnTo>
                    <a:pt x="1609" y="3"/>
                  </a:lnTo>
                  <a:lnTo>
                    <a:pt x="1595" y="6"/>
                  </a:lnTo>
                  <a:lnTo>
                    <a:pt x="1577" y="6"/>
                  </a:lnTo>
                  <a:lnTo>
                    <a:pt x="1559" y="6"/>
                  </a:lnTo>
                  <a:lnTo>
                    <a:pt x="1545" y="6"/>
                  </a:lnTo>
                  <a:lnTo>
                    <a:pt x="1527" y="9"/>
                  </a:lnTo>
                  <a:lnTo>
                    <a:pt x="1513" y="9"/>
                  </a:lnTo>
                  <a:lnTo>
                    <a:pt x="1490" y="9"/>
                  </a:lnTo>
                  <a:lnTo>
                    <a:pt x="1477" y="12"/>
                  </a:lnTo>
                  <a:lnTo>
                    <a:pt x="1458" y="12"/>
                  </a:lnTo>
                  <a:lnTo>
                    <a:pt x="1440" y="12"/>
                  </a:lnTo>
                  <a:lnTo>
                    <a:pt x="1417" y="12"/>
                  </a:lnTo>
                  <a:lnTo>
                    <a:pt x="1399" y="15"/>
                  </a:lnTo>
                  <a:lnTo>
                    <a:pt x="1381" y="15"/>
                  </a:lnTo>
                  <a:lnTo>
                    <a:pt x="1358" y="18"/>
                  </a:lnTo>
                  <a:lnTo>
                    <a:pt x="1339" y="18"/>
                  </a:lnTo>
                  <a:lnTo>
                    <a:pt x="1321" y="18"/>
                  </a:lnTo>
                  <a:lnTo>
                    <a:pt x="1303" y="18"/>
                  </a:lnTo>
                  <a:lnTo>
                    <a:pt x="1280" y="20"/>
                  </a:lnTo>
                  <a:lnTo>
                    <a:pt x="1257" y="20"/>
                  </a:lnTo>
                  <a:lnTo>
                    <a:pt x="1239" y="20"/>
                  </a:lnTo>
                  <a:lnTo>
                    <a:pt x="1216" y="20"/>
                  </a:lnTo>
                  <a:lnTo>
                    <a:pt x="1198" y="23"/>
                  </a:lnTo>
                  <a:lnTo>
                    <a:pt x="1175" y="23"/>
                  </a:lnTo>
                  <a:lnTo>
                    <a:pt x="1157" y="23"/>
                  </a:lnTo>
                  <a:lnTo>
                    <a:pt x="1134" y="23"/>
                  </a:lnTo>
                  <a:lnTo>
                    <a:pt x="1116" y="26"/>
                  </a:lnTo>
                  <a:lnTo>
                    <a:pt x="1093" y="26"/>
                  </a:lnTo>
                  <a:lnTo>
                    <a:pt x="1070" y="29"/>
                  </a:lnTo>
                  <a:lnTo>
                    <a:pt x="1052" y="29"/>
                  </a:lnTo>
                  <a:lnTo>
                    <a:pt x="1033" y="32"/>
                  </a:lnTo>
                  <a:lnTo>
                    <a:pt x="1010" y="32"/>
                  </a:lnTo>
                  <a:lnTo>
                    <a:pt x="992" y="32"/>
                  </a:lnTo>
                  <a:lnTo>
                    <a:pt x="974" y="32"/>
                  </a:lnTo>
                  <a:lnTo>
                    <a:pt x="956" y="32"/>
                  </a:lnTo>
                  <a:lnTo>
                    <a:pt x="937" y="32"/>
                  </a:lnTo>
                  <a:lnTo>
                    <a:pt x="919" y="35"/>
                  </a:lnTo>
                  <a:lnTo>
                    <a:pt x="901" y="35"/>
                  </a:lnTo>
                  <a:lnTo>
                    <a:pt x="887" y="35"/>
                  </a:lnTo>
                  <a:lnTo>
                    <a:pt x="869" y="35"/>
                  </a:lnTo>
                  <a:lnTo>
                    <a:pt x="850" y="37"/>
                  </a:lnTo>
                  <a:lnTo>
                    <a:pt x="832" y="40"/>
                  </a:lnTo>
                  <a:lnTo>
                    <a:pt x="818" y="40"/>
                  </a:lnTo>
                  <a:lnTo>
                    <a:pt x="800" y="40"/>
                  </a:lnTo>
                  <a:lnTo>
                    <a:pt x="791" y="40"/>
                  </a:lnTo>
                  <a:lnTo>
                    <a:pt x="777" y="40"/>
                  </a:lnTo>
                  <a:lnTo>
                    <a:pt x="764" y="40"/>
                  </a:lnTo>
                  <a:lnTo>
                    <a:pt x="750" y="40"/>
                  </a:lnTo>
                  <a:lnTo>
                    <a:pt x="741" y="40"/>
                  </a:lnTo>
                  <a:lnTo>
                    <a:pt x="732" y="43"/>
                  </a:lnTo>
                  <a:lnTo>
                    <a:pt x="723" y="43"/>
                  </a:lnTo>
                  <a:lnTo>
                    <a:pt x="709" y="43"/>
                  </a:lnTo>
                  <a:lnTo>
                    <a:pt x="700" y="43"/>
                  </a:lnTo>
                  <a:lnTo>
                    <a:pt x="686" y="43"/>
                  </a:lnTo>
                  <a:lnTo>
                    <a:pt x="677" y="43"/>
                  </a:lnTo>
                  <a:lnTo>
                    <a:pt x="663" y="43"/>
                  </a:lnTo>
                  <a:lnTo>
                    <a:pt x="649" y="43"/>
                  </a:lnTo>
                  <a:lnTo>
                    <a:pt x="640" y="43"/>
                  </a:lnTo>
                  <a:lnTo>
                    <a:pt x="627" y="46"/>
                  </a:lnTo>
                  <a:lnTo>
                    <a:pt x="613" y="46"/>
                  </a:lnTo>
                  <a:lnTo>
                    <a:pt x="599" y="46"/>
                  </a:lnTo>
                  <a:lnTo>
                    <a:pt x="585" y="46"/>
                  </a:lnTo>
                  <a:lnTo>
                    <a:pt x="572" y="46"/>
                  </a:lnTo>
                  <a:lnTo>
                    <a:pt x="558" y="46"/>
                  </a:lnTo>
                  <a:lnTo>
                    <a:pt x="544" y="46"/>
                  </a:lnTo>
                  <a:lnTo>
                    <a:pt x="526" y="46"/>
                  </a:lnTo>
                  <a:lnTo>
                    <a:pt x="512" y="46"/>
                  </a:lnTo>
                  <a:lnTo>
                    <a:pt x="499" y="46"/>
                  </a:lnTo>
                  <a:lnTo>
                    <a:pt x="480" y="46"/>
                  </a:lnTo>
                  <a:lnTo>
                    <a:pt x="467" y="46"/>
                  </a:lnTo>
                  <a:lnTo>
                    <a:pt x="448" y="46"/>
                  </a:lnTo>
                  <a:lnTo>
                    <a:pt x="435" y="46"/>
                  </a:lnTo>
                  <a:lnTo>
                    <a:pt x="416" y="46"/>
                  </a:lnTo>
                  <a:lnTo>
                    <a:pt x="403" y="46"/>
                  </a:lnTo>
                  <a:lnTo>
                    <a:pt x="389" y="46"/>
                  </a:lnTo>
                  <a:lnTo>
                    <a:pt x="371" y="46"/>
                  </a:lnTo>
                  <a:lnTo>
                    <a:pt x="357" y="46"/>
                  </a:lnTo>
                  <a:lnTo>
                    <a:pt x="339" y="46"/>
                  </a:lnTo>
                  <a:lnTo>
                    <a:pt x="325" y="46"/>
                  </a:lnTo>
                  <a:lnTo>
                    <a:pt x="311" y="46"/>
                  </a:lnTo>
                  <a:lnTo>
                    <a:pt x="293" y="46"/>
                  </a:lnTo>
                  <a:lnTo>
                    <a:pt x="279" y="46"/>
                  </a:lnTo>
                  <a:lnTo>
                    <a:pt x="266" y="46"/>
                  </a:lnTo>
                  <a:lnTo>
                    <a:pt x="252" y="46"/>
                  </a:lnTo>
                  <a:lnTo>
                    <a:pt x="234" y="46"/>
                  </a:lnTo>
                  <a:lnTo>
                    <a:pt x="220" y="46"/>
                  </a:lnTo>
                  <a:lnTo>
                    <a:pt x="206" y="46"/>
                  </a:lnTo>
                  <a:lnTo>
                    <a:pt x="192" y="46"/>
                  </a:lnTo>
                  <a:lnTo>
                    <a:pt x="179" y="46"/>
                  </a:lnTo>
                  <a:lnTo>
                    <a:pt x="165" y="46"/>
                  </a:lnTo>
                  <a:lnTo>
                    <a:pt x="156" y="46"/>
                  </a:lnTo>
                  <a:lnTo>
                    <a:pt x="142" y="43"/>
                  </a:lnTo>
                  <a:lnTo>
                    <a:pt x="128" y="43"/>
                  </a:lnTo>
                  <a:lnTo>
                    <a:pt x="119" y="43"/>
                  </a:lnTo>
                  <a:lnTo>
                    <a:pt x="106" y="43"/>
                  </a:lnTo>
                  <a:lnTo>
                    <a:pt x="96" y="43"/>
                  </a:lnTo>
                  <a:lnTo>
                    <a:pt x="83" y="43"/>
                  </a:lnTo>
                  <a:lnTo>
                    <a:pt x="74" y="43"/>
                  </a:lnTo>
                  <a:lnTo>
                    <a:pt x="64" y="43"/>
                  </a:lnTo>
                  <a:lnTo>
                    <a:pt x="46" y="43"/>
                  </a:lnTo>
                  <a:lnTo>
                    <a:pt x="32" y="43"/>
                  </a:lnTo>
                  <a:lnTo>
                    <a:pt x="23" y="43"/>
                  </a:lnTo>
                  <a:lnTo>
                    <a:pt x="10" y="43"/>
                  </a:lnTo>
                  <a:lnTo>
                    <a:pt x="0" y="43"/>
                  </a:lnTo>
                  <a:lnTo>
                    <a:pt x="10" y="43"/>
                  </a:lnTo>
                  <a:lnTo>
                    <a:pt x="28" y="43"/>
                  </a:lnTo>
                  <a:lnTo>
                    <a:pt x="42" y="46"/>
                  </a:lnTo>
                  <a:lnTo>
                    <a:pt x="60" y="46"/>
                  </a:lnTo>
                  <a:lnTo>
                    <a:pt x="69" y="46"/>
                  </a:lnTo>
                  <a:lnTo>
                    <a:pt x="83" y="46"/>
                  </a:lnTo>
                  <a:lnTo>
                    <a:pt x="92" y="49"/>
                  </a:lnTo>
                  <a:lnTo>
                    <a:pt x="106" y="49"/>
                  </a:lnTo>
                  <a:lnTo>
                    <a:pt x="119" y="49"/>
                  </a:lnTo>
                  <a:lnTo>
                    <a:pt x="128" y="52"/>
                  </a:lnTo>
                  <a:lnTo>
                    <a:pt x="142" y="55"/>
                  </a:lnTo>
                  <a:lnTo>
                    <a:pt x="156" y="55"/>
                  </a:lnTo>
                  <a:lnTo>
                    <a:pt x="165" y="55"/>
                  </a:lnTo>
                  <a:lnTo>
                    <a:pt x="179" y="55"/>
                  </a:lnTo>
                  <a:lnTo>
                    <a:pt x="188" y="55"/>
                  </a:lnTo>
                  <a:lnTo>
                    <a:pt x="202" y="57"/>
                  </a:lnTo>
                  <a:lnTo>
                    <a:pt x="211" y="57"/>
                  </a:lnTo>
                  <a:lnTo>
                    <a:pt x="220" y="57"/>
                  </a:lnTo>
                  <a:lnTo>
                    <a:pt x="229" y="60"/>
                  </a:lnTo>
                  <a:lnTo>
                    <a:pt x="238" y="60"/>
                  </a:lnTo>
                  <a:lnTo>
                    <a:pt x="252" y="60"/>
                  </a:lnTo>
                  <a:lnTo>
                    <a:pt x="266" y="60"/>
                  </a:lnTo>
                  <a:lnTo>
                    <a:pt x="270" y="63"/>
                  </a:lnTo>
                  <a:lnTo>
                    <a:pt x="275" y="66"/>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30" name="Freeform 22"/>
            <p:cNvSpPr>
              <a:spLocks/>
            </p:cNvSpPr>
            <p:nvPr>
              <p:custDataLst>
                <p:tags r:id="rId229"/>
              </p:custDataLst>
            </p:nvPr>
          </p:nvSpPr>
          <p:spPr bwMode="gray">
            <a:xfrm>
              <a:off x="1227" y="2140"/>
              <a:ext cx="1139" cy="188"/>
            </a:xfrm>
            <a:custGeom>
              <a:avLst/>
              <a:gdLst>
                <a:gd name="T0" fmla="*/ 49 w 1111"/>
                <a:gd name="T1" fmla="*/ 3 h 205"/>
                <a:gd name="T2" fmla="*/ 103 w 1111"/>
                <a:gd name="T3" fmla="*/ 6 h 205"/>
                <a:gd name="T4" fmla="*/ 195 w 1111"/>
                <a:gd name="T5" fmla="*/ 6 h 205"/>
                <a:gd name="T6" fmla="*/ 272 w 1111"/>
                <a:gd name="T7" fmla="*/ 6 h 205"/>
                <a:gd name="T8" fmla="*/ 343 w 1111"/>
                <a:gd name="T9" fmla="*/ 6 h 205"/>
                <a:gd name="T10" fmla="*/ 403 w 1111"/>
                <a:gd name="T11" fmla="*/ 6 h 205"/>
                <a:gd name="T12" fmla="*/ 463 w 1111"/>
                <a:gd name="T13" fmla="*/ 6 h 205"/>
                <a:gd name="T14" fmla="*/ 525 w 1111"/>
                <a:gd name="T15" fmla="*/ 6 h 205"/>
                <a:gd name="T16" fmla="*/ 595 w 1111"/>
                <a:gd name="T17" fmla="*/ 6 h 205"/>
                <a:gd name="T18" fmla="*/ 664 w 1111"/>
                <a:gd name="T19" fmla="*/ 6 h 205"/>
                <a:gd name="T20" fmla="*/ 734 w 1111"/>
                <a:gd name="T21" fmla="*/ 6 h 205"/>
                <a:gd name="T22" fmla="*/ 804 w 1111"/>
                <a:gd name="T23" fmla="*/ 6 h 205"/>
                <a:gd name="T24" fmla="*/ 865 w 1111"/>
                <a:gd name="T25" fmla="*/ 6 h 205"/>
                <a:gd name="T26" fmla="*/ 933 w 1111"/>
                <a:gd name="T27" fmla="*/ 6 h 205"/>
                <a:gd name="T28" fmla="*/ 1004 w 1111"/>
                <a:gd name="T29" fmla="*/ 6 h 205"/>
                <a:gd name="T30" fmla="*/ 1065 w 1111"/>
                <a:gd name="T31" fmla="*/ 6 h 205"/>
                <a:gd name="T32" fmla="*/ 1135 w 1111"/>
                <a:gd name="T33" fmla="*/ 6 h 205"/>
                <a:gd name="T34" fmla="*/ 1195 w 1111"/>
                <a:gd name="T35" fmla="*/ 6 h 205"/>
                <a:gd name="T36" fmla="*/ 1291 w 1111"/>
                <a:gd name="T37" fmla="*/ 6 h 205"/>
                <a:gd name="T38" fmla="*/ 1353 w 1111"/>
                <a:gd name="T39" fmla="*/ 6 h 205"/>
                <a:gd name="T40" fmla="*/ 1439 w 1111"/>
                <a:gd name="T41" fmla="*/ 6 h 205"/>
                <a:gd name="T42" fmla="*/ 1510 w 1111"/>
                <a:gd name="T43" fmla="*/ 6 h 205"/>
                <a:gd name="T44" fmla="*/ 1597 w 1111"/>
                <a:gd name="T45" fmla="*/ 6 h 205"/>
                <a:gd name="T46" fmla="*/ 1712 w 1111"/>
                <a:gd name="T47" fmla="*/ 6 h 205"/>
                <a:gd name="T48" fmla="*/ 1828 w 1111"/>
                <a:gd name="T49" fmla="*/ 7 h 205"/>
                <a:gd name="T50" fmla="*/ 1917 w 1111"/>
                <a:gd name="T51" fmla="*/ 7 h 205"/>
                <a:gd name="T52" fmla="*/ 1988 w 1111"/>
                <a:gd name="T53" fmla="*/ 7 h 205"/>
                <a:gd name="T54" fmla="*/ 2048 w 1111"/>
                <a:gd name="T55" fmla="*/ 7 h 205"/>
                <a:gd name="T56" fmla="*/ 2103 w 1111"/>
                <a:gd name="T57" fmla="*/ 7 h 205"/>
                <a:gd name="T58" fmla="*/ 2086 w 1111"/>
                <a:gd name="T59" fmla="*/ 22 h 205"/>
                <a:gd name="T60" fmla="*/ 2042 w 1111"/>
                <a:gd name="T61" fmla="*/ 22 h 205"/>
                <a:gd name="T62" fmla="*/ 1982 w 1111"/>
                <a:gd name="T63" fmla="*/ 22 h 205"/>
                <a:gd name="T64" fmla="*/ 1894 w 1111"/>
                <a:gd name="T65" fmla="*/ 22 h 205"/>
                <a:gd name="T66" fmla="*/ 1790 w 1111"/>
                <a:gd name="T67" fmla="*/ 22 h 205"/>
                <a:gd name="T68" fmla="*/ 1695 w 1111"/>
                <a:gd name="T69" fmla="*/ 22 h 205"/>
                <a:gd name="T70" fmla="*/ 1633 w 1111"/>
                <a:gd name="T71" fmla="*/ 22 h 205"/>
                <a:gd name="T72" fmla="*/ 1572 w 1111"/>
                <a:gd name="T73" fmla="*/ 21 h 205"/>
                <a:gd name="T74" fmla="*/ 1510 w 1111"/>
                <a:gd name="T75" fmla="*/ 21 h 205"/>
                <a:gd name="T76" fmla="*/ 1452 w 1111"/>
                <a:gd name="T77" fmla="*/ 21 h 205"/>
                <a:gd name="T78" fmla="*/ 1387 w 1111"/>
                <a:gd name="T79" fmla="*/ 21 h 205"/>
                <a:gd name="T80" fmla="*/ 1327 w 1111"/>
                <a:gd name="T81" fmla="*/ 21 h 205"/>
                <a:gd name="T82" fmla="*/ 1266 w 1111"/>
                <a:gd name="T83" fmla="*/ 21 h 205"/>
                <a:gd name="T84" fmla="*/ 1189 w 1111"/>
                <a:gd name="T85" fmla="*/ 20 h 205"/>
                <a:gd name="T86" fmla="*/ 1082 w 1111"/>
                <a:gd name="T87" fmla="*/ 20 h 205"/>
                <a:gd name="T88" fmla="*/ 985 w 1111"/>
                <a:gd name="T89" fmla="*/ 20 h 205"/>
                <a:gd name="T90" fmla="*/ 933 w 1111"/>
                <a:gd name="T91" fmla="*/ 20 h 205"/>
                <a:gd name="T92" fmla="*/ 865 w 1111"/>
                <a:gd name="T93" fmla="*/ 19 h 205"/>
                <a:gd name="T94" fmla="*/ 804 w 1111"/>
                <a:gd name="T95" fmla="*/ 18 h 205"/>
                <a:gd name="T96" fmla="*/ 734 w 1111"/>
                <a:gd name="T97" fmla="*/ 18 h 205"/>
                <a:gd name="T98" fmla="*/ 664 w 1111"/>
                <a:gd name="T99" fmla="*/ 18 h 205"/>
                <a:gd name="T100" fmla="*/ 595 w 1111"/>
                <a:gd name="T101" fmla="*/ 17 h 205"/>
                <a:gd name="T102" fmla="*/ 525 w 1111"/>
                <a:gd name="T103" fmla="*/ 17 h 205"/>
                <a:gd name="T104" fmla="*/ 463 w 1111"/>
                <a:gd name="T105" fmla="*/ 17 h 205"/>
                <a:gd name="T106" fmla="*/ 403 w 1111"/>
                <a:gd name="T107" fmla="*/ 17 h 205"/>
                <a:gd name="T108" fmla="*/ 343 w 1111"/>
                <a:gd name="T109" fmla="*/ 16 h 205"/>
                <a:gd name="T110" fmla="*/ 244 w 1111"/>
                <a:gd name="T111" fmla="*/ 16 h 205"/>
                <a:gd name="T112" fmla="*/ 137 w 1111"/>
                <a:gd name="T113" fmla="*/ 16 h 205"/>
                <a:gd name="T114" fmla="*/ 58 w 1111"/>
                <a:gd name="T115" fmla="*/ 15 h 205"/>
                <a:gd name="T116" fmla="*/ 5 w 1111"/>
                <a:gd name="T117" fmla="*/ 15 h 205"/>
                <a:gd name="T118" fmla="*/ 10 w 1111"/>
                <a:gd name="T119" fmla="*/ 0 h 20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11"/>
                <a:gd name="T181" fmla="*/ 0 h 205"/>
                <a:gd name="T182" fmla="*/ 1111 w 1111"/>
                <a:gd name="T183" fmla="*/ 205 h 20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11" h="205">
                  <a:moveTo>
                    <a:pt x="10" y="0"/>
                  </a:moveTo>
                  <a:lnTo>
                    <a:pt x="14" y="0"/>
                  </a:lnTo>
                  <a:lnTo>
                    <a:pt x="23" y="3"/>
                  </a:lnTo>
                  <a:lnTo>
                    <a:pt x="32" y="3"/>
                  </a:lnTo>
                  <a:lnTo>
                    <a:pt x="42" y="3"/>
                  </a:lnTo>
                  <a:lnTo>
                    <a:pt x="55" y="6"/>
                  </a:lnTo>
                  <a:lnTo>
                    <a:pt x="69" y="9"/>
                  </a:lnTo>
                  <a:lnTo>
                    <a:pt x="83" y="11"/>
                  </a:lnTo>
                  <a:lnTo>
                    <a:pt x="101" y="11"/>
                  </a:lnTo>
                  <a:lnTo>
                    <a:pt x="119" y="11"/>
                  </a:lnTo>
                  <a:lnTo>
                    <a:pt x="133" y="14"/>
                  </a:lnTo>
                  <a:lnTo>
                    <a:pt x="142" y="14"/>
                  </a:lnTo>
                  <a:lnTo>
                    <a:pt x="151" y="17"/>
                  </a:lnTo>
                  <a:lnTo>
                    <a:pt x="165" y="17"/>
                  </a:lnTo>
                  <a:lnTo>
                    <a:pt x="179" y="17"/>
                  </a:lnTo>
                  <a:lnTo>
                    <a:pt x="183" y="17"/>
                  </a:lnTo>
                  <a:lnTo>
                    <a:pt x="197" y="20"/>
                  </a:lnTo>
                  <a:lnTo>
                    <a:pt x="211" y="23"/>
                  </a:lnTo>
                  <a:lnTo>
                    <a:pt x="220" y="23"/>
                  </a:lnTo>
                  <a:lnTo>
                    <a:pt x="229" y="23"/>
                  </a:lnTo>
                  <a:lnTo>
                    <a:pt x="243" y="23"/>
                  </a:lnTo>
                  <a:lnTo>
                    <a:pt x="252" y="26"/>
                  </a:lnTo>
                  <a:lnTo>
                    <a:pt x="265" y="29"/>
                  </a:lnTo>
                  <a:lnTo>
                    <a:pt x="275" y="29"/>
                  </a:lnTo>
                  <a:lnTo>
                    <a:pt x="288" y="29"/>
                  </a:lnTo>
                  <a:lnTo>
                    <a:pt x="302" y="31"/>
                  </a:lnTo>
                  <a:lnTo>
                    <a:pt x="311" y="31"/>
                  </a:lnTo>
                  <a:lnTo>
                    <a:pt x="320" y="31"/>
                  </a:lnTo>
                  <a:lnTo>
                    <a:pt x="334" y="34"/>
                  </a:lnTo>
                  <a:lnTo>
                    <a:pt x="348" y="34"/>
                  </a:lnTo>
                  <a:lnTo>
                    <a:pt x="357" y="34"/>
                  </a:lnTo>
                  <a:lnTo>
                    <a:pt x="371" y="34"/>
                  </a:lnTo>
                  <a:lnTo>
                    <a:pt x="384" y="37"/>
                  </a:lnTo>
                  <a:lnTo>
                    <a:pt x="393" y="37"/>
                  </a:lnTo>
                  <a:lnTo>
                    <a:pt x="407" y="37"/>
                  </a:lnTo>
                  <a:lnTo>
                    <a:pt x="421" y="40"/>
                  </a:lnTo>
                  <a:lnTo>
                    <a:pt x="435" y="40"/>
                  </a:lnTo>
                  <a:lnTo>
                    <a:pt x="444" y="43"/>
                  </a:lnTo>
                  <a:lnTo>
                    <a:pt x="453" y="46"/>
                  </a:lnTo>
                  <a:lnTo>
                    <a:pt x="471" y="46"/>
                  </a:lnTo>
                  <a:lnTo>
                    <a:pt x="480" y="46"/>
                  </a:lnTo>
                  <a:lnTo>
                    <a:pt x="489" y="46"/>
                  </a:lnTo>
                  <a:lnTo>
                    <a:pt x="508" y="46"/>
                  </a:lnTo>
                  <a:lnTo>
                    <a:pt x="517" y="46"/>
                  </a:lnTo>
                  <a:lnTo>
                    <a:pt x="526" y="46"/>
                  </a:lnTo>
                  <a:lnTo>
                    <a:pt x="540" y="48"/>
                  </a:lnTo>
                  <a:lnTo>
                    <a:pt x="553" y="48"/>
                  </a:lnTo>
                  <a:lnTo>
                    <a:pt x="558" y="48"/>
                  </a:lnTo>
                  <a:lnTo>
                    <a:pt x="572" y="51"/>
                  </a:lnTo>
                  <a:lnTo>
                    <a:pt x="585" y="51"/>
                  </a:lnTo>
                  <a:lnTo>
                    <a:pt x="594" y="51"/>
                  </a:lnTo>
                  <a:lnTo>
                    <a:pt x="604" y="51"/>
                  </a:lnTo>
                  <a:lnTo>
                    <a:pt x="613" y="51"/>
                  </a:lnTo>
                  <a:lnTo>
                    <a:pt x="626" y="54"/>
                  </a:lnTo>
                  <a:lnTo>
                    <a:pt x="640" y="54"/>
                  </a:lnTo>
                  <a:lnTo>
                    <a:pt x="658" y="54"/>
                  </a:lnTo>
                  <a:lnTo>
                    <a:pt x="677" y="57"/>
                  </a:lnTo>
                  <a:lnTo>
                    <a:pt x="686" y="57"/>
                  </a:lnTo>
                  <a:lnTo>
                    <a:pt x="695" y="57"/>
                  </a:lnTo>
                  <a:lnTo>
                    <a:pt x="709" y="57"/>
                  </a:lnTo>
                  <a:lnTo>
                    <a:pt x="718" y="57"/>
                  </a:lnTo>
                  <a:lnTo>
                    <a:pt x="736" y="57"/>
                  </a:lnTo>
                  <a:lnTo>
                    <a:pt x="754" y="60"/>
                  </a:lnTo>
                  <a:lnTo>
                    <a:pt x="764" y="60"/>
                  </a:lnTo>
                  <a:lnTo>
                    <a:pt x="782" y="60"/>
                  </a:lnTo>
                  <a:lnTo>
                    <a:pt x="791" y="60"/>
                  </a:lnTo>
                  <a:lnTo>
                    <a:pt x="800" y="60"/>
                  </a:lnTo>
                  <a:lnTo>
                    <a:pt x="818" y="60"/>
                  </a:lnTo>
                  <a:lnTo>
                    <a:pt x="837" y="60"/>
                  </a:lnTo>
                  <a:lnTo>
                    <a:pt x="855" y="60"/>
                  </a:lnTo>
                  <a:lnTo>
                    <a:pt x="878" y="63"/>
                  </a:lnTo>
                  <a:lnTo>
                    <a:pt x="896" y="63"/>
                  </a:lnTo>
                  <a:lnTo>
                    <a:pt x="914" y="63"/>
                  </a:lnTo>
                  <a:lnTo>
                    <a:pt x="933" y="63"/>
                  </a:lnTo>
                  <a:lnTo>
                    <a:pt x="956" y="66"/>
                  </a:lnTo>
                  <a:lnTo>
                    <a:pt x="969" y="66"/>
                  </a:lnTo>
                  <a:lnTo>
                    <a:pt x="983" y="66"/>
                  </a:lnTo>
                  <a:lnTo>
                    <a:pt x="1001" y="66"/>
                  </a:lnTo>
                  <a:lnTo>
                    <a:pt x="1020" y="66"/>
                  </a:lnTo>
                  <a:lnTo>
                    <a:pt x="1029" y="66"/>
                  </a:lnTo>
                  <a:lnTo>
                    <a:pt x="1042" y="66"/>
                  </a:lnTo>
                  <a:lnTo>
                    <a:pt x="1056" y="66"/>
                  </a:lnTo>
                  <a:lnTo>
                    <a:pt x="1065" y="66"/>
                  </a:lnTo>
                  <a:lnTo>
                    <a:pt x="1074" y="66"/>
                  </a:lnTo>
                  <a:lnTo>
                    <a:pt x="1088" y="66"/>
                  </a:lnTo>
                  <a:lnTo>
                    <a:pt x="1093" y="66"/>
                  </a:lnTo>
                  <a:lnTo>
                    <a:pt x="1102" y="66"/>
                  </a:lnTo>
                  <a:lnTo>
                    <a:pt x="1111" y="66"/>
                  </a:lnTo>
                  <a:lnTo>
                    <a:pt x="1093" y="205"/>
                  </a:lnTo>
                  <a:lnTo>
                    <a:pt x="1088" y="205"/>
                  </a:lnTo>
                  <a:lnTo>
                    <a:pt x="1074" y="205"/>
                  </a:lnTo>
                  <a:lnTo>
                    <a:pt x="1070" y="205"/>
                  </a:lnTo>
                  <a:lnTo>
                    <a:pt x="1056" y="205"/>
                  </a:lnTo>
                  <a:lnTo>
                    <a:pt x="1047" y="205"/>
                  </a:lnTo>
                  <a:lnTo>
                    <a:pt x="1038" y="205"/>
                  </a:lnTo>
                  <a:lnTo>
                    <a:pt x="1020" y="202"/>
                  </a:lnTo>
                  <a:lnTo>
                    <a:pt x="1010" y="202"/>
                  </a:lnTo>
                  <a:lnTo>
                    <a:pt x="992" y="202"/>
                  </a:lnTo>
                  <a:lnTo>
                    <a:pt x="978" y="202"/>
                  </a:lnTo>
                  <a:lnTo>
                    <a:pt x="956" y="199"/>
                  </a:lnTo>
                  <a:lnTo>
                    <a:pt x="937" y="199"/>
                  </a:lnTo>
                  <a:lnTo>
                    <a:pt x="919" y="199"/>
                  </a:lnTo>
                  <a:lnTo>
                    <a:pt x="901" y="199"/>
                  </a:lnTo>
                  <a:lnTo>
                    <a:pt x="887" y="199"/>
                  </a:lnTo>
                  <a:lnTo>
                    <a:pt x="878" y="199"/>
                  </a:lnTo>
                  <a:lnTo>
                    <a:pt x="869" y="199"/>
                  </a:lnTo>
                  <a:lnTo>
                    <a:pt x="855" y="199"/>
                  </a:lnTo>
                  <a:lnTo>
                    <a:pt x="846" y="197"/>
                  </a:lnTo>
                  <a:lnTo>
                    <a:pt x="837" y="197"/>
                  </a:lnTo>
                  <a:lnTo>
                    <a:pt x="823" y="197"/>
                  </a:lnTo>
                  <a:lnTo>
                    <a:pt x="814" y="197"/>
                  </a:lnTo>
                  <a:lnTo>
                    <a:pt x="800" y="197"/>
                  </a:lnTo>
                  <a:lnTo>
                    <a:pt x="791" y="197"/>
                  </a:lnTo>
                  <a:lnTo>
                    <a:pt x="782" y="197"/>
                  </a:lnTo>
                  <a:lnTo>
                    <a:pt x="768" y="197"/>
                  </a:lnTo>
                  <a:lnTo>
                    <a:pt x="759" y="194"/>
                  </a:lnTo>
                  <a:lnTo>
                    <a:pt x="745" y="194"/>
                  </a:lnTo>
                  <a:lnTo>
                    <a:pt x="736" y="194"/>
                  </a:lnTo>
                  <a:lnTo>
                    <a:pt x="727" y="194"/>
                  </a:lnTo>
                  <a:lnTo>
                    <a:pt x="713" y="194"/>
                  </a:lnTo>
                  <a:lnTo>
                    <a:pt x="704" y="194"/>
                  </a:lnTo>
                  <a:lnTo>
                    <a:pt x="695" y="194"/>
                  </a:lnTo>
                  <a:lnTo>
                    <a:pt x="681" y="194"/>
                  </a:lnTo>
                  <a:lnTo>
                    <a:pt x="672" y="194"/>
                  </a:lnTo>
                  <a:lnTo>
                    <a:pt x="663" y="194"/>
                  </a:lnTo>
                  <a:lnTo>
                    <a:pt x="649" y="194"/>
                  </a:lnTo>
                  <a:lnTo>
                    <a:pt x="640" y="194"/>
                  </a:lnTo>
                  <a:lnTo>
                    <a:pt x="622" y="191"/>
                  </a:lnTo>
                  <a:lnTo>
                    <a:pt x="604" y="188"/>
                  </a:lnTo>
                  <a:lnTo>
                    <a:pt x="585" y="188"/>
                  </a:lnTo>
                  <a:lnTo>
                    <a:pt x="567" y="188"/>
                  </a:lnTo>
                  <a:lnTo>
                    <a:pt x="544" y="185"/>
                  </a:lnTo>
                  <a:lnTo>
                    <a:pt x="526" y="185"/>
                  </a:lnTo>
                  <a:lnTo>
                    <a:pt x="517" y="185"/>
                  </a:lnTo>
                  <a:lnTo>
                    <a:pt x="508" y="182"/>
                  </a:lnTo>
                  <a:lnTo>
                    <a:pt x="494" y="182"/>
                  </a:lnTo>
                  <a:lnTo>
                    <a:pt x="489" y="182"/>
                  </a:lnTo>
                  <a:lnTo>
                    <a:pt x="471" y="177"/>
                  </a:lnTo>
                  <a:lnTo>
                    <a:pt x="462" y="177"/>
                  </a:lnTo>
                  <a:lnTo>
                    <a:pt x="453" y="177"/>
                  </a:lnTo>
                  <a:lnTo>
                    <a:pt x="439" y="177"/>
                  </a:lnTo>
                  <a:lnTo>
                    <a:pt x="430" y="174"/>
                  </a:lnTo>
                  <a:lnTo>
                    <a:pt x="421" y="174"/>
                  </a:lnTo>
                  <a:lnTo>
                    <a:pt x="407" y="174"/>
                  </a:lnTo>
                  <a:lnTo>
                    <a:pt x="398" y="174"/>
                  </a:lnTo>
                  <a:lnTo>
                    <a:pt x="384" y="171"/>
                  </a:lnTo>
                  <a:lnTo>
                    <a:pt x="371" y="171"/>
                  </a:lnTo>
                  <a:lnTo>
                    <a:pt x="357" y="168"/>
                  </a:lnTo>
                  <a:lnTo>
                    <a:pt x="348" y="168"/>
                  </a:lnTo>
                  <a:lnTo>
                    <a:pt x="334" y="165"/>
                  </a:lnTo>
                  <a:lnTo>
                    <a:pt x="320" y="162"/>
                  </a:lnTo>
                  <a:lnTo>
                    <a:pt x="311" y="162"/>
                  </a:lnTo>
                  <a:lnTo>
                    <a:pt x="302" y="162"/>
                  </a:lnTo>
                  <a:lnTo>
                    <a:pt x="288" y="162"/>
                  </a:lnTo>
                  <a:lnTo>
                    <a:pt x="275" y="162"/>
                  </a:lnTo>
                  <a:lnTo>
                    <a:pt x="265" y="160"/>
                  </a:lnTo>
                  <a:lnTo>
                    <a:pt x="256" y="160"/>
                  </a:lnTo>
                  <a:lnTo>
                    <a:pt x="243" y="157"/>
                  </a:lnTo>
                  <a:lnTo>
                    <a:pt x="233" y="157"/>
                  </a:lnTo>
                  <a:lnTo>
                    <a:pt x="220" y="157"/>
                  </a:lnTo>
                  <a:lnTo>
                    <a:pt x="211" y="157"/>
                  </a:lnTo>
                  <a:lnTo>
                    <a:pt x="197" y="151"/>
                  </a:lnTo>
                  <a:lnTo>
                    <a:pt x="188" y="151"/>
                  </a:lnTo>
                  <a:lnTo>
                    <a:pt x="179" y="151"/>
                  </a:lnTo>
                  <a:lnTo>
                    <a:pt x="165" y="151"/>
                  </a:lnTo>
                  <a:lnTo>
                    <a:pt x="147" y="148"/>
                  </a:lnTo>
                  <a:lnTo>
                    <a:pt x="128" y="145"/>
                  </a:lnTo>
                  <a:lnTo>
                    <a:pt x="110" y="142"/>
                  </a:lnTo>
                  <a:lnTo>
                    <a:pt x="92" y="142"/>
                  </a:lnTo>
                  <a:lnTo>
                    <a:pt x="73" y="140"/>
                  </a:lnTo>
                  <a:lnTo>
                    <a:pt x="60" y="140"/>
                  </a:lnTo>
                  <a:lnTo>
                    <a:pt x="42" y="137"/>
                  </a:lnTo>
                  <a:lnTo>
                    <a:pt x="32" y="137"/>
                  </a:lnTo>
                  <a:lnTo>
                    <a:pt x="23" y="134"/>
                  </a:lnTo>
                  <a:lnTo>
                    <a:pt x="14" y="134"/>
                  </a:lnTo>
                  <a:lnTo>
                    <a:pt x="5" y="134"/>
                  </a:lnTo>
                  <a:lnTo>
                    <a:pt x="0" y="134"/>
                  </a:lnTo>
                  <a:lnTo>
                    <a:pt x="10"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31" name="Freeform 23"/>
            <p:cNvSpPr>
              <a:spLocks/>
            </p:cNvSpPr>
            <p:nvPr>
              <p:custDataLst>
                <p:tags r:id="rId230"/>
              </p:custDataLst>
            </p:nvPr>
          </p:nvSpPr>
          <p:spPr bwMode="gray">
            <a:xfrm>
              <a:off x="3658" y="2183"/>
              <a:ext cx="760" cy="161"/>
            </a:xfrm>
            <a:custGeom>
              <a:avLst/>
              <a:gdLst>
                <a:gd name="T0" fmla="*/ 14 w 741"/>
                <a:gd name="T1" fmla="*/ 5 h 176"/>
                <a:gd name="T2" fmla="*/ 75 w 741"/>
                <a:gd name="T3" fmla="*/ 5 h 176"/>
                <a:gd name="T4" fmla="*/ 138 w 741"/>
                <a:gd name="T5" fmla="*/ 5 h 176"/>
                <a:gd name="T6" fmla="*/ 197 w 741"/>
                <a:gd name="T7" fmla="*/ 5 h 176"/>
                <a:gd name="T8" fmla="*/ 255 w 741"/>
                <a:gd name="T9" fmla="*/ 5 h 176"/>
                <a:gd name="T10" fmla="*/ 309 w 741"/>
                <a:gd name="T11" fmla="*/ 5 h 176"/>
                <a:gd name="T12" fmla="*/ 379 w 741"/>
                <a:gd name="T13" fmla="*/ 5 h 176"/>
                <a:gd name="T14" fmla="*/ 434 w 741"/>
                <a:gd name="T15" fmla="*/ 5 h 176"/>
                <a:gd name="T16" fmla="*/ 494 w 741"/>
                <a:gd name="T17" fmla="*/ 5 h 176"/>
                <a:gd name="T18" fmla="*/ 547 w 741"/>
                <a:gd name="T19" fmla="*/ 5 h 176"/>
                <a:gd name="T20" fmla="*/ 618 w 741"/>
                <a:gd name="T21" fmla="*/ 5 h 176"/>
                <a:gd name="T22" fmla="*/ 663 w 741"/>
                <a:gd name="T23" fmla="*/ 5 h 176"/>
                <a:gd name="T24" fmla="*/ 724 w 741"/>
                <a:gd name="T25" fmla="*/ 5 h 176"/>
                <a:gd name="T26" fmla="*/ 785 w 741"/>
                <a:gd name="T27" fmla="*/ 5 h 176"/>
                <a:gd name="T28" fmla="*/ 837 w 741"/>
                <a:gd name="T29" fmla="*/ 5 h 176"/>
                <a:gd name="T30" fmla="*/ 891 w 741"/>
                <a:gd name="T31" fmla="*/ 5 h 176"/>
                <a:gd name="T32" fmla="*/ 945 w 741"/>
                <a:gd name="T33" fmla="*/ 5 h 176"/>
                <a:gd name="T34" fmla="*/ 998 w 741"/>
                <a:gd name="T35" fmla="*/ 5 h 176"/>
                <a:gd name="T36" fmla="*/ 1043 w 741"/>
                <a:gd name="T37" fmla="*/ 5 h 176"/>
                <a:gd name="T38" fmla="*/ 1088 w 741"/>
                <a:gd name="T39" fmla="*/ 5 h 176"/>
                <a:gd name="T40" fmla="*/ 1127 w 741"/>
                <a:gd name="T41" fmla="*/ 5 h 176"/>
                <a:gd name="T42" fmla="*/ 1176 w 741"/>
                <a:gd name="T43" fmla="*/ 2 h 176"/>
                <a:gd name="T44" fmla="*/ 1237 w 741"/>
                <a:gd name="T45" fmla="*/ 0 h 176"/>
                <a:gd name="T46" fmla="*/ 1301 w 741"/>
                <a:gd name="T47" fmla="*/ 0 h 176"/>
                <a:gd name="T48" fmla="*/ 1349 w 741"/>
                <a:gd name="T49" fmla="*/ 0 h 176"/>
                <a:gd name="T50" fmla="*/ 1405 w 741"/>
                <a:gd name="T51" fmla="*/ 0 h 176"/>
                <a:gd name="T52" fmla="*/ 1412 w 741"/>
                <a:gd name="T53" fmla="*/ 2 h 176"/>
                <a:gd name="T54" fmla="*/ 1412 w 741"/>
                <a:gd name="T55" fmla="*/ 5 h 176"/>
                <a:gd name="T56" fmla="*/ 1412 w 741"/>
                <a:gd name="T57" fmla="*/ 5 h 176"/>
                <a:gd name="T58" fmla="*/ 1423 w 741"/>
                <a:gd name="T59" fmla="*/ 5 h 176"/>
                <a:gd name="T60" fmla="*/ 1423 w 741"/>
                <a:gd name="T61" fmla="*/ 6 h 176"/>
                <a:gd name="T62" fmla="*/ 1423 w 741"/>
                <a:gd name="T63" fmla="*/ 9 h 176"/>
                <a:gd name="T64" fmla="*/ 1429 w 741"/>
                <a:gd name="T65" fmla="*/ 11 h 176"/>
                <a:gd name="T66" fmla="*/ 1429 w 741"/>
                <a:gd name="T67" fmla="*/ 12 h 176"/>
                <a:gd name="T68" fmla="*/ 1429 w 741"/>
                <a:gd name="T69" fmla="*/ 12 h 176"/>
                <a:gd name="T70" fmla="*/ 1387 w 741"/>
                <a:gd name="T71" fmla="*/ 12 h 176"/>
                <a:gd name="T72" fmla="*/ 1335 w 741"/>
                <a:gd name="T73" fmla="*/ 12 h 176"/>
                <a:gd name="T74" fmla="*/ 1288 w 741"/>
                <a:gd name="T75" fmla="*/ 13 h 176"/>
                <a:gd name="T76" fmla="*/ 1237 w 741"/>
                <a:gd name="T77" fmla="*/ 13 h 176"/>
                <a:gd name="T78" fmla="*/ 1184 w 741"/>
                <a:gd name="T79" fmla="*/ 13 h 176"/>
                <a:gd name="T80" fmla="*/ 1127 w 741"/>
                <a:gd name="T81" fmla="*/ 14 h 176"/>
                <a:gd name="T82" fmla="*/ 1062 w 741"/>
                <a:gd name="T83" fmla="*/ 14 h 176"/>
                <a:gd name="T84" fmla="*/ 1008 w 741"/>
                <a:gd name="T85" fmla="*/ 14 h 176"/>
                <a:gd name="T86" fmla="*/ 936 w 741"/>
                <a:gd name="T87" fmla="*/ 15 h 176"/>
                <a:gd name="T88" fmla="*/ 866 w 741"/>
                <a:gd name="T89" fmla="*/ 15 h 176"/>
                <a:gd name="T90" fmla="*/ 804 w 741"/>
                <a:gd name="T91" fmla="*/ 15 h 176"/>
                <a:gd name="T92" fmla="*/ 742 w 741"/>
                <a:gd name="T93" fmla="*/ 15 h 176"/>
                <a:gd name="T94" fmla="*/ 680 w 741"/>
                <a:gd name="T95" fmla="*/ 16 h 176"/>
                <a:gd name="T96" fmla="*/ 0 w 741"/>
                <a:gd name="T97" fmla="*/ 17 h 176"/>
                <a:gd name="T98" fmla="*/ 0 w 741"/>
                <a:gd name="T99" fmla="*/ 5 h 17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41"/>
                <a:gd name="T151" fmla="*/ 0 h 176"/>
                <a:gd name="T152" fmla="*/ 741 w 741"/>
                <a:gd name="T153" fmla="*/ 176 h 17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41" h="176">
                  <a:moveTo>
                    <a:pt x="0" y="40"/>
                  </a:moveTo>
                  <a:lnTo>
                    <a:pt x="14" y="40"/>
                  </a:lnTo>
                  <a:lnTo>
                    <a:pt x="28" y="40"/>
                  </a:lnTo>
                  <a:lnTo>
                    <a:pt x="41" y="40"/>
                  </a:lnTo>
                  <a:lnTo>
                    <a:pt x="60" y="40"/>
                  </a:lnTo>
                  <a:lnTo>
                    <a:pt x="73" y="40"/>
                  </a:lnTo>
                  <a:lnTo>
                    <a:pt x="87" y="40"/>
                  </a:lnTo>
                  <a:lnTo>
                    <a:pt x="101" y="40"/>
                  </a:lnTo>
                  <a:lnTo>
                    <a:pt x="119" y="40"/>
                  </a:lnTo>
                  <a:lnTo>
                    <a:pt x="133" y="37"/>
                  </a:lnTo>
                  <a:lnTo>
                    <a:pt x="147" y="37"/>
                  </a:lnTo>
                  <a:lnTo>
                    <a:pt x="160" y="37"/>
                  </a:lnTo>
                  <a:lnTo>
                    <a:pt x="179" y="37"/>
                  </a:lnTo>
                  <a:lnTo>
                    <a:pt x="197" y="34"/>
                  </a:lnTo>
                  <a:lnTo>
                    <a:pt x="210" y="34"/>
                  </a:lnTo>
                  <a:lnTo>
                    <a:pt x="224" y="34"/>
                  </a:lnTo>
                  <a:lnTo>
                    <a:pt x="238" y="34"/>
                  </a:lnTo>
                  <a:lnTo>
                    <a:pt x="256" y="31"/>
                  </a:lnTo>
                  <a:lnTo>
                    <a:pt x="270" y="31"/>
                  </a:lnTo>
                  <a:lnTo>
                    <a:pt x="284" y="28"/>
                  </a:lnTo>
                  <a:lnTo>
                    <a:pt x="302" y="28"/>
                  </a:lnTo>
                  <a:lnTo>
                    <a:pt x="320" y="28"/>
                  </a:lnTo>
                  <a:lnTo>
                    <a:pt x="329" y="28"/>
                  </a:lnTo>
                  <a:lnTo>
                    <a:pt x="343" y="25"/>
                  </a:lnTo>
                  <a:lnTo>
                    <a:pt x="361" y="25"/>
                  </a:lnTo>
                  <a:lnTo>
                    <a:pt x="375" y="22"/>
                  </a:lnTo>
                  <a:lnTo>
                    <a:pt x="389" y="22"/>
                  </a:lnTo>
                  <a:lnTo>
                    <a:pt x="407" y="20"/>
                  </a:lnTo>
                  <a:lnTo>
                    <a:pt x="421" y="20"/>
                  </a:lnTo>
                  <a:lnTo>
                    <a:pt x="434" y="20"/>
                  </a:lnTo>
                  <a:lnTo>
                    <a:pt x="448" y="20"/>
                  </a:lnTo>
                  <a:lnTo>
                    <a:pt x="462" y="17"/>
                  </a:lnTo>
                  <a:lnTo>
                    <a:pt x="480" y="17"/>
                  </a:lnTo>
                  <a:lnTo>
                    <a:pt x="489" y="14"/>
                  </a:lnTo>
                  <a:lnTo>
                    <a:pt x="503" y="14"/>
                  </a:lnTo>
                  <a:lnTo>
                    <a:pt x="517" y="14"/>
                  </a:lnTo>
                  <a:lnTo>
                    <a:pt x="526" y="11"/>
                  </a:lnTo>
                  <a:lnTo>
                    <a:pt x="540" y="8"/>
                  </a:lnTo>
                  <a:lnTo>
                    <a:pt x="553" y="8"/>
                  </a:lnTo>
                  <a:lnTo>
                    <a:pt x="562" y="5"/>
                  </a:lnTo>
                  <a:lnTo>
                    <a:pt x="576" y="5"/>
                  </a:lnTo>
                  <a:lnTo>
                    <a:pt x="585" y="5"/>
                  </a:lnTo>
                  <a:lnTo>
                    <a:pt x="599" y="5"/>
                  </a:lnTo>
                  <a:lnTo>
                    <a:pt x="608" y="2"/>
                  </a:lnTo>
                  <a:lnTo>
                    <a:pt x="622" y="2"/>
                  </a:lnTo>
                  <a:lnTo>
                    <a:pt x="640" y="0"/>
                  </a:lnTo>
                  <a:lnTo>
                    <a:pt x="658" y="0"/>
                  </a:lnTo>
                  <a:lnTo>
                    <a:pt x="672" y="0"/>
                  </a:lnTo>
                  <a:lnTo>
                    <a:pt x="686" y="0"/>
                  </a:lnTo>
                  <a:lnTo>
                    <a:pt x="699" y="0"/>
                  </a:lnTo>
                  <a:lnTo>
                    <a:pt x="709" y="0"/>
                  </a:lnTo>
                  <a:lnTo>
                    <a:pt x="727" y="0"/>
                  </a:lnTo>
                  <a:lnTo>
                    <a:pt x="731" y="0"/>
                  </a:lnTo>
                  <a:lnTo>
                    <a:pt x="731" y="2"/>
                  </a:lnTo>
                  <a:lnTo>
                    <a:pt x="731" y="8"/>
                  </a:lnTo>
                  <a:lnTo>
                    <a:pt x="731" y="14"/>
                  </a:lnTo>
                  <a:lnTo>
                    <a:pt x="731" y="22"/>
                  </a:lnTo>
                  <a:lnTo>
                    <a:pt x="731" y="31"/>
                  </a:lnTo>
                  <a:lnTo>
                    <a:pt x="731" y="42"/>
                  </a:lnTo>
                  <a:lnTo>
                    <a:pt x="736" y="51"/>
                  </a:lnTo>
                  <a:lnTo>
                    <a:pt x="736" y="59"/>
                  </a:lnTo>
                  <a:lnTo>
                    <a:pt x="736" y="68"/>
                  </a:lnTo>
                  <a:lnTo>
                    <a:pt x="736" y="79"/>
                  </a:lnTo>
                  <a:lnTo>
                    <a:pt x="736" y="88"/>
                  </a:lnTo>
                  <a:lnTo>
                    <a:pt x="741" y="96"/>
                  </a:lnTo>
                  <a:lnTo>
                    <a:pt x="741" y="102"/>
                  </a:lnTo>
                  <a:lnTo>
                    <a:pt x="741" y="105"/>
                  </a:lnTo>
                  <a:lnTo>
                    <a:pt x="741" y="111"/>
                  </a:lnTo>
                  <a:lnTo>
                    <a:pt x="731" y="111"/>
                  </a:lnTo>
                  <a:lnTo>
                    <a:pt x="718" y="114"/>
                  </a:lnTo>
                  <a:lnTo>
                    <a:pt x="699" y="116"/>
                  </a:lnTo>
                  <a:lnTo>
                    <a:pt x="690" y="116"/>
                  </a:lnTo>
                  <a:lnTo>
                    <a:pt x="681" y="116"/>
                  </a:lnTo>
                  <a:lnTo>
                    <a:pt x="668" y="119"/>
                  </a:lnTo>
                  <a:lnTo>
                    <a:pt x="658" y="122"/>
                  </a:lnTo>
                  <a:lnTo>
                    <a:pt x="640" y="125"/>
                  </a:lnTo>
                  <a:lnTo>
                    <a:pt x="631" y="125"/>
                  </a:lnTo>
                  <a:lnTo>
                    <a:pt x="613" y="128"/>
                  </a:lnTo>
                  <a:lnTo>
                    <a:pt x="604" y="128"/>
                  </a:lnTo>
                  <a:lnTo>
                    <a:pt x="585" y="131"/>
                  </a:lnTo>
                  <a:lnTo>
                    <a:pt x="567" y="131"/>
                  </a:lnTo>
                  <a:lnTo>
                    <a:pt x="549" y="133"/>
                  </a:lnTo>
                  <a:lnTo>
                    <a:pt x="540" y="136"/>
                  </a:lnTo>
                  <a:lnTo>
                    <a:pt x="521" y="139"/>
                  </a:lnTo>
                  <a:lnTo>
                    <a:pt x="503" y="139"/>
                  </a:lnTo>
                  <a:lnTo>
                    <a:pt x="485" y="142"/>
                  </a:lnTo>
                  <a:lnTo>
                    <a:pt x="471" y="145"/>
                  </a:lnTo>
                  <a:lnTo>
                    <a:pt x="448" y="148"/>
                  </a:lnTo>
                  <a:lnTo>
                    <a:pt x="434" y="148"/>
                  </a:lnTo>
                  <a:lnTo>
                    <a:pt x="416" y="148"/>
                  </a:lnTo>
                  <a:lnTo>
                    <a:pt x="398" y="151"/>
                  </a:lnTo>
                  <a:lnTo>
                    <a:pt x="384" y="153"/>
                  </a:lnTo>
                  <a:lnTo>
                    <a:pt x="366" y="153"/>
                  </a:lnTo>
                  <a:lnTo>
                    <a:pt x="352" y="156"/>
                  </a:lnTo>
                  <a:lnTo>
                    <a:pt x="338" y="159"/>
                  </a:lnTo>
                  <a:lnTo>
                    <a:pt x="0" y="176"/>
                  </a:lnTo>
                  <a:lnTo>
                    <a:pt x="0" y="4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32" name="Freeform 24"/>
            <p:cNvSpPr>
              <a:spLocks/>
            </p:cNvSpPr>
            <p:nvPr>
              <p:custDataLst>
                <p:tags r:id="rId231"/>
              </p:custDataLst>
            </p:nvPr>
          </p:nvSpPr>
          <p:spPr bwMode="gray">
            <a:xfrm>
              <a:off x="1293" y="2430"/>
              <a:ext cx="164" cy="94"/>
            </a:xfrm>
            <a:custGeom>
              <a:avLst/>
              <a:gdLst>
                <a:gd name="T0" fmla="*/ 54 w 160"/>
                <a:gd name="T1" fmla="*/ 3 h 103"/>
                <a:gd name="T2" fmla="*/ 19 w 160"/>
                <a:gd name="T3" fmla="*/ 5 h 103"/>
                <a:gd name="T4" fmla="*/ 14 w 160"/>
                <a:gd name="T5" fmla="*/ 5 h 103"/>
                <a:gd name="T6" fmla="*/ 9 w 160"/>
                <a:gd name="T7" fmla="*/ 5 h 103"/>
                <a:gd name="T8" fmla="*/ 5 w 160"/>
                <a:gd name="T9" fmla="*/ 5 h 103"/>
                <a:gd name="T10" fmla="*/ 0 w 160"/>
                <a:gd name="T11" fmla="*/ 5 h 103"/>
                <a:gd name="T12" fmla="*/ 0 w 160"/>
                <a:gd name="T13" fmla="*/ 5 h 103"/>
                <a:gd name="T14" fmla="*/ 0 w 160"/>
                <a:gd name="T15" fmla="*/ 5 h 103"/>
                <a:gd name="T16" fmla="*/ 5 w 160"/>
                <a:gd name="T17" fmla="*/ 5 h 103"/>
                <a:gd name="T18" fmla="*/ 5 w 160"/>
                <a:gd name="T19" fmla="*/ 7 h 103"/>
                <a:gd name="T20" fmla="*/ 9 w 160"/>
                <a:gd name="T21" fmla="*/ 8 h 103"/>
                <a:gd name="T22" fmla="*/ 19 w 160"/>
                <a:gd name="T23" fmla="*/ 9 h 103"/>
                <a:gd name="T24" fmla="*/ 58 w 160"/>
                <a:gd name="T25" fmla="*/ 10 h 103"/>
                <a:gd name="T26" fmla="*/ 83 w 160"/>
                <a:gd name="T27" fmla="*/ 10 h 103"/>
                <a:gd name="T28" fmla="*/ 116 w 160"/>
                <a:gd name="T29" fmla="*/ 10 h 103"/>
                <a:gd name="T30" fmla="*/ 137 w 160"/>
                <a:gd name="T31" fmla="*/ 10 h 103"/>
                <a:gd name="T32" fmla="*/ 164 w 160"/>
                <a:gd name="T33" fmla="*/ 10 h 103"/>
                <a:gd name="T34" fmla="*/ 194 w 160"/>
                <a:gd name="T35" fmla="*/ 10 h 103"/>
                <a:gd name="T36" fmla="*/ 217 w 160"/>
                <a:gd name="T37" fmla="*/ 10 h 103"/>
                <a:gd name="T38" fmla="*/ 234 w 160"/>
                <a:gd name="T39" fmla="*/ 10 h 103"/>
                <a:gd name="T40" fmla="*/ 252 w 160"/>
                <a:gd name="T41" fmla="*/ 9 h 103"/>
                <a:gd name="T42" fmla="*/ 279 w 160"/>
                <a:gd name="T43" fmla="*/ 8 h 103"/>
                <a:gd name="T44" fmla="*/ 286 w 160"/>
                <a:gd name="T45" fmla="*/ 7 h 103"/>
                <a:gd name="T46" fmla="*/ 295 w 160"/>
                <a:gd name="T47" fmla="*/ 5 h 103"/>
                <a:gd name="T48" fmla="*/ 302 w 160"/>
                <a:gd name="T49" fmla="*/ 5 h 103"/>
                <a:gd name="T50" fmla="*/ 295 w 160"/>
                <a:gd name="T51" fmla="*/ 5 h 103"/>
                <a:gd name="T52" fmla="*/ 295 w 160"/>
                <a:gd name="T53" fmla="*/ 5 h 103"/>
                <a:gd name="T54" fmla="*/ 286 w 160"/>
                <a:gd name="T55" fmla="*/ 5 h 103"/>
                <a:gd name="T56" fmla="*/ 279 w 160"/>
                <a:gd name="T57" fmla="*/ 5 h 103"/>
                <a:gd name="T58" fmla="*/ 252 w 160"/>
                <a:gd name="T59" fmla="*/ 5 h 103"/>
                <a:gd name="T60" fmla="*/ 217 w 160"/>
                <a:gd name="T61" fmla="*/ 5 h 103"/>
                <a:gd name="T62" fmla="*/ 194 w 160"/>
                <a:gd name="T63" fmla="*/ 3 h 103"/>
                <a:gd name="T64" fmla="*/ 145 w 160"/>
                <a:gd name="T65" fmla="*/ 3 h 103"/>
                <a:gd name="T66" fmla="*/ 116 w 160"/>
                <a:gd name="T67" fmla="*/ 0 h 103"/>
                <a:gd name="T68" fmla="*/ 83 w 160"/>
                <a:gd name="T69" fmla="*/ 3 h 103"/>
                <a:gd name="T70" fmla="*/ 65 w 160"/>
                <a:gd name="T71" fmla="*/ 3 h 103"/>
                <a:gd name="T72" fmla="*/ 54 w 160"/>
                <a:gd name="T73" fmla="*/ 3 h 103"/>
                <a:gd name="T74" fmla="*/ 54 w 160"/>
                <a:gd name="T75" fmla="*/ 3 h 1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0"/>
                <a:gd name="T115" fmla="*/ 0 h 103"/>
                <a:gd name="T116" fmla="*/ 160 w 160"/>
                <a:gd name="T117" fmla="*/ 103 h 10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0" h="103">
                  <a:moveTo>
                    <a:pt x="28" y="3"/>
                  </a:moveTo>
                  <a:lnTo>
                    <a:pt x="19" y="12"/>
                  </a:lnTo>
                  <a:lnTo>
                    <a:pt x="14" y="20"/>
                  </a:lnTo>
                  <a:lnTo>
                    <a:pt x="9" y="29"/>
                  </a:lnTo>
                  <a:lnTo>
                    <a:pt x="5" y="40"/>
                  </a:lnTo>
                  <a:lnTo>
                    <a:pt x="0" y="46"/>
                  </a:lnTo>
                  <a:lnTo>
                    <a:pt x="0" y="54"/>
                  </a:lnTo>
                  <a:lnTo>
                    <a:pt x="0" y="60"/>
                  </a:lnTo>
                  <a:lnTo>
                    <a:pt x="5" y="66"/>
                  </a:lnTo>
                  <a:lnTo>
                    <a:pt x="5" y="74"/>
                  </a:lnTo>
                  <a:lnTo>
                    <a:pt x="9" y="83"/>
                  </a:lnTo>
                  <a:lnTo>
                    <a:pt x="19" y="91"/>
                  </a:lnTo>
                  <a:lnTo>
                    <a:pt x="32" y="97"/>
                  </a:lnTo>
                  <a:lnTo>
                    <a:pt x="46" y="100"/>
                  </a:lnTo>
                  <a:lnTo>
                    <a:pt x="60" y="100"/>
                  </a:lnTo>
                  <a:lnTo>
                    <a:pt x="73" y="100"/>
                  </a:lnTo>
                  <a:lnTo>
                    <a:pt x="87" y="103"/>
                  </a:lnTo>
                  <a:lnTo>
                    <a:pt x="101" y="100"/>
                  </a:lnTo>
                  <a:lnTo>
                    <a:pt x="115" y="100"/>
                  </a:lnTo>
                  <a:lnTo>
                    <a:pt x="124" y="97"/>
                  </a:lnTo>
                  <a:lnTo>
                    <a:pt x="133" y="94"/>
                  </a:lnTo>
                  <a:lnTo>
                    <a:pt x="147" y="86"/>
                  </a:lnTo>
                  <a:lnTo>
                    <a:pt x="151" y="74"/>
                  </a:lnTo>
                  <a:lnTo>
                    <a:pt x="156" y="63"/>
                  </a:lnTo>
                  <a:lnTo>
                    <a:pt x="160" y="54"/>
                  </a:lnTo>
                  <a:lnTo>
                    <a:pt x="156" y="43"/>
                  </a:lnTo>
                  <a:lnTo>
                    <a:pt x="156" y="31"/>
                  </a:lnTo>
                  <a:lnTo>
                    <a:pt x="151" y="23"/>
                  </a:lnTo>
                  <a:lnTo>
                    <a:pt x="147" y="17"/>
                  </a:lnTo>
                  <a:lnTo>
                    <a:pt x="133" y="9"/>
                  </a:lnTo>
                  <a:lnTo>
                    <a:pt x="115" y="6"/>
                  </a:lnTo>
                  <a:lnTo>
                    <a:pt x="101" y="3"/>
                  </a:lnTo>
                  <a:lnTo>
                    <a:pt x="78" y="3"/>
                  </a:lnTo>
                  <a:lnTo>
                    <a:pt x="60" y="0"/>
                  </a:lnTo>
                  <a:lnTo>
                    <a:pt x="46" y="3"/>
                  </a:lnTo>
                  <a:lnTo>
                    <a:pt x="37" y="3"/>
                  </a:lnTo>
                  <a:lnTo>
                    <a:pt x="28"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33" name="Freeform 25"/>
            <p:cNvSpPr>
              <a:spLocks/>
            </p:cNvSpPr>
            <p:nvPr>
              <p:custDataLst>
                <p:tags r:id="rId232"/>
              </p:custDataLst>
            </p:nvPr>
          </p:nvSpPr>
          <p:spPr bwMode="gray">
            <a:xfrm>
              <a:off x="1785" y="2469"/>
              <a:ext cx="178" cy="93"/>
            </a:xfrm>
            <a:custGeom>
              <a:avLst/>
              <a:gdLst>
                <a:gd name="T0" fmla="*/ 58 w 174"/>
                <a:gd name="T1" fmla="*/ 5 h 102"/>
                <a:gd name="T2" fmla="*/ 49 w 174"/>
                <a:gd name="T3" fmla="*/ 5 h 102"/>
                <a:gd name="T4" fmla="*/ 14 w 174"/>
                <a:gd name="T5" fmla="*/ 5 h 102"/>
                <a:gd name="T6" fmla="*/ 14 w 174"/>
                <a:gd name="T7" fmla="*/ 5 h 102"/>
                <a:gd name="T8" fmla="*/ 9 w 174"/>
                <a:gd name="T9" fmla="*/ 5 h 102"/>
                <a:gd name="T10" fmla="*/ 5 w 174"/>
                <a:gd name="T11" fmla="*/ 5 h 102"/>
                <a:gd name="T12" fmla="*/ 0 w 174"/>
                <a:gd name="T13" fmla="*/ 5 h 102"/>
                <a:gd name="T14" fmla="*/ 0 w 174"/>
                <a:gd name="T15" fmla="*/ 5 h 102"/>
                <a:gd name="T16" fmla="*/ 5 w 174"/>
                <a:gd name="T17" fmla="*/ 5 h 102"/>
                <a:gd name="T18" fmla="*/ 9 w 174"/>
                <a:gd name="T19" fmla="*/ 7 h 102"/>
                <a:gd name="T20" fmla="*/ 14 w 174"/>
                <a:gd name="T21" fmla="*/ 8 h 102"/>
                <a:gd name="T22" fmla="*/ 49 w 174"/>
                <a:gd name="T23" fmla="*/ 9 h 102"/>
                <a:gd name="T24" fmla="*/ 63 w 174"/>
                <a:gd name="T25" fmla="*/ 10 h 102"/>
                <a:gd name="T26" fmla="*/ 86 w 174"/>
                <a:gd name="T27" fmla="*/ 10 h 102"/>
                <a:gd name="T28" fmla="*/ 116 w 174"/>
                <a:gd name="T29" fmla="*/ 10 h 102"/>
                <a:gd name="T30" fmla="*/ 140 w 174"/>
                <a:gd name="T31" fmla="*/ 10 h 102"/>
                <a:gd name="T32" fmla="*/ 171 w 174"/>
                <a:gd name="T33" fmla="*/ 10 h 102"/>
                <a:gd name="T34" fmla="*/ 190 w 174"/>
                <a:gd name="T35" fmla="*/ 10 h 102"/>
                <a:gd name="T36" fmla="*/ 214 w 174"/>
                <a:gd name="T37" fmla="*/ 10 h 102"/>
                <a:gd name="T38" fmla="*/ 238 w 174"/>
                <a:gd name="T39" fmla="*/ 9 h 102"/>
                <a:gd name="T40" fmla="*/ 255 w 174"/>
                <a:gd name="T41" fmla="*/ 9 h 102"/>
                <a:gd name="T42" fmla="*/ 273 w 174"/>
                <a:gd name="T43" fmla="*/ 8 h 102"/>
                <a:gd name="T44" fmla="*/ 290 w 174"/>
                <a:gd name="T45" fmla="*/ 7 h 102"/>
                <a:gd name="T46" fmla="*/ 305 w 174"/>
                <a:gd name="T47" fmla="*/ 6 h 102"/>
                <a:gd name="T48" fmla="*/ 313 w 174"/>
                <a:gd name="T49" fmla="*/ 5 h 102"/>
                <a:gd name="T50" fmla="*/ 313 w 174"/>
                <a:gd name="T51" fmla="*/ 5 h 102"/>
                <a:gd name="T52" fmla="*/ 313 w 174"/>
                <a:gd name="T53" fmla="*/ 5 h 102"/>
                <a:gd name="T54" fmla="*/ 305 w 174"/>
                <a:gd name="T55" fmla="*/ 5 h 102"/>
                <a:gd name="T56" fmla="*/ 305 w 174"/>
                <a:gd name="T57" fmla="*/ 5 h 102"/>
                <a:gd name="T58" fmla="*/ 290 w 174"/>
                <a:gd name="T59" fmla="*/ 5 h 102"/>
                <a:gd name="T60" fmla="*/ 283 w 174"/>
                <a:gd name="T61" fmla="*/ 5 h 102"/>
                <a:gd name="T62" fmla="*/ 262 w 174"/>
                <a:gd name="T63" fmla="*/ 5 h 102"/>
                <a:gd name="T64" fmla="*/ 244 w 174"/>
                <a:gd name="T65" fmla="*/ 0 h 102"/>
                <a:gd name="T66" fmla="*/ 229 w 174"/>
                <a:gd name="T67" fmla="*/ 0 h 102"/>
                <a:gd name="T68" fmla="*/ 207 w 174"/>
                <a:gd name="T69" fmla="*/ 0 h 102"/>
                <a:gd name="T70" fmla="*/ 190 w 174"/>
                <a:gd name="T71" fmla="*/ 0 h 102"/>
                <a:gd name="T72" fmla="*/ 171 w 174"/>
                <a:gd name="T73" fmla="*/ 0 h 102"/>
                <a:gd name="T74" fmla="*/ 140 w 174"/>
                <a:gd name="T75" fmla="*/ 0 h 102"/>
                <a:gd name="T76" fmla="*/ 127 w 174"/>
                <a:gd name="T77" fmla="*/ 0 h 102"/>
                <a:gd name="T78" fmla="*/ 106 w 174"/>
                <a:gd name="T79" fmla="*/ 0 h 102"/>
                <a:gd name="T80" fmla="*/ 86 w 174"/>
                <a:gd name="T81" fmla="*/ 0 h 102"/>
                <a:gd name="T82" fmla="*/ 63 w 174"/>
                <a:gd name="T83" fmla="*/ 3 h 102"/>
                <a:gd name="T84" fmla="*/ 58 w 174"/>
                <a:gd name="T85" fmla="*/ 5 h 102"/>
                <a:gd name="T86" fmla="*/ 58 w 174"/>
                <a:gd name="T87" fmla="*/ 5 h 1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74"/>
                <a:gd name="T133" fmla="*/ 0 h 102"/>
                <a:gd name="T134" fmla="*/ 174 w 174"/>
                <a:gd name="T135" fmla="*/ 102 h 10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74" h="102">
                  <a:moveTo>
                    <a:pt x="32" y="6"/>
                  </a:moveTo>
                  <a:lnTo>
                    <a:pt x="23" y="14"/>
                  </a:lnTo>
                  <a:lnTo>
                    <a:pt x="14" y="23"/>
                  </a:lnTo>
                  <a:lnTo>
                    <a:pt x="14" y="31"/>
                  </a:lnTo>
                  <a:lnTo>
                    <a:pt x="9" y="40"/>
                  </a:lnTo>
                  <a:lnTo>
                    <a:pt x="5" y="45"/>
                  </a:lnTo>
                  <a:lnTo>
                    <a:pt x="0" y="54"/>
                  </a:lnTo>
                  <a:lnTo>
                    <a:pt x="0" y="60"/>
                  </a:lnTo>
                  <a:lnTo>
                    <a:pt x="5" y="65"/>
                  </a:lnTo>
                  <a:lnTo>
                    <a:pt x="9" y="77"/>
                  </a:lnTo>
                  <a:lnTo>
                    <a:pt x="14" y="82"/>
                  </a:lnTo>
                  <a:lnTo>
                    <a:pt x="23" y="91"/>
                  </a:lnTo>
                  <a:lnTo>
                    <a:pt x="37" y="97"/>
                  </a:lnTo>
                  <a:lnTo>
                    <a:pt x="50" y="100"/>
                  </a:lnTo>
                  <a:lnTo>
                    <a:pt x="64" y="100"/>
                  </a:lnTo>
                  <a:lnTo>
                    <a:pt x="78" y="100"/>
                  </a:lnTo>
                  <a:lnTo>
                    <a:pt x="96" y="102"/>
                  </a:lnTo>
                  <a:lnTo>
                    <a:pt x="105" y="100"/>
                  </a:lnTo>
                  <a:lnTo>
                    <a:pt x="119" y="100"/>
                  </a:lnTo>
                  <a:lnTo>
                    <a:pt x="133" y="94"/>
                  </a:lnTo>
                  <a:lnTo>
                    <a:pt x="142" y="94"/>
                  </a:lnTo>
                  <a:lnTo>
                    <a:pt x="151" y="82"/>
                  </a:lnTo>
                  <a:lnTo>
                    <a:pt x="160" y="77"/>
                  </a:lnTo>
                  <a:lnTo>
                    <a:pt x="169" y="71"/>
                  </a:lnTo>
                  <a:lnTo>
                    <a:pt x="174" y="63"/>
                  </a:lnTo>
                  <a:lnTo>
                    <a:pt x="174" y="51"/>
                  </a:lnTo>
                  <a:lnTo>
                    <a:pt x="174" y="43"/>
                  </a:lnTo>
                  <a:lnTo>
                    <a:pt x="169" y="31"/>
                  </a:lnTo>
                  <a:lnTo>
                    <a:pt x="169" y="20"/>
                  </a:lnTo>
                  <a:lnTo>
                    <a:pt x="160" y="14"/>
                  </a:lnTo>
                  <a:lnTo>
                    <a:pt x="156" y="8"/>
                  </a:lnTo>
                  <a:lnTo>
                    <a:pt x="146" y="6"/>
                  </a:lnTo>
                  <a:lnTo>
                    <a:pt x="137" y="0"/>
                  </a:lnTo>
                  <a:lnTo>
                    <a:pt x="128" y="0"/>
                  </a:lnTo>
                  <a:lnTo>
                    <a:pt x="114" y="0"/>
                  </a:lnTo>
                  <a:lnTo>
                    <a:pt x="105" y="0"/>
                  </a:lnTo>
                  <a:lnTo>
                    <a:pt x="96" y="0"/>
                  </a:lnTo>
                  <a:lnTo>
                    <a:pt x="78" y="0"/>
                  </a:lnTo>
                  <a:lnTo>
                    <a:pt x="69" y="0"/>
                  </a:lnTo>
                  <a:lnTo>
                    <a:pt x="60" y="0"/>
                  </a:lnTo>
                  <a:lnTo>
                    <a:pt x="50" y="0"/>
                  </a:lnTo>
                  <a:lnTo>
                    <a:pt x="37" y="3"/>
                  </a:lnTo>
                  <a:lnTo>
                    <a:pt x="32" y="6"/>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34" name="Freeform 26"/>
            <p:cNvSpPr>
              <a:spLocks/>
            </p:cNvSpPr>
            <p:nvPr>
              <p:custDataLst>
                <p:tags r:id="rId233"/>
              </p:custDataLst>
            </p:nvPr>
          </p:nvSpPr>
          <p:spPr bwMode="gray">
            <a:xfrm>
              <a:off x="2047" y="2479"/>
              <a:ext cx="164" cy="93"/>
            </a:xfrm>
            <a:custGeom>
              <a:avLst/>
              <a:gdLst>
                <a:gd name="T0" fmla="*/ 58 w 160"/>
                <a:gd name="T1" fmla="*/ 3 h 103"/>
                <a:gd name="T2" fmla="*/ 18 w 160"/>
                <a:gd name="T3" fmla="*/ 5 h 103"/>
                <a:gd name="T4" fmla="*/ 14 w 160"/>
                <a:gd name="T5" fmla="*/ 5 h 103"/>
                <a:gd name="T6" fmla="*/ 9 w 160"/>
                <a:gd name="T7" fmla="*/ 5 h 103"/>
                <a:gd name="T8" fmla="*/ 0 w 160"/>
                <a:gd name="T9" fmla="*/ 5 h 103"/>
                <a:gd name="T10" fmla="*/ 0 w 160"/>
                <a:gd name="T11" fmla="*/ 5 h 103"/>
                <a:gd name="T12" fmla="*/ 0 w 160"/>
                <a:gd name="T13" fmla="*/ 5 h 103"/>
                <a:gd name="T14" fmla="*/ 0 w 160"/>
                <a:gd name="T15" fmla="*/ 5 h 103"/>
                <a:gd name="T16" fmla="*/ 0 w 160"/>
                <a:gd name="T17" fmla="*/ 5 h 103"/>
                <a:gd name="T18" fmla="*/ 0 w 160"/>
                <a:gd name="T19" fmla="*/ 5 h 103"/>
                <a:gd name="T20" fmla="*/ 9 w 160"/>
                <a:gd name="T21" fmla="*/ 5 h 103"/>
                <a:gd name="T22" fmla="*/ 18 w 160"/>
                <a:gd name="T23" fmla="*/ 6 h 103"/>
                <a:gd name="T24" fmla="*/ 58 w 160"/>
                <a:gd name="T25" fmla="*/ 7 h 103"/>
                <a:gd name="T26" fmla="*/ 74 w 160"/>
                <a:gd name="T27" fmla="*/ 7 h 103"/>
                <a:gd name="T28" fmla="*/ 101 w 160"/>
                <a:gd name="T29" fmla="*/ 7 h 103"/>
                <a:gd name="T30" fmla="*/ 137 w 160"/>
                <a:gd name="T31" fmla="*/ 7 h 103"/>
                <a:gd name="T32" fmla="*/ 164 w 160"/>
                <a:gd name="T33" fmla="*/ 8 h 103"/>
                <a:gd name="T34" fmla="*/ 194 w 160"/>
                <a:gd name="T35" fmla="*/ 7 h 103"/>
                <a:gd name="T36" fmla="*/ 216 w 160"/>
                <a:gd name="T37" fmla="*/ 7 h 103"/>
                <a:gd name="T38" fmla="*/ 234 w 160"/>
                <a:gd name="T39" fmla="*/ 7 h 103"/>
                <a:gd name="T40" fmla="*/ 252 w 160"/>
                <a:gd name="T41" fmla="*/ 7 h 103"/>
                <a:gd name="T42" fmla="*/ 278 w 160"/>
                <a:gd name="T43" fmla="*/ 5 h 103"/>
                <a:gd name="T44" fmla="*/ 295 w 160"/>
                <a:gd name="T45" fmla="*/ 5 h 103"/>
                <a:gd name="T46" fmla="*/ 295 w 160"/>
                <a:gd name="T47" fmla="*/ 5 h 103"/>
                <a:gd name="T48" fmla="*/ 302 w 160"/>
                <a:gd name="T49" fmla="*/ 5 h 103"/>
                <a:gd name="T50" fmla="*/ 302 w 160"/>
                <a:gd name="T51" fmla="*/ 5 h 103"/>
                <a:gd name="T52" fmla="*/ 295 w 160"/>
                <a:gd name="T53" fmla="*/ 5 h 103"/>
                <a:gd name="T54" fmla="*/ 286 w 160"/>
                <a:gd name="T55" fmla="*/ 5 h 103"/>
                <a:gd name="T56" fmla="*/ 278 w 160"/>
                <a:gd name="T57" fmla="*/ 5 h 103"/>
                <a:gd name="T58" fmla="*/ 252 w 160"/>
                <a:gd name="T59" fmla="*/ 5 h 103"/>
                <a:gd name="T60" fmla="*/ 224 w 160"/>
                <a:gd name="T61" fmla="*/ 5 h 103"/>
                <a:gd name="T62" fmla="*/ 181 w 160"/>
                <a:gd name="T63" fmla="*/ 3 h 103"/>
                <a:gd name="T64" fmla="*/ 145 w 160"/>
                <a:gd name="T65" fmla="*/ 3 h 103"/>
                <a:gd name="T66" fmla="*/ 101 w 160"/>
                <a:gd name="T67" fmla="*/ 0 h 103"/>
                <a:gd name="T68" fmla="*/ 74 w 160"/>
                <a:gd name="T69" fmla="*/ 0 h 103"/>
                <a:gd name="T70" fmla="*/ 58 w 160"/>
                <a:gd name="T71" fmla="*/ 0 h 103"/>
                <a:gd name="T72" fmla="*/ 58 w 160"/>
                <a:gd name="T73" fmla="*/ 3 h 103"/>
                <a:gd name="T74" fmla="*/ 58 w 160"/>
                <a:gd name="T75" fmla="*/ 3 h 1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0"/>
                <a:gd name="T115" fmla="*/ 0 h 103"/>
                <a:gd name="T116" fmla="*/ 160 w 160"/>
                <a:gd name="T117" fmla="*/ 103 h 10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0" h="103">
                  <a:moveTo>
                    <a:pt x="32" y="3"/>
                  </a:moveTo>
                  <a:lnTo>
                    <a:pt x="18" y="9"/>
                  </a:lnTo>
                  <a:lnTo>
                    <a:pt x="14" y="20"/>
                  </a:lnTo>
                  <a:lnTo>
                    <a:pt x="9" y="29"/>
                  </a:lnTo>
                  <a:lnTo>
                    <a:pt x="0" y="37"/>
                  </a:lnTo>
                  <a:lnTo>
                    <a:pt x="0" y="46"/>
                  </a:lnTo>
                  <a:lnTo>
                    <a:pt x="0" y="52"/>
                  </a:lnTo>
                  <a:lnTo>
                    <a:pt x="0" y="57"/>
                  </a:lnTo>
                  <a:lnTo>
                    <a:pt x="0" y="66"/>
                  </a:lnTo>
                  <a:lnTo>
                    <a:pt x="0" y="71"/>
                  </a:lnTo>
                  <a:lnTo>
                    <a:pt x="9" y="83"/>
                  </a:lnTo>
                  <a:lnTo>
                    <a:pt x="18" y="91"/>
                  </a:lnTo>
                  <a:lnTo>
                    <a:pt x="32" y="94"/>
                  </a:lnTo>
                  <a:lnTo>
                    <a:pt x="41" y="97"/>
                  </a:lnTo>
                  <a:lnTo>
                    <a:pt x="55" y="100"/>
                  </a:lnTo>
                  <a:lnTo>
                    <a:pt x="73" y="100"/>
                  </a:lnTo>
                  <a:lnTo>
                    <a:pt x="87" y="103"/>
                  </a:lnTo>
                  <a:lnTo>
                    <a:pt x="101" y="100"/>
                  </a:lnTo>
                  <a:lnTo>
                    <a:pt x="114" y="97"/>
                  </a:lnTo>
                  <a:lnTo>
                    <a:pt x="124" y="94"/>
                  </a:lnTo>
                  <a:lnTo>
                    <a:pt x="133" y="94"/>
                  </a:lnTo>
                  <a:lnTo>
                    <a:pt x="146" y="83"/>
                  </a:lnTo>
                  <a:lnTo>
                    <a:pt x="156" y="71"/>
                  </a:lnTo>
                  <a:lnTo>
                    <a:pt x="156" y="63"/>
                  </a:lnTo>
                  <a:lnTo>
                    <a:pt x="160" y="54"/>
                  </a:lnTo>
                  <a:lnTo>
                    <a:pt x="160" y="43"/>
                  </a:lnTo>
                  <a:lnTo>
                    <a:pt x="156" y="32"/>
                  </a:lnTo>
                  <a:lnTo>
                    <a:pt x="151" y="23"/>
                  </a:lnTo>
                  <a:lnTo>
                    <a:pt x="146" y="17"/>
                  </a:lnTo>
                  <a:lnTo>
                    <a:pt x="133" y="9"/>
                  </a:lnTo>
                  <a:lnTo>
                    <a:pt x="119" y="6"/>
                  </a:lnTo>
                  <a:lnTo>
                    <a:pt x="96" y="3"/>
                  </a:lnTo>
                  <a:lnTo>
                    <a:pt x="78" y="3"/>
                  </a:lnTo>
                  <a:lnTo>
                    <a:pt x="55" y="0"/>
                  </a:lnTo>
                  <a:lnTo>
                    <a:pt x="41" y="0"/>
                  </a:lnTo>
                  <a:lnTo>
                    <a:pt x="32" y="0"/>
                  </a:lnTo>
                  <a:lnTo>
                    <a:pt x="32"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35" name="Freeform 27"/>
            <p:cNvSpPr>
              <a:spLocks/>
            </p:cNvSpPr>
            <p:nvPr>
              <p:custDataLst>
                <p:tags r:id="rId234"/>
              </p:custDataLst>
            </p:nvPr>
          </p:nvSpPr>
          <p:spPr bwMode="gray">
            <a:xfrm>
              <a:off x="3963" y="2482"/>
              <a:ext cx="169" cy="90"/>
            </a:xfrm>
            <a:custGeom>
              <a:avLst/>
              <a:gdLst>
                <a:gd name="T0" fmla="*/ 58 w 165"/>
                <a:gd name="T1" fmla="*/ 3 h 100"/>
                <a:gd name="T2" fmla="*/ 49 w 165"/>
                <a:gd name="T3" fmla="*/ 5 h 100"/>
                <a:gd name="T4" fmla="*/ 14 w 165"/>
                <a:gd name="T5" fmla="*/ 5 h 100"/>
                <a:gd name="T6" fmla="*/ 5 w 165"/>
                <a:gd name="T7" fmla="*/ 5 h 100"/>
                <a:gd name="T8" fmla="*/ 5 w 165"/>
                <a:gd name="T9" fmla="*/ 5 h 100"/>
                <a:gd name="T10" fmla="*/ 5 w 165"/>
                <a:gd name="T11" fmla="*/ 5 h 100"/>
                <a:gd name="T12" fmla="*/ 0 w 165"/>
                <a:gd name="T13" fmla="*/ 5 h 100"/>
                <a:gd name="T14" fmla="*/ 0 w 165"/>
                <a:gd name="T15" fmla="*/ 5 h 100"/>
                <a:gd name="T16" fmla="*/ 5 w 165"/>
                <a:gd name="T17" fmla="*/ 5 h 100"/>
                <a:gd name="T18" fmla="*/ 5 w 165"/>
                <a:gd name="T19" fmla="*/ 5 h 100"/>
                <a:gd name="T20" fmla="*/ 14 w 165"/>
                <a:gd name="T21" fmla="*/ 5 h 100"/>
                <a:gd name="T22" fmla="*/ 49 w 165"/>
                <a:gd name="T23" fmla="*/ 6 h 100"/>
                <a:gd name="T24" fmla="*/ 64 w 165"/>
                <a:gd name="T25" fmla="*/ 6 h 100"/>
                <a:gd name="T26" fmla="*/ 82 w 165"/>
                <a:gd name="T27" fmla="*/ 7 h 100"/>
                <a:gd name="T28" fmla="*/ 113 w 165"/>
                <a:gd name="T29" fmla="*/ 7 h 100"/>
                <a:gd name="T30" fmla="*/ 143 w 165"/>
                <a:gd name="T31" fmla="*/ 7 h 100"/>
                <a:gd name="T32" fmla="*/ 170 w 165"/>
                <a:gd name="T33" fmla="*/ 7 h 100"/>
                <a:gd name="T34" fmla="*/ 187 w 165"/>
                <a:gd name="T35" fmla="*/ 7 h 100"/>
                <a:gd name="T36" fmla="*/ 214 w 165"/>
                <a:gd name="T37" fmla="*/ 7 h 100"/>
                <a:gd name="T38" fmla="*/ 237 w 165"/>
                <a:gd name="T39" fmla="*/ 6 h 100"/>
                <a:gd name="T40" fmla="*/ 255 w 165"/>
                <a:gd name="T41" fmla="*/ 6 h 100"/>
                <a:gd name="T42" fmla="*/ 276 w 165"/>
                <a:gd name="T43" fmla="*/ 5 h 100"/>
                <a:gd name="T44" fmla="*/ 291 w 165"/>
                <a:gd name="T45" fmla="*/ 5 h 100"/>
                <a:gd name="T46" fmla="*/ 298 w 165"/>
                <a:gd name="T47" fmla="*/ 5 h 100"/>
                <a:gd name="T48" fmla="*/ 306 w 165"/>
                <a:gd name="T49" fmla="*/ 5 h 100"/>
                <a:gd name="T50" fmla="*/ 306 w 165"/>
                <a:gd name="T51" fmla="*/ 5 h 100"/>
                <a:gd name="T52" fmla="*/ 298 w 165"/>
                <a:gd name="T53" fmla="*/ 5 h 100"/>
                <a:gd name="T54" fmla="*/ 283 w 165"/>
                <a:gd name="T55" fmla="*/ 5 h 100"/>
                <a:gd name="T56" fmla="*/ 276 w 165"/>
                <a:gd name="T57" fmla="*/ 5 h 100"/>
                <a:gd name="T58" fmla="*/ 247 w 165"/>
                <a:gd name="T59" fmla="*/ 5 h 100"/>
                <a:gd name="T60" fmla="*/ 221 w 165"/>
                <a:gd name="T61" fmla="*/ 5 h 100"/>
                <a:gd name="T62" fmla="*/ 206 w 165"/>
                <a:gd name="T63" fmla="*/ 3 h 100"/>
                <a:gd name="T64" fmla="*/ 178 w 165"/>
                <a:gd name="T65" fmla="*/ 3 h 100"/>
                <a:gd name="T66" fmla="*/ 170 w 165"/>
                <a:gd name="T67" fmla="*/ 3 h 100"/>
                <a:gd name="T68" fmla="*/ 143 w 165"/>
                <a:gd name="T69" fmla="*/ 3 h 100"/>
                <a:gd name="T70" fmla="*/ 113 w 165"/>
                <a:gd name="T71" fmla="*/ 0 h 100"/>
                <a:gd name="T72" fmla="*/ 72 w 165"/>
                <a:gd name="T73" fmla="*/ 3 h 100"/>
                <a:gd name="T74" fmla="*/ 64 w 165"/>
                <a:gd name="T75" fmla="*/ 3 h 100"/>
                <a:gd name="T76" fmla="*/ 58 w 165"/>
                <a:gd name="T77" fmla="*/ 3 h 100"/>
                <a:gd name="T78" fmla="*/ 58 w 165"/>
                <a:gd name="T79" fmla="*/ 3 h 1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5"/>
                <a:gd name="T121" fmla="*/ 0 h 100"/>
                <a:gd name="T122" fmla="*/ 165 w 165"/>
                <a:gd name="T123" fmla="*/ 100 h 1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5" h="100">
                  <a:moveTo>
                    <a:pt x="32" y="3"/>
                  </a:moveTo>
                  <a:lnTo>
                    <a:pt x="23" y="12"/>
                  </a:lnTo>
                  <a:lnTo>
                    <a:pt x="14" y="20"/>
                  </a:lnTo>
                  <a:lnTo>
                    <a:pt x="5" y="29"/>
                  </a:lnTo>
                  <a:lnTo>
                    <a:pt x="5" y="37"/>
                  </a:lnTo>
                  <a:lnTo>
                    <a:pt x="5" y="46"/>
                  </a:lnTo>
                  <a:lnTo>
                    <a:pt x="0" y="51"/>
                  </a:lnTo>
                  <a:lnTo>
                    <a:pt x="0" y="57"/>
                  </a:lnTo>
                  <a:lnTo>
                    <a:pt x="5" y="66"/>
                  </a:lnTo>
                  <a:lnTo>
                    <a:pt x="5" y="74"/>
                  </a:lnTo>
                  <a:lnTo>
                    <a:pt x="14" y="83"/>
                  </a:lnTo>
                  <a:lnTo>
                    <a:pt x="23" y="91"/>
                  </a:lnTo>
                  <a:lnTo>
                    <a:pt x="37" y="94"/>
                  </a:lnTo>
                  <a:lnTo>
                    <a:pt x="46" y="100"/>
                  </a:lnTo>
                  <a:lnTo>
                    <a:pt x="60" y="100"/>
                  </a:lnTo>
                  <a:lnTo>
                    <a:pt x="78" y="100"/>
                  </a:lnTo>
                  <a:lnTo>
                    <a:pt x="92" y="100"/>
                  </a:lnTo>
                  <a:lnTo>
                    <a:pt x="101" y="100"/>
                  </a:lnTo>
                  <a:lnTo>
                    <a:pt x="115" y="100"/>
                  </a:lnTo>
                  <a:lnTo>
                    <a:pt x="128" y="94"/>
                  </a:lnTo>
                  <a:lnTo>
                    <a:pt x="137" y="91"/>
                  </a:lnTo>
                  <a:lnTo>
                    <a:pt x="147" y="83"/>
                  </a:lnTo>
                  <a:lnTo>
                    <a:pt x="156" y="74"/>
                  </a:lnTo>
                  <a:lnTo>
                    <a:pt x="160" y="63"/>
                  </a:lnTo>
                  <a:lnTo>
                    <a:pt x="165" y="54"/>
                  </a:lnTo>
                  <a:lnTo>
                    <a:pt x="165" y="43"/>
                  </a:lnTo>
                  <a:lnTo>
                    <a:pt x="160" y="34"/>
                  </a:lnTo>
                  <a:lnTo>
                    <a:pt x="151" y="26"/>
                  </a:lnTo>
                  <a:lnTo>
                    <a:pt x="147" y="17"/>
                  </a:lnTo>
                  <a:lnTo>
                    <a:pt x="133" y="9"/>
                  </a:lnTo>
                  <a:lnTo>
                    <a:pt x="119" y="6"/>
                  </a:lnTo>
                  <a:lnTo>
                    <a:pt x="110" y="3"/>
                  </a:lnTo>
                  <a:lnTo>
                    <a:pt x="96" y="3"/>
                  </a:lnTo>
                  <a:lnTo>
                    <a:pt x="92" y="3"/>
                  </a:lnTo>
                  <a:lnTo>
                    <a:pt x="78" y="3"/>
                  </a:lnTo>
                  <a:lnTo>
                    <a:pt x="60" y="0"/>
                  </a:lnTo>
                  <a:lnTo>
                    <a:pt x="41" y="3"/>
                  </a:lnTo>
                  <a:lnTo>
                    <a:pt x="37" y="3"/>
                  </a:lnTo>
                  <a:lnTo>
                    <a:pt x="32"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36" name="Freeform 28"/>
            <p:cNvSpPr>
              <a:spLocks/>
            </p:cNvSpPr>
            <p:nvPr>
              <p:custDataLst>
                <p:tags r:id="rId235"/>
              </p:custDataLst>
            </p:nvPr>
          </p:nvSpPr>
          <p:spPr bwMode="gray">
            <a:xfrm>
              <a:off x="4212" y="2453"/>
              <a:ext cx="168" cy="91"/>
            </a:xfrm>
            <a:custGeom>
              <a:avLst/>
              <a:gdLst>
                <a:gd name="T0" fmla="*/ 62 w 164"/>
                <a:gd name="T1" fmla="*/ 3 h 99"/>
                <a:gd name="T2" fmla="*/ 48 w 164"/>
                <a:gd name="T3" fmla="*/ 6 h 99"/>
                <a:gd name="T4" fmla="*/ 18 w 164"/>
                <a:gd name="T5" fmla="*/ 6 h 99"/>
                <a:gd name="T6" fmla="*/ 9 w 164"/>
                <a:gd name="T7" fmla="*/ 6 h 99"/>
                <a:gd name="T8" fmla="*/ 9 w 164"/>
                <a:gd name="T9" fmla="*/ 6 h 99"/>
                <a:gd name="T10" fmla="*/ 4 w 164"/>
                <a:gd name="T11" fmla="*/ 6 h 99"/>
                <a:gd name="T12" fmla="*/ 0 w 164"/>
                <a:gd name="T13" fmla="*/ 6 h 99"/>
                <a:gd name="T14" fmla="*/ 0 w 164"/>
                <a:gd name="T15" fmla="*/ 6 h 99"/>
                <a:gd name="T16" fmla="*/ 4 w 164"/>
                <a:gd name="T17" fmla="*/ 6 h 99"/>
                <a:gd name="T18" fmla="*/ 9 w 164"/>
                <a:gd name="T19" fmla="*/ 8 h 99"/>
                <a:gd name="T20" fmla="*/ 18 w 164"/>
                <a:gd name="T21" fmla="*/ 9 h 99"/>
                <a:gd name="T22" fmla="*/ 48 w 164"/>
                <a:gd name="T23" fmla="*/ 10 h 99"/>
                <a:gd name="T24" fmla="*/ 62 w 164"/>
                <a:gd name="T25" fmla="*/ 11 h 99"/>
                <a:gd name="T26" fmla="*/ 90 w 164"/>
                <a:gd name="T27" fmla="*/ 11 h 99"/>
                <a:gd name="T28" fmla="*/ 122 w 164"/>
                <a:gd name="T29" fmla="*/ 11 h 99"/>
                <a:gd name="T30" fmla="*/ 142 w 164"/>
                <a:gd name="T31" fmla="*/ 11 h 99"/>
                <a:gd name="T32" fmla="*/ 169 w 164"/>
                <a:gd name="T33" fmla="*/ 12 h 99"/>
                <a:gd name="T34" fmla="*/ 198 w 164"/>
                <a:gd name="T35" fmla="*/ 11 h 99"/>
                <a:gd name="T36" fmla="*/ 228 w 164"/>
                <a:gd name="T37" fmla="*/ 11 h 99"/>
                <a:gd name="T38" fmla="*/ 238 w 164"/>
                <a:gd name="T39" fmla="*/ 11 h 99"/>
                <a:gd name="T40" fmla="*/ 264 w 164"/>
                <a:gd name="T41" fmla="*/ 10 h 99"/>
                <a:gd name="T42" fmla="*/ 282 w 164"/>
                <a:gd name="T43" fmla="*/ 9 h 99"/>
                <a:gd name="T44" fmla="*/ 297 w 164"/>
                <a:gd name="T45" fmla="*/ 8 h 99"/>
                <a:gd name="T46" fmla="*/ 305 w 164"/>
                <a:gd name="T47" fmla="*/ 6 h 99"/>
                <a:gd name="T48" fmla="*/ 305 w 164"/>
                <a:gd name="T49" fmla="*/ 6 h 99"/>
                <a:gd name="T50" fmla="*/ 305 w 164"/>
                <a:gd name="T51" fmla="*/ 6 h 99"/>
                <a:gd name="T52" fmla="*/ 297 w 164"/>
                <a:gd name="T53" fmla="*/ 6 h 99"/>
                <a:gd name="T54" fmla="*/ 290 w 164"/>
                <a:gd name="T55" fmla="*/ 6 h 99"/>
                <a:gd name="T56" fmla="*/ 282 w 164"/>
                <a:gd name="T57" fmla="*/ 6 h 99"/>
                <a:gd name="T58" fmla="*/ 256 w 164"/>
                <a:gd name="T59" fmla="*/ 5 h 99"/>
                <a:gd name="T60" fmla="*/ 228 w 164"/>
                <a:gd name="T61" fmla="*/ 3 h 99"/>
                <a:gd name="T62" fmla="*/ 205 w 164"/>
                <a:gd name="T63" fmla="*/ 3 h 99"/>
                <a:gd name="T64" fmla="*/ 186 w 164"/>
                <a:gd name="T65" fmla="*/ 0 h 99"/>
                <a:gd name="T66" fmla="*/ 169 w 164"/>
                <a:gd name="T67" fmla="*/ 0 h 99"/>
                <a:gd name="T68" fmla="*/ 150 w 164"/>
                <a:gd name="T69" fmla="*/ 0 h 99"/>
                <a:gd name="T70" fmla="*/ 122 w 164"/>
                <a:gd name="T71" fmla="*/ 0 h 99"/>
                <a:gd name="T72" fmla="*/ 80 w 164"/>
                <a:gd name="T73" fmla="*/ 0 h 99"/>
                <a:gd name="T74" fmla="*/ 62 w 164"/>
                <a:gd name="T75" fmla="*/ 0 h 99"/>
                <a:gd name="T76" fmla="*/ 62 w 164"/>
                <a:gd name="T77" fmla="*/ 3 h 99"/>
                <a:gd name="T78" fmla="*/ 62 w 164"/>
                <a:gd name="T79" fmla="*/ 3 h 9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4"/>
                <a:gd name="T121" fmla="*/ 0 h 99"/>
                <a:gd name="T122" fmla="*/ 164 w 164"/>
                <a:gd name="T123" fmla="*/ 99 h 9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4" h="99">
                  <a:moveTo>
                    <a:pt x="36" y="3"/>
                  </a:moveTo>
                  <a:lnTo>
                    <a:pt x="22" y="11"/>
                  </a:lnTo>
                  <a:lnTo>
                    <a:pt x="18" y="17"/>
                  </a:lnTo>
                  <a:lnTo>
                    <a:pt x="9" y="28"/>
                  </a:lnTo>
                  <a:lnTo>
                    <a:pt x="9" y="37"/>
                  </a:lnTo>
                  <a:lnTo>
                    <a:pt x="4" y="45"/>
                  </a:lnTo>
                  <a:lnTo>
                    <a:pt x="0" y="51"/>
                  </a:lnTo>
                  <a:lnTo>
                    <a:pt x="0" y="57"/>
                  </a:lnTo>
                  <a:lnTo>
                    <a:pt x="4" y="62"/>
                  </a:lnTo>
                  <a:lnTo>
                    <a:pt x="9" y="74"/>
                  </a:lnTo>
                  <a:lnTo>
                    <a:pt x="18" y="80"/>
                  </a:lnTo>
                  <a:lnTo>
                    <a:pt x="22" y="88"/>
                  </a:lnTo>
                  <a:lnTo>
                    <a:pt x="36" y="94"/>
                  </a:lnTo>
                  <a:lnTo>
                    <a:pt x="50" y="97"/>
                  </a:lnTo>
                  <a:lnTo>
                    <a:pt x="64" y="97"/>
                  </a:lnTo>
                  <a:lnTo>
                    <a:pt x="77" y="97"/>
                  </a:lnTo>
                  <a:lnTo>
                    <a:pt x="91" y="99"/>
                  </a:lnTo>
                  <a:lnTo>
                    <a:pt x="105" y="97"/>
                  </a:lnTo>
                  <a:lnTo>
                    <a:pt x="123" y="97"/>
                  </a:lnTo>
                  <a:lnTo>
                    <a:pt x="128" y="94"/>
                  </a:lnTo>
                  <a:lnTo>
                    <a:pt x="141" y="88"/>
                  </a:lnTo>
                  <a:lnTo>
                    <a:pt x="150" y="80"/>
                  </a:lnTo>
                  <a:lnTo>
                    <a:pt x="159" y="71"/>
                  </a:lnTo>
                  <a:lnTo>
                    <a:pt x="164" y="60"/>
                  </a:lnTo>
                  <a:lnTo>
                    <a:pt x="164" y="51"/>
                  </a:lnTo>
                  <a:lnTo>
                    <a:pt x="164" y="40"/>
                  </a:lnTo>
                  <a:lnTo>
                    <a:pt x="159" y="31"/>
                  </a:lnTo>
                  <a:lnTo>
                    <a:pt x="155" y="23"/>
                  </a:lnTo>
                  <a:lnTo>
                    <a:pt x="150" y="17"/>
                  </a:lnTo>
                  <a:lnTo>
                    <a:pt x="137" y="5"/>
                  </a:lnTo>
                  <a:lnTo>
                    <a:pt x="123" y="3"/>
                  </a:lnTo>
                  <a:lnTo>
                    <a:pt x="109" y="3"/>
                  </a:lnTo>
                  <a:lnTo>
                    <a:pt x="100" y="0"/>
                  </a:lnTo>
                  <a:lnTo>
                    <a:pt x="91" y="0"/>
                  </a:lnTo>
                  <a:lnTo>
                    <a:pt x="82" y="0"/>
                  </a:lnTo>
                  <a:lnTo>
                    <a:pt x="64" y="0"/>
                  </a:lnTo>
                  <a:lnTo>
                    <a:pt x="45" y="0"/>
                  </a:lnTo>
                  <a:lnTo>
                    <a:pt x="36" y="0"/>
                  </a:lnTo>
                  <a:lnTo>
                    <a:pt x="36"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37" name="Freeform 29"/>
            <p:cNvSpPr>
              <a:spLocks/>
            </p:cNvSpPr>
            <p:nvPr>
              <p:custDataLst>
                <p:tags r:id="rId236"/>
              </p:custDataLst>
            </p:nvPr>
          </p:nvSpPr>
          <p:spPr bwMode="gray">
            <a:xfrm>
              <a:off x="3668" y="2508"/>
              <a:ext cx="169" cy="87"/>
            </a:xfrm>
            <a:custGeom>
              <a:avLst/>
              <a:gdLst>
                <a:gd name="T0" fmla="*/ 58 w 165"/>
                <a:gd name="T1" fmla="*/ 0 h 96"/>
                <a:gd name="T2" fmla="*/ 19 w 165"/>
                <a:gd name="T3" fmla="*/ 5 h 96"/>
                <a:gd name="T4" fmla="*/ 19 w 165"/>
                <a:gd name="T5" fmla="*/ 5 h 96"/>
                <a:gd name="T6" fmla="*/ 10 w 165"/>
                <a:gd name="T7" fmla="*/ 5 h 96"/>
                <a:gd name="T8" fmla="*/ 5 w 165"/>
                <a:gd name="T9" fmla="*/ 5 h 96"/>
                <a:gd name="T10" fmla="*/ 0 w 165"/>
                <a:gd name="T11" fmla="*/ 5 h 96"/>
                <a:gd name="T12" fmla="*/ 0 w 165"/>
                <a:gd name="T13" fmla="*/ 5 h 96"/>
                <a:gd name="T14" fmla="*/ 0 w 165"/>
                <a:gd name="T15" fmla="*/ 5 h 96"/>
                <a:gd name="T16" fmla="*/ 0 w 165"/>
                <a:gd name="T17" fmla="*/ 5 h 96"/>
                <a:gd name="T18" fmla="*/ 5 w 165"/>
                <a:gd name="T19" fmla="*/ 5 h 96"/>
                <a:gd name="T20" fmla="*/ 10 w 165"/>
                <a:gd name="T21" fmla="*/ 6 h 96"/>
                <a:gd name="T22" fmla="*/ 19 w 165"/>
                <a:gd name="T23" fmla="*/ 7 h 96"/>
                <a:gd name="T24" fmla="*/ 58 w 165"/>
                <a:gd name="T25" fmla="*/ 8 h 96"/>
                <a:gd name="T26" fmla="*/ 82 w 165"/>
                <a:gd name="T27" fmla="*/ 8 h 96"/>
                <a:gd name="T28" fmla="*/ 113 w 165"/>
                <a:gd name="T29" fmla="*/ 8 h 96"/>
                <a:gd name="T30" fmla="*/ 137 w 165"/>
                <a:gd name="T31" fmla="*/ 8 h 96"/>
                <a:gd name="T32" fmla="*/ 170 w 165"/>
                <a:gd name="T33" fmla="*/ 8 h 96"/>
                <a:gd name="T34" fmla="*/ 199 w 165"/>
                <a:gd name="T35" fmla="*/ 8 h 96"/>
                <a:gd name="T36" fmla="*/ 214 w 165"/>
                <a:gd name="T37" fmla="*/ 8 h 96"/>
                <a:gd name="T38" fmla="*/ 237 w 165"/>
                <a:gd name="T39" fmla="*/ 7 h 96"/>
                <a:gd name="T40" fmla="*/ 257 w 165"/>
                <a:gd name="T41" fmla="*/ 7 h 96"/>
                <a:gd name="T42" fmla="*/ 276 w 165"/>
                <a:gd name="T43" fmla="*/ 6 h 96"/>
                <a:gd name="T44" fmla="*/ 291 w 165"/>
                <a:gd name="T45" fmla="*/ 5 h 96"/>
                <a:gd name="T46" fmla="*/ 298 w 165"/>
                <a:gd name="T47" fmla="*/ 5 h 96"/>
                <a:gd name="T48" fmla="*/ 306 w 165"/>
                <a:gd name="T49" fmla="*/ 5 h 96"/>
                <a:gd name="T50" fmla="*/ 298 w 165"/>
                <a:gd name="T51" fmla="*/ 5 h 96"/>
                <a:gd name="T52" fmla="*/ 291 w 165"/>
                <a:gd name="T53" fmla="*/ 5 h 96"/>
                <a:gd name="T54" fmla="*/ 283 w 165"/>
                <a:gd name="T55" fmla="*/ 5 h 96"/>
                <a:gd name="T56" fmla="*/ 283 w 165"/>
                <a:gd name="T57" fmla="*/ 5 h 96"/>
                <a:gd name="T58" fmla="*/ 247 w 165"/>
                <a:gd name="T59" fmla="*/ 5 h 96"/>
                <a:gd name="T60" fmla="*/ 221 w 165"/>
                <a:gd name="T61" fmla="*/ 2 h 96"/>
                <a:gd name="T62" fmla="*/ 206 w 165"/>
                <a:gd name="T63" fmla="*/ 0 h 96"/>
                <a:gd name="T64" fmla="*/ 178 w 165"/>
                <a:gd name="T65" fmla="*/ 0 h 96"/>
                <a:gd name="T66" fmla="*/ 170 w 165"/>
                <a:gd name="T67" fmla="*/ 0 h 96"/>
                <a:gd name="T68" fmla="*/ 151 w 165"/>
                <a:gd name="T69" fmla="*/ 0 h 96"/>
                <a:gd name="T70" fmla="*/ 113 w 165"/>
                <a:gd name="T71" fmla="*/ 0 h 96"/>
                <a:gd name="T72" fmla="*/ 82 w 165"/>
                <a:gd name="T73" fmla="*/ 0 h 96"/>
                <a:gd name="T74" fmla="*/ 64 w 165"/>
                <a:gd name="T75" fmla="*/ 0 h 96"/>
                <a:gd name="T76" fmla="*/ 58 w 165"/>
                <a:gd name="T77" fmla="*/ 0 h 96"/>
                <a:gd name="T78" fmla="*/ 58 w 165"/>
                <a:gd name="T79" fmla="*/ 0 h 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5"/>
                <a:gd name="T121" fmla="*/ 0 h 96"/>
                <a:gd name="T122" fmla="*/ 165 w 165"/>
                <a:gd name="T123" fmla="*/ 96 h 9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5" h="96">
                  <a:moveTo>
                    <a:pt x="32" y="0"/>
                  </a:moveTo>
                  <a:lnTo>
                    <a:pt x="19" y="8"/>
                  </a:lnTo>
                  <a:lnTo>
                    <a:pt x="19" y="20"/>
                  </a:lnTo>
                  <a:lnTo>
                    <a:pt x="10" y="28"/>
                  </a:lnTo>
                  <a:lnTo>
                    <a:pt x="5" y="37"/>
                  </a:lnTo>
                  <a:lnTo>
                    <a:pt x="0" y="39"/>
                  </a:lnTo>
                  <a:lnTo>
                    <a:pt x="0" y="48"/>
                  </a:lnTo>
                  <a:lnTo>
                    <a:pt x="0" y="57"/>
                  </a:lnTo>
                  <a:lnTo>
                    <a:pt x="0" y="62"/>
                  </a:lnTo>
                  <a:lnTo>
                    <a:pt x="5" y="71"/>
                  </a:lnTo>
                  <a:lnTo>
                    <a:pt x="10" y="82"/>
                  </a:lnTo>
                  <a:lnTo>
                    <a:pt x="19" y="85"/>
                  </a:lnTo>
                  <a:lnTo>
                    <a:pt x="32" y="94"/>
                  </a:lnTo>
                  <a:lnTo>
                    <a:pt x="46" y="94"/>
                  </a:lnTo>
                  <a:lnTo>
                    <a:pt x="60" y="96"/>
                  </a:lnTo>
                  <a:lnTo>
                    <a:pt x="74" y="96"/>
                  </a:lnTo>
                  <a:lnTo>
                    <a:pt x="92" y="96"/>
                  </a:lnTo>
                  <a:lnTo>
                    <a:pt x="106" y="96"/>
                  </a:lnTo>
                  <a:lnTo>
                    <a:pt x="115" y="94"/>
                  </a:lnTo>
                  <a:lnTo>
                    <a:pt x="128" y="91"/>
                  </a:lnTo>
                  <a:lnTo>
                    <a:pt x="138" y="88"/>
                  </a:lnTo>
                  <a:lnTo>
                    <a:pt x="147" y="79"/>
                  </a:lnTo>
                  <a:lnTo>
                    <a:pt x="156" y="71"/>
                  </a:lnTo>
                  <a:lnTo>
                    <a:pt x="160" y="62"/>
                  </a:lnTo>
                  <a:lnTo>
                    <a:pt x="165" y="51"/>
                  </a:lnTo>
                  <a:lnTo>
                    <a:pt x="160" y="39"/>
                  </a:lnTo>
                  <a:lnTo>
                    <a:pt x="156" y="28"/>
                  </a:lnTo>
                  <a:lnTo>
                    <a:pt x="151" y="20"/>
                  </a:lnTo>
                  <a:lnTo>
                    <a:pt x="151" y="14"/>
                  </a:lnTo>
                  <a:lnTo>
                    <a:pt x="133" y="5"/>
                  </a:lnTo>
                  <a:lnTo>
                    <a:pt x="119" y="2"/>
                  </a:lnTo>
                  <a:lnTo>
                    <a:pt x="110" y="0"/>
                  </a:lnTo>
                  <a:lnTo>
                    <a:pt x="96" y="0"/>
                  </a:lnTo>
                  <a:lnTo>
                    <a:pt x="92" y="0"/>
                  </a:lnTo>
                  <a:lnTo>
                    <a:pt x="83" y="0"/>
                  </a:lnTo>
                  <a:lnTo>
                    <a:pt x="60" y="0"/>
                  </a:lnTo>
                  <a:lnTo>
                    <a:pt x="46" y="0"/>
                  </a:lnTo>
                  <a:lnTo>
                    <a:pt x="37" y="0"/>
                  </a:lnTo>
                  <a:lnTo>
                    <a:pt x="32"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38" name="Freeform 30"/>
            <p:cNvSpPr>
              <a:spLocks/>
            </p:cNvSpPr>
            <p:nvPr>
              <p:custDataLst>
                <p:tags r:id="rId237"/>
              </p:custDataLst>
            </p:nvPr>
          </p:nvSpPr>
          <p:spPr bwMode="gray">
            <a:xfrm>
              <a:off x="2717" y="2050"/>
              <a:ext cx="197" cy="621"/>
            </a:xfrm>
            <a:custGeom>
              <a:avLst/>
              <a:gdLst>
                <a:gd name="T0" fmla="*/ 132 w 192"/>
                <a:gd name="T1" fmla="*/ 10 h 681"/>
                <a:gd name="T2" fmla="*/ 94 w 192"/>
                <a:gd name="T3" fmla="*/ 15 h 681"/>
                <a:gd name="T4" fmla="*/ 66 w 192"/>
                <a:gd name="T5" fmla="*/ 19 h 681"/>
                <a:gd name="T6" fmla="*/ 49 w 192"/>
                <a:gd name="T7" fmla="*/ 24 h 681"/>
                <a:gd name="T8" fmla="*/ 13 w 192"/>
                <a:gd name="T9" fmla="*/ 29 h 681"/>
                <a:gd name="T10" fmla="*/ 9 w 192"/>
                <a:gd name="T11" fmla="*/ 33 h 681"/>
                <a:gd name="T12" fmla="*/ 4 w 192"/>
                <a:gd name="T13" fmla="*/ 36 h 681"/>
                <a:gd name="T14" fmla="*/ 0 w 192"/>
                <a:gd name="T15" fmla="*/ 39 h 681"/>
                <a:gd name="T16" fmla="*/ 0 w 192"/>
                <a:gd name="T17" fmla="*/ 43 h 681"/>
                <a:gd name="T18" fmla="*/ 0 w 192"/>
                <a:gd name="T19" fmla="*/ 47 h 681"/>
                <a:gd name="T20" fmla="*/ 0 w 192"/>
                <a:gd name="T21" fmla="*/ 51 h 681"/>
                <a:gd name="T22" fmla="*/ 0 w 192"/>
                <a:gd name="T23" fmla="*/ 54 h 681"/>
                <a:gd name="T24" fmla="*/ 0 w 192"/>
                <a:gd name="T25" fmla="*/ 56 h 681"/>
                <a:gd name="T26" fmla="*/ 0 w 192"/>
                <a:gd name="T27" fmla="*/ 57 h 681"/>
                <a:gd name="T28" fmla="*/ 4 w 192"/>
                <a:gd name="T29" fmla="*/ 60 h 681"/>
                <a:gd name="T30" fmla="*/ 13 w 192"/>
                <a:gd name="T31" fmla="*/ 61 h 681"/>
                <a:gd name="T32" fmla="*/ 18 w 192"/>
                <a:gd name="T33" fmla="*/ 61 h 681"/>
                <a:gd name="T34" fmla="*/ 49 w 192"/>
                <a:gd name="T35" fmla="*/ 57 h 681"/>
                <a:gd name="T36" fmla="*/ 49 w 192"/>
                <a:gd name="T37" fmla="*/ 56 h 681"/>
                <a:gd name="T38" fmla="*/ 49 w 192"/>
                <a:gd name="T39" fmla="*/ 54 h 681"/>
                <a:gd name="T40" fmla="*/ 53 w 192"/>
                <a:gd name="T41" fmla="*/ 51 h 681"/>
                <a:gd name="T42" fmla="*/ 53 w 192"/>
                <a:gd name="T43" fmla="*/ 47 h 681"/>
                <a:gd name="T44" fmla="*/ 66 w 192"/>
                <a:gd name="T45" fmla="*/ 47 h 681"/>
                <a:gd name="T46" fmla="*/ 66 w 192"/>
                <a:gd name="T47" fmla="*/ 43 h 681"/>
                <a:gd name="T48" fmla="*/ 76 w 192"/>
                <a:gd name="T49" fmla="*/ 39 h 681"/>
                <a:gd name="T50" fmla="*/ 84 w 192"/>
                <a:gd name="T51" fmla="*/ 37 h 681"/>
                <a:gd name="T52" fmla="*/ 94 w 192"/>
                <a:gd name="T53" fmla="*/ 36 h 681"/>
                <a:gd name="T54" fmla="*/ 118 w 192"/>
                <a:gd name="T55" fmla="*/ 33 h 681"/>
                <a:gd name="T56" fmla="*/ 126 w 192"/>
                <a:gd name="T57" fmla="*/ 30 h 681"/>
                <a:gd name="T58" fmla="*/ 132 w 192"/>
                <a:gd name="T59" fmla="*/ 26 h 681"/>
                <a:gd name="T60" fmla="*/ 148 w 192"/>
                <a:gd name="T61" fmla="*/ 23 h 681"/>
                <a:gd name="T62" fmla="*/ 159 w 192"/>
                <a:gd name="T63" fmla="*/ 21 h 681"/>
                <a:gd name="T64" fmla="*/ 168 w 192"/>
                <a:gd name="T65" fmla="*/ 19 h 681"/>
                <a:gd name="T66" fmla="*/ 176 w 192"/>
                <a:gd name="T67" fmla="*/ 17 h 681"/>
                <a:gd name="T68" fmla="*/ 190 w 192"/>
                <a:gd name="T69" fmla="*/ 15 h 681"/>
                <a:gd name="T70" fmla="*/ 196 w 192"/>
                <a:gd name="T71" fmla="*/ 14 h 681"/>
                <a:gd name="T72" fmla="*/ 211 w 192"/>
                <a:gd name="T73" fmla="*/ 12 h 681"/>
                <a:gd name="T74" fmla="*/ 228 w 192"/>
                <a:gd name="T75" fmla="*/ 10 h 681"/>
                <a:gd name="T76" fmla="*/ 276 w 192"/>
                <a:gd name="T77" fmla="*/ 7 h 681"/>
                <a:gd name="T78" fmla="*/ 318 w 192"/>
                <a:gd name="T79" fmla="*/ 5 h 681"/>
                <a:gd name="T80" fmla="*/ 356 w 192"/>
                <a:gd name="T81" fmla="*/ 5 h 681"/>
                <a:gd name="T82" fmla="*/ 375 w 192"/>
                <a:gd name="T83" fmla="*/ 0 h 681"/>
                <a:gd name="T84" fmla="*/ 318 w 192"/>
                <a:gd name="T85" fmla="*/ 5 h 681"/>
                <a:gd name="T86" fmla="*/ 205 w 192"/>
                <a:gd name="T87" fmla="*/ 5 h 681"/>
                <a:gd name="T88" fmla="*/ 159 w 192"/>
                <a:gd name="T89" fmla="*/ 6 h 68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92"/>
                <a:gd name="T136" fmla="*/ 0 h 681"/>
                <a:gd name="T137" fmla="*/ 192 w 192"/>
                <a:gd name="T138" fmla="*/ 681 h 68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92" h="681">
                  <a:moveTo>
                    <a:pt x="82" y="69"/>
                  </a:moveTo>
                  <a:lnTo>
                    <a:pt x="73" y="86"/>
                  </a:lnTo>
                  <a:lnTo>
                    <a:pt x="68" y="103"/>
                  </a:lnTo>
                  <a:lnTo>
                    <a:pt x="59" y="123"/>
                  </a:lnTo>
                  <a:lnTo>
                    <a:pt x="59" y="140"/>
                  </a:lnTo>
                  <a:lnTo>
                    <a:pt x="50" y="160"/>
                  </a:lnTo>
                  <a:lnTo>
                    <a:pt x="45" y="177"/>
                  </a:lnTo>
                  <a:lnTo>
                    <a:pt x="41" y="194"/>
                  </a:lnTo>
                  <a:lnTo>
                    <a:pt x="36" y="211"/>
                  </a:lnTo>
                  <a:lnTo>
                    <a:pt x="32" y="228"/>
                  </a:lnTo>
                  <a:lnTo>
                    <a:pt x="27" y="245"/>
                  </a:lnTo>
                  <a:lnTo>
                    <a:pt x="23" y="262"/>
                  </a:lnTo>
                  <a:lnTo>
                    <a:pt x="23" y="279"/>
                  </a:lnTo>
                  <a:lnTo>
                    <a:pt x="18" y="297"/>
                  </a:lnTo>
                  <a:lnTo>
                    <a:pt x="13" y="314"/>
                  </a:lnTo>
                  <a:lnTo>
                    <a:pt x="13" y="328"/>
                  </a:lnTo>
                  <a:lnTo>
                    <a:pt x="13" y="345"/>
                  </a:lnTo>
                  <a:lnTo>
                    <a:pt x="9" y="362"/>
                  </a:lnTo>
                  <a:lnTo>
                    <a:pt x="4" y="376"/>
                  </a:lnTo>
                  <a:lnTo>
                    <a:pt x="4" y="391"/>
                  </a:lnTo>
                  <a:lnTo>
                    <a:pt x="4" y="405"/>
                  </a:lnTo>
                  <a:lnTo>
                    <a:pt x="0" y="419"/>
                  </a:lnTo>
                  <a:lnTo>
                    <a:pt x="0" y="433"/>
                  </a:lnTo>
                  <a:lnTo>
                    <a:pt x="0" y="445"/>
                  </a:lnTo>
                  <a:lnTo>
                    <a:pt x="0" y="462"/>
                  </a:lnTo>
                  <a:lnTo>
                    <a:pt x="0" y="476"/>
                  </a:lnTo>
                  <a:lnTo>
                    <a:pt x="0" y="487"/>
                  </a:lnTo>
                  <a:lnTo>
                    <a:pt x="0" y="502"/>
                  </a:lnTo>
                  <a:lnTo>
                    <a:pt x="0" y="513"/>
                  </a:lnTo>
                  <a:lnTo>
                    <a:pt x="0" y="524"/>
                  </a:lnTo>
                  <a:lnTo>
                    <a:pt x="0" y="536"/>
                  </a:lnTo>
                  <a:lnTo>
                    <a:pt x="0" y="550"/>
                  </a:lnTo>
                  <a:lnTo>
                    <a:pt x="0" y="561"/>
                  </a:lnTo>
                  <a:lnTo>
                    <a:pt x="0" y="570"/>
                  </a:lnTo>
                  <a:lnTo>
                    <a:pt x="0" y="578"/>
                  </a:lnTo>
                  <a:lnTo>
                    <a:pt x="0" y="590"/>
                  </a:lnTo>
                  <a:lnTo>
                    <a:pt x="0" y="598"/>
                  </a:lnTo>
                  <a:lnTo>
                    <a:pt x="0" y="607"/>
                  </a:lnTo>
                  <a:lnTo>
                    <a:pt x="0" y="615"/>
                  </a:lnTo>
                  <a:lnTo>
                    <a:pt x="0" y="621"/>
                  </a:lnTo>
                  <a:lnTo>
                    <a:pt x="0" y="630"/>
                  </a:lnTo>
                  <a:lnTo>
                    <a:pt x="0" y="635"/>
                  </a:lnTo>
                  <a:lnTo>
                    <a:pt x="0" y="641"/>
                  </a:lnTo>
                  <a:lnTo>
                    <a:pt x="4" y="650"/>
                  </a:lnTo>
                  <a:lnTo>
                    <a:pt x="4" y="655"/>
                  </a:lnTo>
                  <a:lnTo>
                    <a:pt x="4" y="664"/>
                  </a:lnTo>
                  <a:lnTo>
                    <a:pt x="9" y="675"/>
                  </a:lnTo>
                  <a:lnTo>
                    <a:pt x="13" y="681"/>
                  </a:lnTo>
                  <a:lnTo>
                    <a:pt x="18" y="678"/>
                  </a:lnTo>
                  <a:lnTo>
                    <a:pt x="18" y="675"/>
                  </a:lnTo>
                  <a:lnTo>
                    <a:pt x="18" y="667"/>
                  </a:lnTo>
                  <a:lnTo>
                    <a:pt x="23" y="655"/>
                  </a:lnTo>
                  <a:lnTo>
                    <a:pt x="23" y="647"/>
                  </a:lnTo>
                  <a:lnTo>
                    <a:pt x="23" y="638"/>
                  </a:lnTo>
                  <a:lnTo>
                    <a:pt x="23" y="630"/>
                  </a:lnTo>
                  <a:lnTo>
                    <a:pt x="23" y="624"/>
                  </a:lnTo>
                  <a:lnTo>
                    <a:pt x="23" y="615"/>
                  </a:lnTo>
                  <a:lnTo>
                    <a:pt x="23" y="607"/>
                  </a:lnTo>
                  <a:lnTo>
                    <a:pt x="23" y="598"/>
                  </a:lnTo>
                  <a:lnTo>
                    <a:pt x="23" y="590"/>
                  </a:lnTo>
                  <a:lnTo>
                    <a:pt x="23" y="581"/>
                  </a:lnTo>
                  <a:lnTo>
                    <a:pt x="23" y="573"/>
                  </a:lnTo>
                  <a:lnTo>
                    <a:pt x="27" y="564"/>
                  </a:lnTo>
                  <a:lnTo>
                    <a:pt x="27" y="553"/>
                  </a:lnTo>
                  <a:lnTo>
                    <a:pt x="27" y="541"/>
                  </a:lnTo>
                  <a:lnTo>
                    <a:pt x="27" y="533"/>
                  </a:lnTo>
                  <a:lnTo>
                    <a:pt x="32" y="524"/>
                  </a:lnTo>
                  <a:lnTo>
                    <a:pt x="32" y="516"/>
                  </a:lnTo>
                  <a:lnTo>
                    <a:pt x="36" y="504"/>
                  </a:lnTo>
                  <a:lnTo>
                    <a:pt x="36" y="493"/>
                  </a:lnTo>
                  <a:lnTo>
                    <a:pt x="36" y="485"/>
                  </a:lnTo>
                  <a:lnTo>
                    <a:pt x="36" y="473"/>
                  </a:lnTo>
                  <a:lnTo>
                    <a:pt x="41" y="465"/>
                  </a:lnTo>
                  <a:lnTo>
                    <a:pt x="41" y="453"/>
                  </a:lnTo>
                  <a:lnTo>
                    <a:pt x="41" y="442"/>
                  </a:lnTo>
                  <a:lnTo>
                    <a:pt x="45" y="430"/>
                  </a:lnTo>
                  <a:lnTo>
                    <a:pt x="45" y="422"/>
                  </a:lnTo>
                  <a:lnTo>
                    <a:pt x="45" y="410"/>
                  </a:lnTo>
                  <a:lnTo>
                    <a:pt x="45" y="402"/>
                  </a:lnTo>
                  <a:lnTo>
                    <a:pt x="50" y="391"/>
                  </a:lnTo>
                  <a:lnTo>
                    <a:pt x="50" y="379"/>
                  </a:lnTo>
                  <a:lnTo>
                    <a:pt x="50" y="371"/>
                  </a:lnTo>
                  <a:lnTo>
                    <a:pt x="55" y="359"/>
                  </a:lnTo>
                  <a:lnTo>
                    <a:pt x="59" y="348"/>
                  </a:lnTo>
                  <a:lnTo>
                    <a:pt x="59" y="336"/>
                  </a:lnTo>
                  <a:lnTo>
                    <a:pt x="59" y="328"/>
                  </a:lnTo>
                  <a:lnTo>
                    <a:pt x="64" y="316"/>
                  </a:lnTo>
                  <a:lnTo>
                    <a:pt x="64" y="305"/>
                  </a:lnTo>
                  <a:lnTo>
                    <a:pt x="68" y="297"/>
                  </a:lnTo>
                  <a:lnTo>
                    <a:pt x="68" y="285"/>
                  </a:lnTo>
                  <a:lnTo>
                    <a:pt x="68" y="277"/>
                  </a:lnTo>
                  <a:lnTo>
                    <a:pt x="68" y="265"/>
                  </a:lnTo>
                  <a:lnTo>
                    <a:pt x="77" y="257"/>
                  </a:lnTo>
                  <a:lnTo>
                    <a:pt x="77" y="248"/>
                  </a:lnTo>
                  <a:lnTo>
                    <a:pt x="77" y="240"/>
                  </a:lnTo>
                  <a:lnTo>
                    <a:pt x="82" y="228"/>
                  </a:lnTo>
                  <a:lnTo>
                    <a:pt x="82" y="223"/>
                  </a:lnTo>
                  <a:lnTo>
                    <a:pt x="82" y="211"/>
                  </a:lnTo>
                  <a:lnTo>
                    <a:pt x="87" y="205"/>
                  </a:lnTo>
                  <a:lnTo>
                    <a:pt x="87" y="197"/>
                  </a:lnTo>
                  <a:lnTo>
                    <a:pt x="91" y="188"/>
                  </a:lnTo>
                  <a:lnTo>
                    <a:pt x="91" y="183"/>
                  </a:lnTo>
                  <a:lnTo>
                    <a:pt x="91" y="174"/>
                  </a:lnTo>
                  <a:lnTo>
                    <a:pt x="96" y="168"/>
                  </a:lnTo>
                  <a:lnTo>
                    <a:pt x="96" y="163"/>
                  </a:lnTo>
                  <a:lnTo>
                    <a:pt x="96" y="154"/>
                  </a:lnTo>
                  <a:lnTo>
                    <a:pt x="100" y="148"/>
                  </a:lnTo>
                  <a:lnTo>
                    <a:pt x="100" y="146"/>
                  </a:lnTo>
                  <a:lnTo>
                    <a:pt x="100" y="137"/>
                  </a:lnTo>
                  <a:lnTo>
                    <a:pt x="105" y="129"/>
                  </a:lnTo>
                  <a:lnTo>
                    <a:pt x="109" y="123"/>
                  </a:lnTo>
                  <a:lnTo>
                    <a:pt x="114" y="114"/>
                  </a:lnTo>
                  <a:lnTo>
                    <a:pt x="114" y="111"/>
                  </a:lnTo>
                  <a:lnTo>
                    <a:pt x="118" y="103"/>
                  </a:lnTo>
                  <a:lnTo>
                    <a:pt x="123" y="94"/>
                  </a:lnTo>
                  <a:lnTo>
                    <a:pt x="132" y="86"/>
                  </a:lnTo>
                  <a:lnTo>
                    <a:pt x="141" y="74"/>
                  </a:lnTo>
                  <a:lnTo>
                    <a:pt x="150" y="66"/>
                  </a:lnTo>
                  <a:lnTo>
                    <a:pt x="155" y="57"/>
                  </a:lnTo>
                  <a:lnTo>
                    <a:pt x="164" y="46"/>
                  </a:lnTo>
                  <a:lnTo>
                    <a:pt x="169" y="37"/>
                  </a:lnTo>
                  <a:lnTo>
                    <a:pt x="178" y="26"/>
                  </a:lnTo>
                  <a:lnTo>
                    <a:pt x="182" y="20"/>
                  </a:lnTo>
                  <a:lnTo>
                    <a:pt x="187" y="12"/>
                  </a:lnTo>
                  <a:lnTo>
                    <a:pt x="187" y="9"/>
                  </a:lnTo>
                  <a:lnTo>
                    <a:pt x="192" y="0"/>
                  </a:lnTo>
                  <a:lnTo>
                    <a:pt x="187" y="0"/>
                  </a:lnTo>
                  <a:lnTo>
                    <a:pt x="178" y="6"/>
                  </a:lnTo>
                  <a:lnTo>
                    <a:pt x="164" y="15"/>
                  </a:lnTo>
                  <a:lnTo>
                    <a:pt x="146" y="26"/>
                  </a:lnTo>
                  <a:lnTo>
                    <a:pt x="123" y="37"/>
                  </a:lnTo>
                  <a:lnTo>
                    <a:pt x="105" y="49"/>
                  </a:lnTo>
                  <a:lnTo>
                    <a:pt x="96" y="57"/>
                  </a:lnTo>
                  <a:lnTo>
                    <a:pt x="82" y="66"/>
                  </a:lnTo>
                  <a:lnTo>
                    <a:pt x="82" y="6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39" name="Freeform 31"/>
            <p:cNvSpPr>
              <a:spLocks/>
            </p:cNvSpPr>
            <p:nvPr>
              <p:custDataLst>
                <p:tags r:id="rId238"/>
              </p:custDataLst>
            </p:nvPr>
          </p:nvSpPr>
          <p:spPr bwMode="gray">
            <a:xfrm>
              <a:off x="2656" y="2138"/>
              <a:ext cx="605" cy="46"/>
            </a:xfrm>
            <a:custGeom>
              <a:avLst/>
              <a:gdLst>
                <a:gd name="T0" fmla="*/ 132 w 590"/>
                <a:gd name="T1" fmla="*/ 5 h 51"/>
                <a:gd name="T2" fmla="*/ 195 w 590"/>
                <a:gd name="T3" fmla="*/ 5 h 51"/>
                <a:gd name="T4" fmla="*/ 263 w 590"/>
                <a:gd name="T5" fmla="*/ 5 h 51"/>
                <a:gd name="T6" fmla="*/ 323 w 590"/>
                <a:gd name="T7" fmla="*/ 3 h 51"/>
                <a:gd name="T8" fmla="*/ 385 w 590"/>
                <a:gd name="T9" fmla="*/ 0 h 51"/>
                <a:gd name="T10" fmla="*/ 439 w 590"/>
                <a:gd name="T11" fmla="*/ 0 h 51"/>
                <a:gd name="T12" fmla="*/ 502 w 590"/>
                <a:gd name="T13" fmla="*/ 0 h 51"/>
                <a:gd name="T14" fmla="*/ 554 w 590"/>
                <a:gd name="T15" fmla="*/ 0 h 51"/>
                <a:gd name="T16" fmla="*/ 607 w 590"/>
                <a:gd name="T17" fmla="*/ 3 h 51"/>
                <a:gd name="T18" fmla="*/ 658 w 590"/>
                <a:gd name="T19" fmla="*/ 3 h 51"/>
                <a:gd name="T20" fmla="*/ 710 w 590"/>
                <a:gd name="T21" fmla="*/ 5 h 51"/>
                <a:gd name="T22" fmla="*/ 756 w 590"/>
                <a:gd name="T23" fmla="*/ 5 h 51"/>
                <a:gd name="T24" fmla="*/ 799 w 590"/>
                <a:gd name="T25" fmla="*/ 5 h 51"/>
                <a:gd name="T26" fmla="*/ 842 w 590"/>
                <a:gd name="T27" fmla="*/ 5 h 51"/>
                <a:gd name="T28" fmla="*/ 895 w 590"/>
                <a:gd name="T29" fmla="*/ 5 h 51"/>
                <a:gd name="T30" fmla="*/ 966 w 590"/>
                <a:gd name="T31" fmla="*/ 5 h 51"/>
                <a:gd name="T32" fmla="*/ 1026 w 590"/>
                <a:gd name="T33" fmla="*/ 5 h 51"/>
                <a:gd name="T34" fmla="*/ 1064 w 590"/>
                <a:gd name="T35" fmla="*/ 5 h 51"/>
                <a:gd name="T36" fmla="*/ 1105 w 590"/>
                <a:gd name="T37" fmla="*/ 5 h 51"/>
                <a:gd name="T38" fmla="*/ 1132 w 590"/>
                <a:gd name="T39" fmla="*/ 5 h 51"/>
                <a:gd name="T40" fmla="*/ 1132 w 590"/>
                <a:gd name="T41" fmla="*/ 5 h 51"/>
                <a:gd name="T42" fmla="*/ 1099 w 590"/>
                <a:gd name="T43" fmla="*/ 5 h 51"/>
                <a:gd name="T44" fmla="*/ 1052 w 590"/>
                <a:gd name="T45" fmla="*/ 5 h 51"/>
                <a:gd name="T46" fmla="*/ 1012 w 590"/>
                <a:gd name="T47" fmla="*/ 5 h 51"/>
                <a:gd name="T48" fmla="*/ 966 w 590"/>
                <a:gd name="T49" fmla="*/ 5 h 51"/>
                <a:gd name="T50" fmla="*/ 904 w 590"/>
                <a:gd name="T51" fmla="*/ 5 h 51"/>
                <a:gd name="T52" fmla="*/ 852 w 590"/>
                <a:gd name="T53" fmla="*/ 5 h 51"/>
                <a:gd name="T54" fmla="*/ 790 w 590"/>
                <a:gd name="T55" fmla="*/ 5 h 51"/>
                <a:gd name="T56" fmla="*/ 739 w 590"/>
                <a:gd name="T57" fmla="*/ 5 h 51"/>
                <a:gd name="T58" fmla="*/ 675 w 590"/>
                <a:gd name="T59" fmla="*/ 5 h 51"/>
                <a:gd name="T60" fmla="*/ 613 w 590"/>
                <a:gd name="T61" fmla="*/ 5 h 51"/>
                <a:gd name="T62" fmla="*/ 563 w 590"/>
                <a:gd name="T63" fmla="*/ 5 h 51"/>
                <a:gd name="T64" fmla="*/ 509 w 590"/>
                <a:gd name="T65" fmla="*/ 5 h 51"/>
                <a:gd name="T66" fmla="*/ 458 w 590"/>
                <a:gd name="T67" fmla="*/ 5 h 51"/>
                <a:gd name="T68" fmla="*/ 414 w 590"/>
                <a:gd name="T69" fmla="*/ 5 h 51"/>
                <a:gd name="T70" fmla="*/ 368 w 590"/>
                <a:gd name="T71" fmla="*/ 5 h 51"/>
                <a:gd name="T72" fmla="*/ 323 w 590"/>
                <a:gd name="T73" fmla="*/ 5 h 51"/>
                <a:gd name="T74" fmla="*/ 274 w 590"/>
                <a:gd name="T75" fmla="*/ 5 h 51"/>
                <a:gd name="T76" fmla="*/ 210 w 590"/>
                <a:gd name="T77" fmla="*/ 5 h 51"/>
                <a:gd name="T78" fmla="*/ 147 w 590"/>
                <a:gd name="T79" fmla="*/ 5 h 51"/>
                <a:gd name="T80" fmla="*/ 84 w 590"/>
                <a:gd name="T81" fmla="*/ 5 h 51"/>
                <a:gd name="T82" fmla="*/ 19 w 590"/>
                <a:gd name="T83" fmla="*/ 5 h 51"/>
                <a:gd name="T84" fmla="*/ 94 w 590"/>
                <a:gd name="T85" fmla="*/ 5 h 5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90"/>
                <a:gd name="T130" fmla="*/ 0 h 51"/>
                <a:gd name="T131" fmla="*/ 590 w 590"/>
                <a:gd name="T132" fmla="*/ 51 h 5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90" h="51">
                  <a:moveTo>
                    <a:pt x="51" y="14"/>
                  </a:moveTo>
                  <a:lnTo>
                    <a:pt x="69" y="12"/>
                  </a:lnTo>
                  <a:lnTo>
                    <a:pt x="83" y="9"/>
                  </a:lnTo>
                  <a:lnTo>
                    <a:pt x="101" y="6"/>
                  </a:lnTo>
                  <a:lnTo>
                    <a:pt x="119" y="6"/>
                  </a:lnTo>
                  <a:lnTo>
                    <a:pt x="137" y="6"/>
                  </a:lnTo>
                  <a:lnTo>
                    <a:pt x="151" y="3"/>
                  </a:lnTo>
                  <a:lnTo>
                    <a:pt x="169" y="3"/>
                  </a:lnTo>
                  <a:lnTo>
                    <a:pt x="183" y="3"/>
                  </a:lnTo>
                  <a:lnTo>
                    <a:pt x="201" y="0"/>
                  </a:lnTo>
                  <a:lnTo>
                    <a:pt x="215" y="0"/>
                  </a:lnTo>
                  <a:lnTo>
                    <a:pt x="229" y="0"/>
                  </a:lnTo>
                  <a:lnTo>
                    <a:pt x="247" y="0"/>
                  </a:lnTo>
                  <a:lnTo>
                    <a:pt x="261" y="0"/>
                  </a:lnTo>
                  <a:lnTo>
                    <a:pt x="274" y="0"/>
                  </a:lnTo>
                  <a:lnTo>
                    <a:pt x="288" y="0"/>
                  </a:lnTo>
                  <a:lnTo>
                    <a:pt x="306" y="3"/>
                  </a:lnTo>
                  <a:lnTo>
                    <a:pt x="316" y="3"/>
                  </a:lnTo>
                  <a:lnTo>
                    <a:pt x="334" y="3"/>
                  </a:lnTo>
                  <a:lnTo>
                    <a:pt x="343" y="3"/>
                  </a:lnTo>
                  <a:lnTo>
                    <a:pt x="357" y="6"/>
                  </a:lnTo>
                  <a:lnTo>
                    <a:pt x="370" y="6"/>
                  </a:lnTo>
                  <a:lnTo>
                    <a:pt x="384" y="6"/>
                  </a:lnTo>
                  <a:lnTo>
                    <a:pt x="393" y="6"/>
                  </a:lnTo>
                  <a:lnTo>
                    <a:pt x="407" y="9"/>
                  </a:lnTo>
                  <a:lnTo>
                    <a:pt x="416" y="9"/>
                  </a:lnTo>
                  <a:lnTo>
                    <a:pt x="425" y="12"/>
                  </a:lnTo>
                  <a:lnTo>
                    <a:pt x="439" y="14"/>
                  </a:lnTo>
                  <a:lnTo>
                    <a:pt x="448" y="14"/>
                  </a:lnTo>
                  <a:lnTo>
                    <a:pt x="466" y="17"/>
                  </a:lnTo>
                  <a:lnTo>
                    <a:pt x="489" y="20"/>
                  </a:lnTo>
                  <a:lnTo>
                    <a:pt x="503" y="26"/>
                  </a:lnTo>
                  <a:lnTo>
                    <a:pt x="521" y="26"/>
                  </a:lnTo>
                  <a:lnTo>
                    <a:pt x="535" y="29"/>
                  </a:lnTo>
                  <a:lnTo>
                    <a:pt x="549" y="34"/>
                  </a:lnTo>
                  <a:lnTo>
                    <a:pt x="553" y="37"/>
                  </a:lnTo>
                  <a:lnTo>
                    <a:pt x="567" y="40"/>
                  </a:lnTo>
                  <a:lnTo>
                    <a:pt x="576" y="43"/>
                  </a:lnTo>
                  <a:lnTo>
                    <a:pt x="581" y="49"/>
                  </a:lnTo>
                  <a:lnTo>
                    <a:pt x="590" y="49"/>
                  </a:lnTo>
                  <a:lnTo>
                    <a:pt x="590" y="51"/>
                  </a:lnTo>
                  <a:lnTo>
                    <a:pt x="581" y="51"/>
                  </a:lnTo>
                  <a:lnTo>
                    <a:pt x="572" y="49"/>
                  </a:lnTo>
                  <a:lnTo>
                    <a:pt x="558" y="49"/>
                  </a:lnTo>
                  <a:lnTo>
                    <a:pt x="549" y="43"/>
                  </a:lnTo>
                  <a:lnTo>
                    <a:pt x="540" y="43"/>
                  </a:lnTo>
                  <a:lnTo>
                    <a:pt x="526" y="40"/>
                  </a:lnTo>
                  <a:lnTo>
                    <a:pt x="517" y="40"/>
                  </a:lnTo>
                  <a:lnTo>
                    <a:pt x="503" y="37"/>
                  </a:lnTo>
                  <a:lnTo>
                    <a:pt x="489" y="37"/>
                  </a:lnTo>
                  <a:lnTo>
                    <a:pt x="471" y="34"/>
                  </a:lnTo>
                  <a:lnTo>
                    <a:pt x="457" y="34"/>
                  </a:lnTo>
                  <a:lnTo>
                    <a:pt x="444" y="32"/>
                  </a:lnTo>
                  <a:lnTo>
                    <a:pt x="425" y="32"/>
                  </a:lnTo>
                  <a:lnTo>
                    <a:pt x="412" y="32"/>
                  </a:lnTo>
                  <a:lnTo>
                    <a:pt x="398" y="29"/>
                  </a:lnTo>
                  <a:lnTo>
                    <a:pt x="384" y="29"/>
                  </a:lnTo>
                  <a:lnTo>
                    <a:pt x="370" y="29"/>
                  </a:lnTo>
                  <a:lnTo>
                    <a:pt x="352" y="26"/>
                  </a:lnTo>
                  <a:lnTo>
                    <a:pt x="334" y="26"/>
                  </a:lnTo>
                  <a:lnTo>
                    <a:pt x="320" y="26"/>
                  </a:lnTo>
                  <a:lnTo>
                    <a:pt x="306" y="26"/>
                  </a:lnTo>
                  <a:lnTo>
                    <a:pt x="293" y="26"/>
                  </a:lnTo>
                  <a:lnTo>
                    <a:pt x="279" y="26"/>
                  </a:lnTo>
                  <a:lnTo>
                    <a:pt x="265" y="26"/>
                  </a:lnTo>
                  <a:lnTo>
                    <a:pt x="252" y="26"/>
                  </a:lnTo>
                  <a:lnTo>
                    <a:pt x="238" y="26"/>
                  </a:lnTo>
                  <a:lnTo>
                    <a:pt x="229" y="26"/>
                  </a:lnTo>
                  <a:lnTo>
                    <a:pt x="215" y="26"/>
                  </a:lnTo>
                  <a:lnTo>
                    <a:pt x="210" y="26"/>
                  </a:lnTo>
                  <a:lnTo>
                    <a:pt x="192" y="26"/>
                  </a:lnTo>
                  <a:lnTo>
                    <a:pt x="183" y="29"/>
                  </a:lnTo>
                  <a:lnTo>
                    <a:pt x="169" y="29"/>
                  </a:lnTo>
                  <a:lnTo>
                    <a:pt x="156" y="29"/>
                  </a:lnTo>
                  <a:lnTo>
                    <a:pt x="142" y="32"/>
                  </a:lnTo>
                  <a:lnTo>
                    <a:pt x="128" y="34"/>
                  </a:lnTo>
                  <a:lnTo>
                    <a:pt x="110" y="34"/>
                  </a:lnTo>
                  <a:lnTo>
                    <a:pt x="96" y="37"/>
                  </a:lnTo>
                  <a:lnTo>
                    <a:pt x="78" y="37"/>
                  </a:lnTo>
                  <a:lnTo>
                    <a:pt x="64" y="40"/>
                  </a:lnTo>
                  <a:lnTo>
                    <a:pt x="46" y="40"/>
                  </a:lnTo>
                  <a:lnTo>
                    <a:pt x="32" y="40"/>
                  </a:lnTo>
                  <a:lnTo>
                    <a:pt x="19" y="43"/>
                  </a:lnTo>
                  <a:lnTo>
                    <a:pt x="0" y="46"/>
                  </a:lnTo>
                  <a:lnTo>
                    <a:pt x="51" y="1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40" name="Freeform 32"/>
            <p:cNvSpPr>
              <a:spLocks/>
            </p:cNvSpPr>
            <p:nvPr>
              <p:custDataLst>
                <p:tags r:id="rId239"/>
              </p:custDataLst>
            </p:nvPr>
          </p:nvSpPr>
          <p:spPr bwMode="gray">
            <a:xfrm>
              <a:off x="2632" y="2239"/>
              <a:ext cx="643" cy="58"/>
            </a:xfrm>
            <a:custGeom>
              <a:avLst/>
              <a:gdLst>
                <a:gd name="T0" fmla="*/ 95 w 627"/>
                <a:gd name="T1" fmla="*/ 6 h 63"/>
                <a:gd name="T2" fmla="*/ 140 w 627"/>
                <a:gd name="T3" fmla="*/ 6 h 63"/>
                <a:gd name="T4" fmla="*/ 195 w 627"/>
                <a:gd name="T5" fmla="*/ 6 h 63"/>
                <a:gd name="T6" fmla="*/ 244 w 627"/>
                <a:gd name="T7" fmla="*/ 6 h 63"/>
                <a:gd name="T8" fmla="*/ 298 w 627"/>
                <a:gd name="T9" fmla="*/ 6 h 63"/>
                <a:gd name="T10" fmla="*/ 353 w 627"/>
                <a:gd name="T11" fmla="*/ 6 h 63"/>
                <a:gd name="T12" fmla="*/ 414 w 627"/>
                <a:gd name="T13" fmla="*/ 6 h 63"/>
                <a:gd name="T14" fmla="*/ 469 w 627"/>
                <a:gd name="T15" fmla="*/ 3 h 63"/>
                <a:gd name="T16" fmla="*/ 520 w 627"/>
                <a:gd name="T17" fmla="*/ 0 h 63"/>
                <a:gd name="T18" fmla="*/ 581 w 627"/>
                <a:gd name="T19" fmla="*/ 0 h 63"/>
                <a:gd name="T20" fmla="*/ 635 w 627"/>
                <a:gd name="T21" fmla="*/ 0 h 63"/>
                <a:gd name="T22" fmla="*/ 687 w 627"/>
                <a:gd name="T23" fmla="*/ 0 h 63"/>
                <a:gd name="T24" fmla="*/ 740 w 627"/>
                <a:gd name="T25" fmla="*/ 0 h 63"/>
                <a:gd name="T26" fmla="*/ 783 w 627"/>
                <a:gd name="T27" fmla="*/ 0 h 63"/>
                <a:gd name="T28" fmla="*/ 828 w 627"/>
                <a:gd name="T29" fmla="*/ 0 h 63"/>
                <a:gd name="T30" fmla="*/ 891 w 627"/>
                <a:gd name="T31" fmla="*/ 0 h 63"/>
                <a:gd name="T32" fmla="*/ 924 w 627"/>
                <a:gd name="T33" fmla="*/ 3 h 63"/>
                <a:gd name="T34" fmla="*/ 969 w 627"/>
                <a:gd name="T35" fmla="*/ 3 h 63"/>
                <a:gd name="T36" fmla="*/ 1029 w 627"/>
                <a:gd name="T37" fmla="*/ 6 h 63"/>
                <a:gd name="T38" fmla="*/ 1093 w 627"/>
                <a:gd name="T39" fmla="*/ 6 h 63"/>
                <a:gd name="T40" fmla="*/ 1148 w 627"/>
                <a:gd name="T41" fmla="*/ 6 h 63"/>
                <a:gd name="T42" fmla="*/ 1188 w 627"/>
                <a:gd name="T43" fmla="*/ 6 h 63"/>
                <a:gd name="T44" fmla="*/ 1197 w 627"/>
                <a:gd name="T45" fmla="*/ 6 h 63"/>
                <a:gd name="T46" fmla="*/ 1181 w 627"/>
                <a:gd name="T47" fmla="*/ 6 h 63"/>
                <a:gd name="T48" fmla="*/ 1136 w 627"/>
                <a:gd name="T49" fmla="*/ 6 h 63"/>
                <a:gd name="T50" fmla="*/ 1093 w 627"/>
                <a:gd name="T51" fmla="*/ 6 h 63"/>
                <a:gd name="T52" fmla="*/ 1029 w 627"/>
                <a:gd name="T53" fmla="*/ 6 h 63"/>
                <a:gd name="T54" fmla="*/ 962 w 627"/>
                <a:gd name="T55" fmla="*/ 6 h 63"/>
                <a:gd name="T56" fmla="*/ 900 w 627"/>
                <a:gd name="T57" fmla="*/ 6 h 63"/>
                <a:gd name="T58" fmla="*/ 828 w 627"/>
                <a:gd name="T59" fmla="*/ 6 h 63"/>
                <a:gd name="T60" fmla="*/ 757 w 627"/>
                <a:gd name="T61" fmla="*/ 6 h 63"/>
                <a:gd name="T62" fmla="*/ 705 w 627"/>
                <a:gd name="T63" fmla="*/ 6 h 63"/>
                <a:gd name="T64" fmla="*/ 659 w 627"/>
                <a:gd name="T65" fmla="*/ 6 h 63"/>
                <a:gd name="T66" fmla="*/ 615 w 627"/>
                <a:gd name="T67" fmla="*/ 6 h 63"/>
                <a:gd name="T68" fmla="*/ 563 w 627"/>
                <a:gd name="T69" fmla="*/ 6 h 63"/>
                <a:gd name="T70" fmla="*/ 520 w 627"/>
                <a:gd name="T71" fmla="*/ 6 h 63"/>
                <a:gd name="T72" fmla="*/ 458 w 627"/>
                <a:gd name="T73" fmla="*/ 6 h 63"/>
                <a:gd name="T74" fmla="*/ 406 w 627"/>
                <a:gd name="T75" fmla="*/ 6 h 63"/>
                <a:gd name="T76" fmla="*/ 353 w 627"/>
                <a:gd name="T77" fmla="*/ 6 h 63"/>
                <a:gd name="T78" fmla="*/ 306 w 627"/>
                <a:gd name="T79" fmla="*/ 6 h 63"/>
                <a:gd name="T80" fmla="*/ 255 w 627"/>
                <a:gd name="T81" fmla="*/ 6 h 63"/>
                <a:gd name="T82" fmla="*/ 210 w 627"/>
                <a:gd name="T83" fmla="*/ 6 h 63"/>
                <a:gd name="T84" fmla="*/ 176 w 627"/>
                <a:gd name="T85" fmla="*/ 6 h 63"/>
                <a:gd name="T86" fmla="*/ 125 w 627"/>
                <a:gd name="T87" fmla="*/ 6 h 63"/>
                <a:gd name="T88" fmla="*/ 54 w 627"/>
                <a:gd name="T89" fmla="*/ 6 h 63"/>
                <a:gd name="T90" fmla="*/ 67 w 627"/>
                <a:gd name="T91" fmla="*/ 6 h 6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27"/>
                <a:gd name="T139" fmla="*/ 0 h 63"/>
                <a:gd name="T140" fmla="*/ 627 w 627"/>
                <a:gd name="T141" fmla="*/ 63 h 6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27" h="63">
                  <a:moveTo>
                    <a:pt x="37" y="37"/>
                  </a:moveTo>
                  <a:lnTo>
                    <a:pt x="51" y="34"/>
                  </a:lnTo>
                  <a:lnTo>
                    <a:pt x="64" y="29"/>
                  </a:lnTo>
                  <a:lnTo>
                    <a:pt x="74" y="26"/>
                  </a:lnTo>
                  <a:lnTo>
                    <a:pt x="87" y="23"/>
                  </a:lnTo>
                  <a:lnTo>
                    <a:pt x="101" y="20"/>
                  </a:lnTo>
                  <a:lnTo>
                    <a:pt x="115" y="17"/>
                  </a:lnTo>
                  <a:lnTo>
                    <a:pt x="128" y="15"/>
                  </a:lnTo>
                  <a:lnTo>
                    <a:pt x="142" y="15"/>
                  </a:lnTo>
                  <a:lnTo>
                    <a:pt x="156" y="12"/>
                  </a:lnTo>
                  <a:lnTo>
                    <a:pt x="170" y="9"/>
                  </a:lnTo>
                  <a:lnTo>
                    <a:pt x="183" y="6"/>
                  </a:lnTo>
                  <a:lnTo>
                    <a:pt x="197" y="6"/>
                  </a:lnTo>
                  <a:lnTo>
                    <a:pt x="215" y="6"/>
                  </a:lnTo>
                  <a:lnTo>
                    <a:pt x="229" y="3"/>
                  </a:lnTo>
                  <a:lnTo>
                    <a:pt x="243" y="3"/>
                  </a:lnTo>
                  <a:lnTo>
                    <a:pt x="261" y="3"/>
                  </a:lnTo>
                  <a:lnTo>
                    <a:pt x="270" y="0"/>
                  </a:lnTo>
                  <a:lnTo>
                    <a:pt x="288" y="0"/>
                  </a:lnTo>
                  <a:lnTo>
                    <a:pt x="302" y="0"/>
                  </a:lnTo>
                  <a:lnTo>
                    <a:pt x="316" y="0"/>
                  </a:lnTo>
                  <a:lnTo>
                    <a:pt x="329" y="0"/>
                  </a:lnTo>
                  <a:lnTo>
                    <a:pt x="339" y="0"/>
                  </a:lnTo>
                  <a:lnTo>
                    <a:pt x="357" y="0"/>
                  </a:lnTo>
                  <a:lnTo>
                    <a:pt x="375" y="0"/>
                  </a:lnTo>
                  <a:lnTo>
                    <a:pt x="384" y="0"/>
                  </a:lnTo>
                  <a:lnTo>
                    <a:pt x="393" y="0"/>
                  </a:lnTo>
                  <a:lnTo>
                    <a:pt x="407" y="0"/>
                  </a:lnTo>
                  <a:lnTo>
                    <a:pt x="421" y="0"/>
                  </a:lnTo>
                  <a:lnTo>
                    <a:pt x="430" y="0"/>
                  </a:lnTo>
                  <a:lnTo>
                    <a:pt x="444" y="0"/>
                  </a:lnTo>
                  <a:lnTo>
                    <a:pt x="462" y="0"/>
                  </a:lnTo>
                  <a:lnTo>
                    <a:pt x="471" y="3"/>
                  </a:lnTo>
                  <a:lnTo>
                    <a:pt x="480" y="3"/>
                  </a:lnTo>
                  <a:lnTo>
                    <a:pt x="494" y="3"/>
                  </a:lnTo>
                  <a:lnTo>
                    <a:pt x="503" y="3"/>
                  </a:lnTo>
                  <a:lnTo>
                    <a:pt x="517" y="6"/>
                  </a:lnTo>
                  <a:lnTo>
                    <a:pt x="535" y="6"/>
                  </a:lnTo>
                  <a:lnTo>
                    <a:pt x="553" y="9"/>
                  </a:lnTo>
                  <a:lnTo>
                    <a:pt x="567" y="9"/>
                  </a:lnTo>
                  <a:lnTo>
                    <a:pt x="581" y="12"/>
                  </a:lnTo>
                  <a:lnTo>
                    <a:pt x="595" y="15"/>
                  </a:lnTo>
                  <a:lnTo>
                    <a:pt x="604" y="15"/>
                  </a:lnTo>
                  <a:lnTo>
                    <a:pt x="617" y="17"/>
                  </a:lnTo>
                  <a:lnTo>
                    <a:pt x="627" y="20"/>
                  </a:lnTo>
                  <a:lnTo>
                    <a:pt x="622" y="20"/>
                  </a:lnTo>
                  <a:lnTo>
                    <a:pt x="617" y="20"/>
                  </a:lnTo>
                  <a:lnTo>
                    <a:pt x="613" y="20"/>
                  </a:lnTo>
                  <a:lnTo>
                    <a:pt x="604" y="23"/>
                  </a:lnTo>
                  <a:lnTo>
                    <a:pt x="590" y="20"/>
                  </a:lnTo>
                  <a:lnTo>
                    <a:pt x="576" y="20"/>
                  </a:lnTo>
                  <a:lnTo>
                    <a:pt x="567" y="20"/>
                  </a:lnTo>
                  <a:lnTo>
                    <a:pt x="558" y="20"/>
                  </a:lnTo>
                  <a:lnTo>
                    <a:pt x="535" y="17"/>
                  </a:lnTo>
                  <a:lnTo>
                    <a:pt x="517" y="17"/>
                  </a:lnTo>
                  <a:lnTo>
                    <a:pt x="499" y="17"/>
                  </a:lnTo>
                  <a:lnTo>
                    <a:pt x="485" y="17"/>
                  </a:lnTo>
                  <a:lnTo>
                    <a:pt x="467" y="17"/>
                  </a:lnTo>
                  <a:lnTo>
                    <a:pt x="448" y="17"/>
                  </a:lnTo>
                  <a:lnTo>
                    <a:pt x="430" y="17"/>
                  </a:lnTo>
                  <a:lnTo>
                    <a:pt x="416" y="17"/>
                  </a:lnTo>
                  <a:lnTo>
                    <a:pt x="393" y="17"/>
                  </a:lnTo>
                  <a:lnTo>
                    <a:pt x="375" y="20"/>
                  </a:lnTo>
                  <a:lnTo>
                    <a:pt x="366" y="20"/>
                  </a:lnTo>
                  <a:lnTo>
                    <a:pt x="357" y="20"/>
                  </a:lnTo>
                  <a:lnTo>
                    <a:pt x="343" y="20"/>
                  </a:lnTo>
                  <a:lnTo>
                    <a:pt x="334" y="23"/>
                  </a:lnTo>
                  <a:lnTo>
                    <a:pt x="320" y="23"/>
                  </a:lnTo>
                  <a:lnTo>
                    <a:pt x="307" y="26"/>
                  </a:lnTo>
                  <a:lnTo>
                    <a:pt x="293" y="26"/>
                  </a:lnTo>
                  <a:lnTo>
                    <a:pt x="284" y="29"/>
                  </a:lnTo>
                  <a:lnTo>
                    <a:pt x="270" y="29"/>
                  </a:lnTo>
                  <a:lnTo>
                    <a:pt x="252" y="29"/>
                  </a:lnTo>
                  <a:lnTo>
                    <a:pt x="238" y="32"/>
                  </a:lnTo>
                  <a:lnTo>
                    <a:pt x="224" y="34"/>
                  </a:lnTo>
                  <a:lnTo>
                    <a:pt x="211" y="34"/>
                  </a:lnTo>
                  <a:lnTo>
                    <a:pt x="197" y="34"/>
                  </a:lnTo>
                  <a:lnTo>
                    <a:pt x="183" y="34"/>
                  </a:lnTo>
                  <a:lnTo>
                    <a:pt x="174" y="37"/>
                  </a:lnTo>
                  <a:lnTo>
                    <a:pt x="160" y="40"/>
                  </a:lnTo>
                  <a:lnTo>
                    <a:pt x="147" y="40"/>
                  </a:lnTo>
                  <a:lnTo>
                    <a:pt x="133" y="43"/>
                  </a:lnTo>
                  <a:lnTo>
                    <a:pt x="124" y="43"/>
                  </a:lnTo>
                  <a:lnTo>
                    <a:pt x="110" y="43"/>
                  </a:lnTo>
                  <a:lnTo>
                    <a:pt x="101" y="49"/>
                  </a:lnTo>
                  <a:lnTo>
                    <a:pt x="92" y="49"/>
                  </a:lnTo>
                  <a:lnTo>
                    <a:pt x="83" y="52"/>
                  </a:lnTo>
                  <a:lnTo>
                    <a:pt x="64" y="54"/>
                  </a:lnTo>
                  <a:lnTo>
                    <a:pt x="46" y="54"/>
                  </a:lnTo>
                  <a:lnTo>
                    <a:pt x="28" y="57"/>
                  </a:lnTo>
                  <a:lnTo>
                    <a:pt x="0" y="63"/>
                  </a:lnTo>
                  <a:lnTo>
                    <a:pt x="37" y="37"/>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41" name="Freeform 33"/>
            <p:cNvSpPr>
              <a:spLocks/>
            </p:cNvSpPr>
            <p:nvPr>
              <p:custDataLst>
                <p:tags r:id="rId240"/>
              </p:custDataLst>
            </p:nvPr>
          </p:nvSpPr>
          <p:spPr bwMode="gray">
            <a:xfrm>
              <a:off x="2628" y="2323"/>
              <a:ext cx="614" cy="45"/>
            </a:xfrm>
            <a:custGeom>
              <a:avLst/>
              <a:gdLst>
                <a:gd name="T0" fmla="*/ 201 w 599"/>
                <a:gd name="T1" fmla="*/ 6 h 49"/>
                <a:gd name="T2" fmla="*/ 244 w 599"/>
                <a:gd name="T3" fmla="*/ 6 h 49"/>
                <a:gd name="T4" fmla="*/ 293 w 599"/>
                <a:gd name="T5" fmla="*/ 3 h 49"/>
                <a:gd name="T6" fmla="*/ 338 w 599"/>
                <a:gd name="T7" fmla="*/ 0 h 49"/>
                <a:gd name="T8" fmla="*/ 381 w 599"/>
                <a:gd name="T9" fmla="*/ 0 h 49"/>
                <a:gd name="T10" fmla="*/ 433 w 599"/>
                <a:gd name="T11" fmla="*/ 0 h 49"/>
                <a:gd name="T12" fmla="*/ 488 w 599"/>
                <a:gd name="T13" fmla="*/ 0 h 49"/>
                <a:gd name="T14" fmla="*/ 521 w 599"/>
                <a:gd name="T15" fmla="*/ 0 h 49"/>
                <a:gd name="T16" fmla="*/ 573 w 599"/>
                <a:gd name="T17" fmla="*/ 0 h 49"/>
                <a:gd name="T18" fmla="*/ 616 w 599"/>
                <a:gd name="T19" fmla="*/ 0 h 49"/>
                <a:gd name="T20" fmla="*/ 661 w 599"/>
                <a:gd name="T21" fmla="*/ 3 h 49"/>
                <a:gd name="T22" fmla="*/ 702 w 599"/>
                <a:gd name="T23" fmla="*/ 6 h 49"/>
                <a:gd name="T24" fmla="*/ 755 w 599"/>
                <a:gd name="T25" fmla="*/ 6 h 49"/>
                <a:gd name="T26" fmla="*/ 789 w 599"/>
                <a:gd name="T27" fmla="*/ 6 h 49"/>
                <a:gd name="T28" fmla="*/ 826 w 599"/>
                <a:gd name="T29" fmla="*/ 6 h 49"/>
                <a:gd name="T30" fmla="*/ 858 w 599"/>
                <a:gd name="T31" fmla="*/ 6 h 49"/>
                <a:gd name="T32" fmla="*/ 919 w 599"/>
                <a:gd name="T33" fmla="*/ 6 h 49"/>
                <a:gd name="T34" fmla="*/ 982 w 599"/>
                <a:gd name="T35" fmla="*/ 6 h 49"/>
                <a:gd name="T36" fmla="*/ 1034 w 599"/>
                <a:gd name="T37" fmla="*/ 6 h 49"/>
                <a:gd name="T38" fmla="*/ 1079 w 599"/>
                <a:gd name="T39" fmla="*/ 6 h 49"/>
                <a:gd name="T40" fmla="*/ 1120 w 599"/>
                <a:gd name="T41" fmla="*/ 6 h 49"/>
                <a:gd name="T42" fmla="*/ 1139 w 599"/>
                <a:gd name="T43" fmla="*/ 6 h 49"/>
                <a:gd name="T44" fmla="*/ 1105 w 599"/>
                <a:gd name="T45" fmla="*/ 6 h 49"/>
                <a:gd name="T46" fmla="*/ 1034 w 599"/>
                <a:gd name="T47" fmla="*/ 6 h 49"/>
                <a:gd name="T48" fmla="*/ 964 w 599"/>
                <a:gd name="T49" fmla="*/ 6 h 49"/>
                <a:gd name="T50" fmla="*/ 889 w 599"/>
                <a:gd name="T51" fmla="*/ 6 h 49"/>
                <a:gd name="T52" fmla="*/ 826 w 599"/>
                <a:gd name="T53" fmla="*/ 6 h 49"/>
                <a:gd name="T54" fmla="*/ 789 w 599"/>
                <a:gd name="T55" fmla="*/ 6 h 49"/>
                <a:gd name="T56" fmla="*/ 748 w 599"/>
                <a:gd name="T57" fmla="*/ 6 h 49"/>
                <a:gd name="T58" fmla="*/ 702 w 599"/>
                <a:gd name="T59" fmla="*/ 6 h 49"/>
                <a:gd name="T60" fmla="*/ 652 w 599"/>
                <a:gd name="T61" fmla="*/ 6 h 49"/>
                <a:gd name="T62" fmla="*/ 616 w 599"/>
                <a:gd name="T63" fmla="*/ 6 h 49"/>
                <a:gd name="T64" fmla="*/ 566 w 599"/>
                <a:gd name="T65" fmla="*/ 6 h 49"/>
                <a:gd name="T66" fmla="*/ 521 w 599"/>
                <a:gd name="T67" fmla="*/ 6 h 49"/>
                <a:gd name="T68" fmla="*/ 488 w 599"/>
                <a:gd name="T69" fmla="*/ 6 h 49"/>
                <a:gd name="T70" fmla="*/ 433 w 599"/>
                <a:gd name="T71" fmla="*/ 6 h 49"/>
                <a:gd name="T72" fmla="*/ 381 w 599"/>
                <a:gd name="T73" fmla="*/ 6 h 49"/>
                <a:gd name="T74" fmla="*/ 338 w 599"/>
                <a:gd name="T75" fmla="*/ 6 h 49"/>
                <a:gd name="T76" fmla="*/ 293 w 599"/>
                <a:gd name="T77" fmla="*/ 6 h 49"/>
                <a:gd name="T78" fmla="*/ 244 w 599"/>
                <a:gd name="T79" fmla="*/ 6 h 49"/>
                <a:gd name="T80" fmla="*/ 201 w 599"/>
                <a:gd name="T81" fmla="*/ 6 h 49"/>
                <a:gd name="T82" fmla="*/ 164 w 599"/>
                <a:gd name="T83" fmla="*/ 6 h 49"/>
                <a:gd name="T84" fmla="*/ 124 w 599"/>
                <a:gd name="T85" fmla="*/ 6 h 49"/>
                <a:gd name="T86" fmla="*/ 74 w 599"/>
                <a:gd name="T87" fmla="*/ 6 h 49"/>
                <a:gd name="T88" fmla="*/ 18 w 599"/>
                <a:gd name="T89" fmla="*/ 6 h 49"/>
                <a:gd name="T90" fmla="*/ 0 w 599"/>
                <a:gd name="T91" fmla="*/ 6 h 49"/>
                <a:gd name="T92" fmla="*/ 49 w 599"/>
                <a:gd name="T93" fmla="*/ 6 h 49"/>
                <a:gd name="T94" fmla="*/ 103 w 599"/>
                <a:gd name="T95" fmla="*/ 6 h 49"/>
                <a:gd name="T96" fmla="*/ 146 w 599"/>
                <a:gd name="T97" fmla="*/ 6 h 49"/>
                <a:gd name="T98" fmla="*/ 164 w 599"/>
                <a:gd name="T99" fmla="*/ 6 h 49"/>
                <a:gd name="T100" fmla="*/ 172 w 599"/>
                <a:gd name="T101" fmla="*/ 6 h 4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99"/>
                <a:gd name="T154" fmla="*/ 0 h 49"/>
                <a:gd name="T155" fmla="*/ 599 w 599"/>
                <a:gd name="T156" fmla="*/ 49 h 4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99" h="49">
                  <a:moveTo>
                    <a:pt x="91" y="12"/>
                  </a:moveTo>
                  <a:lnTo>
                    <a:pt x="105" y="9"/>
                  </a:lnTo>
                  <a:lnTo>
                    <a:pt x="114" y="6"/>
                  </a:lnTo>
                  <a:lnTo>
                    <a:pt x="128" y="6"/>
                  </a:lnTo>
                  <a:lnTo>
                    <a:pt x="142" y="3"/>
                  </a:lnTo>
                  <a:lnTo>
                    <a:pt x="155" y="3"/>
                  </a:lnTo>
                  <a:lnTo>
                    <a:pt x="169" y="0"/>
                  </a:lnTo>
                  <a:lnTo>
                    <a:pt x="178" y="0"/>
                  </a:lnTo>
                  <a:lnTo>
                    <a:pt x="192" y="0"/>
                  </a:lnTo>
                  <a:lnTo>
                    <a:pt x="201" y="0"/>
                  </a:lnTo>
                  <a:lnTo>
                    <a:pt x="219" y="0"/>
                  </a:lnTo>
                  <a:lnTo>
                    <a:pt x="228" y="0"/>
                  </a:lnTo>
                  <a:lnTo>
                    <a:pt x="242" y="0"/>
                  </a:lnTo>
                  <a:lnTo>
                    <a:pt x="256" y="0"/>
                  </a:lnTo>
                  <a:lnTo>
                    <a:pt x="265" y="0"/>
                  </a:lnTo>
                  <a:lnTo>
                    <a:pt x="274" y="0"/>
                  </a:lnTo>
                  <a:lnTo>
                    <a:pt x="292" y="0"/>
                  </a:lnTo>
                  <a:lnTo>
                    <a:pt x="301" y="0"/>
                  </a:lnTo>
                  <a:lnTo>
                    <a:pt x="311" y="0"/>
                  </a:lnTo>
                  <a:lnTo>
                    <a:pt x="324" y="0"/>
                  </a:lnTo>
                  <a:lnTo>
                    <a:pt x="338" y="3"/>
                  </a:lnTo>
                  <a:lnTo>
                    <a:pt x="347" y="3"/>
                  </a:lnTo>
                  <a:lnTo>
                    <a:pt x="361" y="3"/>
                  </a:lnTo>
                  <a:lnTo>
                    <a:pt x="370" y="6"/>
                  </a:lnTo>
                  <a:lnTo>
                    <a:pt x="384" y="6"/>
                  </a:lnTo>
                  <a:lnTo>
                    <a:pt x="397" y="6"/>
                  </a:lnTo>
                  <a:lnTo>
                    <a:pt x="407" y="9"/>
                  </a:lnTo>
                  <a:lnTo>
                    <a:pt x="416" y="9"/>
                  </a:lnTo>
                  <a:lnTo>
                    <a:pt x="425" y="12"/>
                  </a:lnTo>
                  <a:lnTo>
                    <a:pt x="434" y="12"/>
                  </a:lnTo>
                  <a:lnTo>
                    <a:pt x="448" y="15"/>
                  </a:lnTo>
                  <a:lnTo>
                    <a:pt x="452" y="15"/>
                  </a:lnTo>
                  <a:lnTo>
                    <a:pt x="466" y="17"/>
                  </a:lnTo>
                  <a:lnTo>
                    <a:pt x="484" y="20"/>
                  </a:lnTo>
                  <a:lnTo>
                    <a:pt x="498" y="23"/>
                  </a:lnTo>
                  <a:lnTo>
                    <a:pt x="516" y="26"/>
                  </a:lnTo>
                  <a:lnTo>
                    <a:pt x="535" y="29"/>
                  </a:lnTo>
                  <a:lnTo>
                    <a:pt x="544" y="32"/>
                  </a:lnTo>
                  <a:lnTo>
                    <a:pt x="557" y="35"/>
                  </a:lnTo>
                  <a:lnTo>
                    <a:pt x="567" y="37"/>
                  </a:lnTo>
                  <a:lnTo>
                    <a:pt x="580" y="40"/>
                  </a:lnTo>
                  <a:lnTo>
                    <a:pt x="589" y="43"/>
                  </a:lnTo>
                  <a:lnTo>
                    <a:pt x="599" y="49"/>
                  </a:lnTo>
                  <a:lnTo>
                    <a:pt x="589" y="49"/>
                  </a:lnTo>
                  <a:lnTo>
                    <a:pt x="580" y="46"/>
                  </a:lnTo>
                  <a:lnTo>
                    <a:pt x="562" y="43"/>
                  </a:lnTo>
                  <a:lnTo>
                    <a:pt x="544" y="40"/>
                  </a:lnTo>
                  <a:lnTo>
                    <a:pt x="530" y="37"/>
                  </a:lnTo>
                  <a:lnTo>
                    <a:pt x="507" y="37"/>
                  </a:lnTo>
                  <a:lnTo>
                    <a:pt x="489" y="35"/>
                  </a:lnTo>
                  <a:lnTo>
                    <a:pt x="466" y="35"/>
                  </a:lnTo>
                  <a:lnTo>
                    <a:pt x="448" y="35"/>
                  </a:lnTo>
                  <a:lnTo>
                    <a:pt x="434" y="32"/>
                  </a:lnTo>
                  <a:lnTo>
                    <a:pt x="425" y="32"/>
                  </a:lnTo>
                  <a:lnTo>
                    <a:pt x="416" y="29"/>
                  </a:lnTo>
                  <a:lnTo>
                    <a:pt x="402" y="29"/>
                  </a:lnTo>
                  <a:lnTo>
                    <a:pt x="393" y="29"/>
                  </a:lnTo>
                  <a:lnTo>
                    <a:pt x="379" y="29"/>
                  </a:lnTo>
                  <a:lnTo>
                    <a:pt x="370" y="29"/>
                  </a:lnTo>
                  <a:lnTo>
                    <a:pt x="361" y="29"/>
                  </a:lnTo>
                  <a:lnTo>
                    <a:pt x="343" y="29"/>
                  </a:lnTo>
                  <a:lnTo>
                    <a:pt x="333" y="29"/>
                  </a:lnTo>
                  <a:lnTo>
                    <a:pt x="324" y="29"/>
                  </a:lnTo>
                  <a:lnTo>
                    <a:pt x="311" y="29"/>
                  </a:lnTo>
                  <a:lnTo>
                    <a:pt x="297" y="29"/>
                  </a:lnTo>
                  <a:lnTo>
                    <a:pt x="288" y="29"/>
                  </a:lnTo>
                  <a:lnTo>
                    <a:pt x="274" y="29"/>
                  </a:lnTo>
                  <a:lnTo>
                    <a:pt x="265" y="29"/>
                  </a:lnTo>
                  <a:lnTo>
                    <a:pt x="256" y="29"/>
                  </a:lnTo>
                  <a:lnTo>
                    <a:pt x="242" y="29"/>
                  </a:lnTo>
                  <a:lnTo>
                    <a:pt x="228" y="29"/>
                  </a:lnTo>
                  <a:lnTo>
                    <a:pt x="219" y="29"/>
                  </a:lnTo>
                  <a:lnTo>
                    <a:pt x="201" y="29"/>
                  </a:lnTo>
                  <a:lnTo>
                    <a:pt x="187" y="29"/>
                  </a:lnTo>
                  <a:lnTo>
                    <a:pt x="178" y="29"/>
                  </a:lnTo>
                  <a:lnTo>
                    <a:pt x="169" y="29"/>
                  </a:lnTo>
                  <a:lnTo>
                    <a:pt x="155" y="29"/>
                  </a:lnTo>
                  <a:lnTo>
                    <a:pt x="137" y="29"/>
                  </a:lnTo>
                  <a:lnTo>
                    <a:pt x="128" y="29"/>
                  </a:lnTo>
                  <a:lnTo>
                    <a:pt x="119" y="32"/>
                  </a:lnTo>
                  <a:lnTo>
                    <a:pt x="105" y="32"/>
                  </a:lnTo>
                  <a:lnTo>
                    <a:pt x="91" y="32"/>
                  </a:lnTo>
                  <a:lnTo>
                    <a:pt x="87" y="32"/>
                  </a:lnTo>
                  <a:lnTo>
                    <a:pt x="73" y="35"/>
                  </a:lnTo>
                  <a:lnTo>
                    <a:pt x="64" y="35"/>
                  </a:lnTo>
                  <a:lnTo>
                    <a:pt x="55" y="35"/>
                  </a:lnTo>
                  <a:lnTo>
                    <a:pt x="41" y="35"/>
                  </a:lnTo>
                  <a:lnTo>
                    <a:pt x="36" y="35"/>
                  </a:lnTo>
                  <a:lnTo>
                    <a:pt x="18" y="35"/>
                  </a:lnTo>
                  <a:lnTo>
                    <a:pt x="14" y="35"/>
                  </a:lnTo>
                  <a:lnTo>
                    <a:pt x="0" y="32"/>
                  </a:lnTo>
                  <a:lnTo>
                    <a:pt x="9" y="29"/>
                  </a:lnTo>
                  <a:lnTo>
                    <a:pt x="23" y="23"/>
                  </a:lnTo>
                  <a:lnTo>
                    <a:pt x="36" y="20"/>
                  </a:lnTo>
                  <a:lnTo>
                    <a:pt x="55" y="17"/>
                  </a:lnTo>
                  <a:lnTo>
                    <a:pt x="68" y="15"/>
                  </a:lnTo>
                  <a:lnTo>
                    <a:pt x="78" y="15"/>
                  </a:lnTo>
                  <a:lnTo>
                    <a:pt x="87" y="12"/>
                  </a:lnTo>
                  <a:lnTo>
                    <a:pt x="91" y="12"/>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42" name="Freeform 34"/>
            <p:cNvSpPr>
              <a:spLocks/>
            </p:cNvSpPr>
            <p:nvPr>
              <p:custDataLst>
                <p:tags r:id="rId241"/>
              </p:custDataLst>
            </p:nvPr>
          </p:nvSpPr>
          <p:spPr bwMode="gray">
            <a:xfrm>
              <a:off x="1260" y="2190"/>
              <a:ext cx="993" cy="80"/>
            </a:xfrm>
            <a:custGeom>
              <a:avLst/>
              <a:gdLst>
                <a:gd name="T0" fmla="*/ 73 w 969"/>
                <a:gd name="T1" fmla="*/ 3 h 88"/>
                <a:gd name="T2" fmla="*/ 137 w 969"/>
                <a:gd name="T3" fmla="*/ 5 h 88"/>
                <a:gd name="T4" fmla="*/ 223 w 969"/>
                <a:gd name="T5" fmla="*/ 5 h 88"/>
                <a:gd name="T6" fmla="*/ 309 w 969"/>
                <a:gd name="T7" fmla="*/ 5 h 88"/>
                <a:gd name="T8" fmla="*/ 363 w 969"/>
                <a:gd name="T9" fmla="*/ 5 h 88"/>
                <a:gd name="T10" fmla="*/ 424 w 969"/>
                <a:gd name="T11" fmla="*/ 5 h 88"/>
                <a:gd name="T12" fmla="*/ 483 w 969"/>
                <a:gd name="T13" fmla="*/ 5 h 88"/>
                <a:gd name="T14" fmla="*/ 544 w 969"/>
                <a:gd name="T15" fmla="*/ 5 h 88"/>
                <a:gd name="T16" fmla="*/ 614 w 969"/>
                <a:gd name="T17" fmla="*/ 5 h 88"/>
                <a:gd name="T18" fmla="*/ 675 w 969"/>
                <a:gd name="T19" fmla="*/ 5 h 88"/>
                <a:gd name="T20" fmla="*/ 736 w 969"/>
                <a:gd name="T21" fmla="*/ 5 h 88"/>
                <a:gd name="T22" fmla="*/ 794 w 969"/>
                <a:gd name="T23" fmla="*/ 5 h 88"/>
                <a:gd name="T24" fmla="*/ 874 w 969"/>
                <a:gd name="T25" fmla="*/ 5 h 88"/>
                <a:gd name="T26" fmla="*/ 933 w 969"/>
                <a:gd name="T27" fmla="*/ 5 h 88"/>
                <a:gd name="T28" fmla="*/ 992 w 969"/>
                <a:gd name="T29" fmla="*/ 5 h 88"/>
                <a:gd name="T30" fmla="*/ 1063 w 969"/>
                <a:gd name="T31" fmla="*/ 5 h 88"/>
                <a:gd name="T32" fmla="*/ 1175 w 969"/>
                <a:gd name="T33" fmla="*/ 5 h 88"/>
                <a:gd name="T34" fmla="*/ 1263 w 969"/>
                <a:gd name="T35" fmla="*/ 5 h 88"/>
                <a:gd name="T36" fmla="*/ 1346 w 969"/>
                <a:gd name="T37" fmla="*/ 5 h 88"/>
                <a:gd name="T38" fmla="*/ 1433 w 969"/>
                <a:gd name="T39" fmla="*/ 5 h 88"/>
                <a:gd name="T40" fmla="*/ 1519 w 969"/>
                <a:gd name="T41" fmla="*/ 5 h 88"/>
                <a:gd name="T42" fmla="*/ 1598 w 969"/>
                <a:gd name="T43" fmla="*/ 5 h 88"/>
                <a:gd name="T44" fmla="*/ 1657 w 969"/>
                <a:gd name="T45" fmla="*/ 5 h 88"/>
                <a:gd name="T46" fmla="*/ 1745 w 969"/>
                <a:gd name="T47" fmla="*/ 5 h 88"/>
                <a:gd name="T48" fmla="*/ 1808 w 969"/>
                <a:gd name="T49" fmla="*/ 5 h 88"/>
                <a:gd name="T50" fmla="*/ 1828 w 969"/>
                <a:gd name="T51" fmla="*/ 7 h 88"/>
                <a:gd name="T52" fmla="*/ 1772 w 969"/>
                <a:gd name="T53" fmla="*/ 7 h 88"/>
                <a:gd name="T54" fmla="*/ 1699 w 969"/>
                <a:gd name="T55" fmla="*/ 7 h 88"/>
                <a:gd name="T56" fmla="*/ 1631 w 969"/>
                <a:gd name="T57" fmla="*/ 7 h 88"/>
                <a:gd name="T58" fmla="*/ 1554 w 969"/>
                <a:gd name="T59" fmla="*/ 7 h 88"/>
                <a:gd name="T60" fmla="*/ 1448 w 969"/>
                <a:gd name="T61" fmla="*/ 6 h 88"/>
                <a:gd name="T62" fmla="*/ 1363 w 969"/>
                <a:gd name="T63" fmla="*/ 6 h 88"/>
                <a:gd name="T64" fmla="*/ 1268 w 969"/>
                <a:gd name="T65" fmla="*/ 6 h 88"/>
                <a:gd name="T66" fmla="*/ 1184 w 969"/>
                <a:gd name="T67" fmla="*/ 6 h 88"/>
                <a:gd name="T68" fmla="*/ 1089 w 969"/>
                <a:gd name="T69" fmla="*/ 5 h 88"/>
                <a:gd name="T70" fmla="*/ 1012 w 969"/>
                <a:gd name="T71" fmla="*/ 5 h 88"/>
                <a:gd name="T72" fmla="*/ 918 w 969"/>
                <a:gd name="T73" fmla="*/ 5 h 88"/>
                <a:gd name="T74" fmla="*/ 862 w 969"/>
                <a:gd name="T75" fmla="*/ 5 h 88"/>
                <a:gd name="T76" fmla="*/ 794 w 969"/>
                <a:gd name="T77" fmla="*/ 5 h 88"/>
                <a:gd name="T78" fmla="*/ 736 w 969"/>
                <a:gd name="T79" fmla="*/ 5 h 88"/>
                <a:gd name="T80" fmla="*/ 666 w 969"/>
                <a:gd name="T81" fmla="*/ 5 h 88"/>
                <a:gd name="T82" fmla="*/ 605 w 969"/>
                <a:gd name="T83" fmla="*/ 5 h 88"/>
                <a:gd name="T84" fmla="*/ 526 w 969"/>
                <a:gd name="T85" fmla="*/ 5 h 88"/>
                <a:gd name="T86" fmla="*/ 465 w 969"/>
                <a:gd name="T87" fmla="*/ 5 h 88"/>
                <a:gd name="T88" fmla="*/ 397 w 969"/>
                <a:gd name="T89" fmla="*/ 5 h 88"/>
                <a:gd name="T90" fmla="*/ 339 w 969"/>
                <a:gd name="T91" fmla="*/ 5 h 88"/>
                <a:gd name="T92" fmla="*/ 279 w 969"/>
                <a:gd name="T93" fmla="*/ 5 h 88"/>
                <a:gd name="T94" fmla="*/ 180 w 969"/>
                <a:gd name="T95" fmla="*/ 5 h 88"/>
                <a:gd name="T96" fmla="*/ 93 w 969"/>
                <a:gd name="T97" fmla="*/ 5 h 88"/>
                <a:gd name="T98" fmla="*/ 19 w 969"/>
                <a:gd name="T99" fmla="*/ 5 h 88"/>
                <a:gd name="T100" fmla="*/ 58 w 969"/>
                <a:gd name="T101" fmla="*/ 0 h 8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69"/>
                <a:gd name="T154" fmla="*/ 0 h 88"/>
                <a:gd name="T155" fmla="*/ 969 w 969"/>
                <a:gd name="T156" fmla="*/ 88 h 8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69" h="88">
                  <a:moveTo>
                    <a:pt x="32" y="0"/>
                  </a:moveTo>
                  <a:lnTo>
                    <a:pt x="37" y="0"/>
                  </a:lnTo>
                  <a:lnTo>
                    <a:pt x="41" y="3"/>
                  </a:lnTo>
                  <a:lnTo>
                    <a:pt x="51" y="3"/>
                  </a:lnTo>
                  <a:lnTo>
                    <a:pt x="60" y="6"/>
                  </a:lnTo>
                  <a:lnTo>
                    <a:pt x="73" y="6"/>
                  </a:lnTo>
                  <a:lnTo>
                    <a:pt x="87" y="9"/>
                  </a:lnTo>
                  <a:lnTo>
                    <a:pt x="101" y="9"/>
                  </a:lnTo>
                  <a:lnTo>
                    <a:pt x="119" y="12"/>
                  </a:lnTo>
                  <a:lnTo>
                    <a:pt x="133" y="12"/>
                  </a:lnTo>
                  <a:lnTo>
                    <a:pt x="151" y="14"/>
                  </a:lnTo>
                  <a:lnTo>
                    <a:pt x="165" y="14"/>
                  </a:lnTo>
                  <a:lnTo>
                    <a:pt x="169" y="17"/>
                  </a:lnTo>
                  <a:lnTo>
                    <a:pt x="183" y="17"/>
                  </a:lnTo>
                  <a:lnTo>
                    <a:pt x="192" y="20"/>
                  </a:lnTo>
                  <a:lnTo>
                    <a:pt x="201" y="20"/>
                  </a:lnTo>
                  <a:lnTo>
                    <a:pt x="211" y="20"/>
                  </a:lnTo>
                  <a:lnTo>
                    <a:pt x="224" y="20"/>
                  </a:lnTo>
                  <a:lnTo>
                    <a:pt x="233" y="23"/>
                  </a:lnTo>
                  <a:lnTo>
                    <a:pt x="243" y="23"/>
                  </a:lnTo>
                  <a:lnTo>
                    <a:pt x="256" y="23"/>
                  </a:lnTo>
                  <a:lnTo>
                    <a:pt x="270" y="23"/>
                  </a:lnTo>
                  <a:lnTo>
                    <a:pt x="279" y="26"/>
                  </a:lnTo>
                  <a:lnTo>
                    <a:pt x="288" y="26"/>
                  </a:lnTo>
                  <a:lnTo>
                    <a:pt x="302" y="29"/>
                  </a:lnTo>
                  <a:lnTo>
                    <a:pt x="316" y="29"/>
                  </a:lnTo>
                  <a:lnTo>
                    <a:pt x="325" y="32"/>
                  </a:lnTo>
                  <a:lnTo>
                    <a:pt x="334" y="32"/>
                  </a:lnTo>
                  <a:lnTo>
                    <a:pt x="348" y="32"/>
                  </a:lnTo>
                  <a:lnTo>
                    <a:pt x="357" y="34"/>
                  </a:lnTo>
                  <a:lnTo>
                    <a:pt x="371" y="34"/>
                  </a:lnTo>
                  <a:lnTo>
                    <a:pt x="380" y="34"/>
                  </a:lnTo>
                  <a:lnTo>
                    <a:pt x="389" y="34"/>
                  </a:lnTo>
                  <a:lnTo>
                    <a:pt x="403" y="34"/>
                  </a:lnTo>
                  <a:lnTo>
                    <a:pt x="416" y="37"/>
                  </a:lnTo>
                  <a:lnTo>
                    <a:pt x="421" y="37"/>
                  </a:lnTo>
                  <a:lnTo>
                    <a:pt x="439" y="40"/>
                  </a:lnTo>
                  <a:lnTo>
                    <a:pt x="448" y="40"/>
                  </a:lnTo>
                  <a:lnTo>
                    <a:pt x="462" y="40"/>
                  </a:lnTo>
                  <a:lnTo>
                    <a:pt x="471" y="40"/>
                  </a:lnTo>
                  <a:lnTo>
                    <a:pt x="480" y="43"/>
                  </a:lnTo>
                  <a:lnTo>
                    <a:pt x="494" y="43"/>
                  </a:lnTo>
                  <a:lnTo>
                    <a:pt x="503" y="43"/>
                  </a:lnTo>
                  <a:lnTo>
                    <a:pt x="512" y="43"/>
                  </a:lnTo>
                  <a:lnTo>
                    <a:pt x="526" y="46"/>
                  </a:lnTo>
                  <a:lnTo>
                    <a:pt x="535" y="46"/>
                  </a:lnTo>
                  <a:lnTo>
                    <a:pt x="544" y="46"/>
                  </a:lnTo>
                  <a:lnTo>
                    <a:pt x="562" y="46"/>
                  </a:lnTo>
                  <a:lnTo>
                    <a:pt x="585" y="46"/>
                  </a:lnTo>
                  <a:lnTo>
                    <a:pt x="599" y="49"/>
                  </a:lnTo>
                  <a:lnTo>
                    <a:pt x="622" y="51"/>
                  </a:lnTo>
                  <a:lnTo>
                    <a:pt x="636" y="51"/>
                  </a:lnTo>
                  <a:lnTo>
                    <a:pt x="654" y="51"/>
                  </a:lnTo>
                  <a:lnTo>
                    <a:pt x="668" y="51"/>
                  </a:lnTo>
                  <a:lnTo>
                    <a:pt x="681" y="51"/>
                  </a:lnTo>
                  <a:lnTo>
                    <a:pt x="700" y="51"/>
                  </a:lnTo>
                  <a:lnTo>
                    <a:pt x="713" y="51"/>
                  </a:lnTo>
                  <a:lnTo>
                    <a:pt x="732" y="51"/>
                  </a:lnTo>
                  <a:lnTo>
                    <a:pt x="750" y="51"/>
                  </a:lnTo>
                  <a:lnTo>
                    <a:pt x="759" y="51"/>
                  </a:lnTo>
                  <a:lnTo>
                    <a:pt x="777" y="51"/>
                  </a:lnTo>
                  <a:lnTo>
                    <a:pt x="786" y="54"/>
                  </a:lnTo>
                  <a:lnTo>
                    <a:pt x="805" y="54"/>
                  </a:lnTo>
                  <a:lnTo>
                    <a:pt x="818" y="54"/>
                  </a:lnTo>
                  <a:lnTo>
                    <a:pt x="832" y="54"/>
                  </a:lnTo>
                  <a:lnTo>
                    <a:pt x="846" y="54"/>
                  </a:lnTo>
                  <a:lnTo>
                    <a:pt x="860" y="57"/>
                  </a:lnTo>
                  <a:lnTo>
                    <a:pt x="869" y="57"/>
                  </a:lnTo>
                  <a:lnTo>
                    <a:pt x="878" y="57"/>
                  </a:lnTo>
                  <a:lnTo>
                    <a:pt x="892" y="57"/>
                  </a:lnTo>
                  <a:lnTo>
                    <a:pt x="901" y="60"/>
                  </a:lnTo>
                  <a:lnTo>
                    <a:pt x="924" y="60"/>
                  </a:lnTo>
                  <a:lnTo>
                    <a:pt x="937" y="60"/>
                  </a:lnTo>
                  <a:lnTo>
                    <a:pt x="951" y="60"/>
                  </a:lnTo>
                  <a:lnTo>
                    <a:pt x="956" y="63"/>
                  </a:lnTo>
                  <a:lnTo>
                    <a:pt x="965" y="63"/>
                  </a:lnTo>
                  <a:lnTo>
                    <a:pt x="969" y="63"/>
                  </a:lnTo>
                  <a:lnTo>
                    <a:pt x="969" y="88"/>
                  </a:lnTo>
                  <a:lnTo>
                    <a:pt x="965" y="86"/>
                  </a:lnTo>
                  <a:lnTo>
                    <a:pt x="951" y="86"/>
                  </a:lnTo>
                  <a:lnTo>
                    <a:pt x="937" y="86"/>
                  </a:lnTo>
                  <a:lnTo>
                    <a:pt x="924" y="86"/>
                  </a:lnTo>
                  <a:lnTo>
                    <a:pt x="914" y="83"/>
                  </a:lnTo>
                  <a:lnTo>
                    <a:pt x="901" y="83"/>
                  </a:lnTo>
                  <a:lnTo>
                    <a:pt x="887" y="83"/>
                  </a:lnTo>
                  <a:lnTo>
                    <a:pt x="878" y="83"/>
                  </a:lnTo>
                  <a:lnTo>
                    <a:pt x="864" y="83"/>
                  </a:lnTo>
                  <a:lnTo>
                    <a:pt x="846" y="83"/>
                  </a:lnTo>
                  <a:lnTo>
                    <a:pt x="837" y="83"/>
                  </a:lnTo>
                  <a:lnTo>
                    <a:pt x="823" y="83"/>
                  </a:lnTo>
                  <a:lnTo>
                    <a:pt x="805" y="83"/>
                  </a:lnTo>
                  <a:lnTo>
                    <a:pt x="786" y="83"/>
                  </a:lnTo>
                  <a:lnTo>
                    <a:pt x="768" y="80"/>
                  </a:lnTo>
                  <a:lnTo>
                    <a:pt x="754" y="80"/>
                  </a:lnTo>
                  <a:lnTo>
                    <a:pt x="736" y="80"/>
                  </a:lnTo>
                  <a:lnTo>
                    <a:pt x="722" y="80"/>
                  </a:lnTo>
                  <a:lnTo>
                    <a:pt x="704" y="80"/>
                  </a:lnTo>
                  <a:lnTo>
                    <a:pt x="690" y="80"/>
                  </a:lnTo>
                  <a:lnTo>
                    <a:pt x="672" y="77"/>
                  </a:lnTo>
                  <a:lnTo>
                    <a:pt x="658" y="77"/>
                  </a:lnTo>
                  <a:lnTo>
                    <a:pt x="640" y="77"/>
                  </a:lnTo>
                  <a:lnTo>
                    <a:pt x="626" y="77"/>
                  </a:lnTo>
                  <a:lnTo>
                    <a:pt x="608" y="74"/>
                  </a:lnTo>
                  <a:lnTo>
                    <a:pt x="590" y="74"/>
                  </a:lnTo>
                  <a:lnTo>
                    <a:pt x="576" y="74"/>
                  </a:lnTo>
                  <a:lnTo>
                    <a:pt x="567" y="74"/>
                  </a:lnTo>
                  <a:lnTo>
                    <a:pt x="549" y="71"/>
                  </a:lnTo>
                  <a:lnTo>
                    <a:pt x="535" y="71"/>
                  </a:lnTo>
                  <a:lnTo>
                    <a:pt x="517" y="69"/>
                  </a:lnTo>
                  <a:lnTo>
                    <a:pt x="499" y="69"/>
                  </a:lnTo>
                  <a:lnTo>
                    <a:pt x="485" y="69"/>
                  </a:lnTo>
                  <a:lnTo>
                    <a:pt x="476" y="69"/>
                  </a:lnTo>
                  <a:lnTo>
                    <a:pt x="467" y="66"/>
                  </a:lnTo>
                  <a:lnTo>
                    <a:pt x="457" y="66"/>
                  </a:lnTo>
                  <a:lnTo>
                    <a:pt x="444" y="66"/>
                  </a:lnTo>
                  <a:lnTo>
                    <a:pt x="435" y="63"/>
                  </a:lnTo>
                  <a:lnTo>
                    <a:pt x="421" y="63"/>
                  </a:lnTo>
                  <a:lnTo>
                    <a:pt x="412" y="63"/>
                  </a:lnTo>
                  <a:lnTo>
                    <a:pt x="403" y="60"/>
                  </a:lnTo>
                  <a:lnTo>
                    <a:pt x="389" y="60"/>
                  </a:lnTo>
                  <a:lnTo>
                    <a:pt x="380" y="57"/>
                  </a:lnTo>
                  <a:lnTo>
                    <a:pt x="366" y="57"/>
                  </a:lnTo>
                  <a:lnTo>
                    <a:pt x="352" y="57"/>
                  </a:lnTo>
                  <a:lnTo>
                    <a:pt x="343" y="54"/>
                  </a:lnTo>
                  <a:lnTo>
                    <a:pt x="334" y="54"/>
                  </a:lnTo>
                  <a:lnTo>
                    <a:pt x="320" y="54"/>
                  </a:lnTo>
                  <a:lnTo>
                    <a:pt x="307" y="51"/>
                  </a:lnTo>
                  <a:lnTo>
                    <a:pt x="297" y="51"/>
                  </a:lnTo>
                  <a:lnTo>
                    <a:pt x="279" y="51"/>
                  </a:lnTo>
                  <a:lnTo>
                    <a:pt x="270" y="51"/>
                  </a:lnTo>
                  <a:lnTo>
                    <a:pt x="261" y="49"/>
                  </a:lnTo>
                  <a:lnTo>
                    <a:pt x="247" y="46"/>
                  </a:lnTo>
                  <a:lnTo>
                    <a:pt x="238" y="46"/>
                  </a:lnTo>
                  <a:lnTo>
                    <a:pt x="224" y="46"/>
                  </a:lnTo>
                  <a:lnTo>
                    <a:pt x="211" y="46"/>
                  </a:lnTo>
                  <a:lnTo>
                    <a:pt x="201" y="43"/>
                  </a:lnTo>
                  <a:lnTo>
                    <a:pt x="188" y="43"/>
                  </a:lnTo>
                  <a:lnTo>
                    <a:pt x="179" y="43"/>
                  </a:lnTo>
                  <a:lnTo>
                    <a:pt x="165" y="40"/>
                  </a:lnTo>
                  <a:lnTo>
                    <a:pt x="156" y="40"/>
                  </a:lnTo>
                  <a:lnTo>
                    <a:pt x="147" y="37"/>
                  </a:lnTo>
                  <a:lnTo>
                    <a:pt x="137" y="37"/>
                  </a:lnTo>
                  <a:lnTo>
                    <a:pt x="115" y="34"/>
                  </a:lnTo>
                  <a:lnTo>
                    <a:pt x="96" y="34"/>
                  </a:lnTo>
                  <a:lnTo>
                    <a:pt x="78" y="32"/>
                  </a:lnTo>
                  <a:lnTo>
                    <a:pt x="69" y="32"/>
                  </a:lnTo>
                  <a:lnTo>
                    <a:pt x="51" y="29"/>
                  </a:lnTo>
                  <a:lnTo>
                    <a:pt x="41" y="26"/>
                  </a:lnTo>
                  <a:lnTo>
                    <a:pt x="23" y="26"/>
                  </a:lnTo>
                  <a:lnTo>
                    <a:pt x="19" y="26"/>
                  </a:lnTo>
                  <a:lnTo>
                    <a:pt x="5" y="23"/>
                  </a:lnTo>
                  <a:lnTo>
                    <a:pt x="0" y="23"/>
                  </a:lnTo>
                  <a:lnTo>
                    <a:pt x="32"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43" name="Freeform 35"/>
            <p:cNvSpPr>
              <a:spLocks/>
            </p:cNvSpPr>
            <p:nvPr>
              <p:custDataLst>
                <p:tags r:id="rId242"/>
              </p:custDataLst>
            </p:nvPr>
          </p:nvSpPr>
          <p:spPr bwMode="gray">
            <a:xfrm>
              <a:off x="3720" y="2221"/>
              <a:ext cx="623" cy="63"/>
            </a:xfrm>
            <a:custGeom>
              <a:avLst/>
              <a:gdLst>
                <a:gd name="T0" fmla="*/ 13 w 608"/>
                <a:gd name="T1" fmla="*/ 5 h 69"/>
                <a:gd name="T2" fmla="*/ 73 w 608"/>
                <a:gd name="T3" fmla="*/ 5 h 69"/>
                <a:gd name="T4" fmla="*/ 129 w 608"/>
                <a:gd name="T5" fmla="*/ 5 h 69"/>
                <a:gd name="T6" fmla="*/ 189 w 608"/>
                <a:gd name="T7" fmla="*/ 5 h 69"/>
                <a:gd name="T8" fmla="*/ 241 w 608"/>
                <a:gd name="T9" fmla="*/ 5 h 69"/>
                <a:gd name="T10" fmla="*/ 293 w 608"/>
                <a:gd name="T11" fmla="*/ 5 h 69"/>
                <a:gd name="T12" fmla="*/ 342 w 608"/>
                <a:gd name="T13" fmla="*/ 5 h 69"/>
                <a:gd name="T14" fmla="*/ 394 w 608"/>
                <a:gd name="T15" fmla="*/ 5 h 69"/>
                <a:gd name="T16" fmla="*/ 445 w 608"/>
                <a:gd name="T17" fmla="*/ 5 h 69"/>
                <a:gd name="T18" fmla="*/ 489 w 608"/>
                <a:gd name="T19" fmla="*/ 5 h 69"/>
                <a:gd name="T20" fmla="*/ 550 w 608"/>
                <a:gd name="T21" fmla="*/ 5 h 69"/>
                <a:gd name="T22" fmla="*/ 593 w 608"/>
                <a:gd name="T23" fmla="*/ 5 h 69"/>
                <a:gd name="T24" fmla="*/ 637 w 608"/>
                <a:gd name="T25" fmla="*/ 5 h 69"/>
                <a:gd name="T26" fmla="*/ 681 w 608"/>
                <a:gd name="T27" fmla="*/ 5 h 69"/>
                <a:gd name="T28" fmla="*/ 733 w 608"/>
                <a:gd name="T29" fmla="*/ 5 h 69"/>
                <a:gd name="T30" fmla="*/ 775 w 608"/>
                <a:gd name="T31" fmla="*/ 5 h 69"/>
                <a:gd name="T32" fmla="*/ 835 w 608"/>
                <a:gd name="T33" fmla="*/ 5 h 69"/>
                <a:gd name="T34" fmla="*/ 903 w 608"/>
                <a:gd name="T35" fmla="*/ 5 h 69"/>
                <a:gd name="T36" fmla="*/ 971 w 608"/>
                <a:gd name="T37" fmla="*/ 5 h 69"/>
                <a:gd name="T38" fmla="*/ 1024 w 608"/>
                <a:gd name="T39" fmla="*/ 5 h 69"/>
                <a:gd name="T40" fmla="*/ 1067 w 608"/>
                <a:gd name="T41" fmla="*/ 3 h 69"/>
                <a:gd name="T42" fmla="*/ 1102 w 608"/>
                <a:gd name="T43" fmla="*/ 0 h 69"/>
                <a:gd name="T44" fmla="*/ 1136 w 608"/>
                <a:gd name="T45" fmla="*/ 0 h 69"/>
                <a:gd name="T46" fmla="*/ 1147 w 608"/>
                <a:gd name="T47" fmla="*/ 5 h 69"/>
                <a:gd name="T48" fmla="*/ 1125 w 608"/>
                <a:gd name="T49" fmla="*/ 5 h 69"/>
                <a:gd name="T50" fmla="*/ 1093 w 608"/>
                <a:gd name="T51" fmla="*/ 5 h 69"/>
                <a:gd name="T52" fmla="*/ 1062 w 608"/>
                <a:gd name="T53" fmla="*/ 5 h 69"/>
                <a:gd name="T54" fmla="*/ 1006 w 608"/>
                <a:gd name="T55" fmla="*/ 5 h 69"/>
                <a:gd name="T56" fmla="*/ 967 w 608"/>
                <a:gd name="T57" fmla="*/ 5 h 69"/>
                <a:gd name="T58" fmla="*/ 903 w 608"/>
                <a:gd name="T59" fmla="*/ 5 h 69"/>
                <a:gd name="T60" fmla="*/ 843 w 608"/>
                <a:gd name="T61" fmla="*/ 5 h 69"/>
                <a:gd name="T62" fmla="*/ 784 w 608"/>
                <a:gd name="T63" fmla="*/ 5 h 69"/>
                <a:gd name="T64" fmla="*/ 722 w 608"/>
                <a:gd name="T65" fmla="*/ 5 h 69"/>
                <a:gd name="T66" fmla="*/ 665 w 608"/>
                <a:gd name="T67" fmla="*/ 5 h 69"/>
                <a:gd name="T68" fmla="*/ 603 w 608"/>
                <a:gd name="T69" fmla="*/ 5 h 69"/>
                <a:gd name="T70" fmla="*/ 550 w 608"/>
                <a:gd name="T71" fmla="*/ 5 h 69"/>
                <a:gd name="T72" fmla="*/ 489 w 608"/>
                <a:gd name="T73" fmla="*/ 5 h 69"/>
                <a:gd name="T74" fmla="*/ 455 w 608"/>
                <a:gd name="T75" fmla="*/ 5 h 69"/>
                <a:gd name="T76" fmla="*/ 423 w 608"/>
                <a:gd name="T77" fmla="*/ 5 h 69"/>
                <a:gd name="T78" fmla="*/ 352 w 608"/>
                <a:gd name="T79" fmla="*/ 5 h 69"/>
                <a:gd name="T80" fmla="*/ 275 w 608"/>
                <a:gd name="T81" fmla="*/ 5 h 69"/>
                <a:gd name="T82" fmla="*/ 206 w 608"/>
                <a:gd name="T83" fmla="*/ 5 h 69"/>
                <a:gd name="T84" fmla="*/ 142 w 608"/>
                <a:gd name="T85" fmla="*/ 6 h 69"/>
                <a:gd name="T86" fmla="*/ 81 w 608"/>
                <a:gd name="T87" fmla="*/ 6 h 69"/>
                <a:gd name="T88" fmla="*/ 49 w 608"/>
                <a:gd name="T89" fmla="*/ 6 h 69"/>
                <a:gd name="T90" fmla="*/ 0 w 608"/>
                <a:gd name="T91" fmla="*/ 6 h 69"/>
                <a:gd name="T92" fmla="*/ 0 w 608"/>
                <a:gd name="T93" fmla="*/ 5 h 6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08"/>
                <a:gd name="T142" fmla="*/ 0 h 69"/>
                <a:gd name="T143" fmla="*/ 608 w 608"/>
                <a:gd name="T144" fmla="*/ 69 h 6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08" h="69">
                  <a:moveTo>
                    <a:pt x="0" y="40"/>
                  </a:moveTo>
                  <a:lnTo>
                    <a:pt x="13" y="37"/>
                  </a:lnTo>
                  <a:lnTo>
                    <a:pt x="27" y="37"/>
                  </a:lnTo>
                  <a:lnTo>
                    <a:pt x="41" y="37"/>
                  </a:lnTo>
                  <a:lnTo>
                    <a:pt x="59" y="37"/>
                  </a:lnTo>
                  <a:lnTo>
                    <a:pt x="68" y="37"/>
                  </a:lnTo>
                  <a:lnTo>
                    <a:pt x="87" y="37"/>
                  </a:lnTo>
                  <a:lnTo>
                    <a:pt x="100" y="37"/>
                  </a:lnTo>
                  <a:lnTo>
                    <a:pt x="119" y="37"/>
                  </a:lnTo>
                  <a:lnTo>
                    <a:pt x="128" y="35"/>
                  </a:lnTo>
                  <a:lnTo>
                    <a:pt x="141" y="35"/>
                  </a:lnTo>
                  <a:lnTo>
                    <a:pt x="155" y="35"/>
                  </a:lnTo>
                  <a:lnTo>
                    <a:pt x="169" y="35"/>
                  </a:lnTo>
                  <a:lnTo>
                    <a:pt x="182" y="35"/>
                  </a:lnTo>
                  <a:lnTo>
                    <a:pt x="201" y="35"/>
                  </a:lnTo>
                  <a:lnTo>
                    <a:pt x="210" y="35"/>
                  </a:lnTo>
                  <a:lnTo>
                    <a:pt x="224" y="35"/>
                  </a:lnTo>
                  <a:lnTo>
                    <a:pt x="237" y="32"/>
                  </a:lnTo>
                  <a:lnTo>
                    <a:pt x="251" y="32"/>
                  </a:lnTo>
                  <a:lnTo>
                    <a:pt x="260" y="29"/>
                  </a:lnTo>
                  <a:lnTo>
                    <a:pt x="278" y="29"/>
                  </a:lnTo>
                  <a:lnTo>
                    <a:pt x="292" y="29"/>
                  </a:lnTo>
                  <a:lnTo>
                    <a:pt x="301" y="26"/>
                  </a:lnTo>
                  <a:lnTo>
                    <a:pt x="315" y="26"/>
                  </a:lnTo>
                  <a:lnTo>
                    <a:pt x="329" y="26"/>
                  </a:lnTo>
                  <a:lnTo>
                    <a:pt x="338" y="26"/>
                  </a:lnTo>
                  <a:lnTo>
                    <a:pt x="352" y="23"/>
                  </a:lnTo>
                  <a:lnTo>
                    <a:pt x="361" y="23"/>
                  </a:lnTo>
                  <a:lnTo>
                    <a:pt x="374" y="23"/>
                  </a:lnTo>
                  <a:lnTo>
                    <a:pt x="388" y="20"/>
                  </a:lnTo>
                  <a:lnTo>
                    <a:pt x="397" y="20"/>
                  </a:lnTo>
                  <a:lnTo>
                    <a:pt x="411" y="20"/>
                  </a:lnTo>
                  <a:lnTo>
                    <a:pt x="425" y="20"/>
                  </a:lnTo>
                  <a:lnTo>
                    <a:pt x="443" y="17"/>
                  </a:lnTo>
                  <a:lnTo>
                    <a:pt x="461" y="17"/>
                  </a:lnTo>
                  <a:lnTo>
                    <a:pt x="480" y="12"/>
                  </a:lnTo>
                  <a:lnTo>
                    <a:pt x="498" y="12"/>
                  </a:lnTo>
                  <a:lnTo>
                    <a:pt x="516" y="12"/>
                  </a:lnTo>
                  <a:lnTo>
                    <a:pt x="530" y="9"/>
                  </a:lnTo>
                  <a:lnTo>
                    <a:pt x="544" y="6"/>
                  </a:lnTo>
                  <a:lnTo>
                    <a:pt x="557" y="6"/>
                  </a:lnTo>
                  <a:lnTo>
                    <a:pt x="566" y="3"/>
                  </a:lnTo>
                  <a:lnTo>
                    <a:pt x="580" y="0"/>
                  </a:lnTo>
                  <a:lnTo>
                    <a:pt x="585" y="0"/>
                  </a:lnTo>
                  <a:lnTo>
                    <a:pt x="594" y="0"/>
                  </a:lnTo>
                  <a:lnTo>
                    <a:pt x="603" y="0"/>
                  </a:lnTo>
                  <a:lnTo>
                    <a:pt x="608" y="0"/>
                  </a:lnTo>
                  <a:lnTo>
                    <a:pt x="608" y="29"/>
                  </a:lnTo>
                  <a:lnTo>
                    <a:pt x="603" y="29"/>
                  </a:lnTo>
                  <a:lnTo>
                    <a:pt x="598" y="29"/>
                  </a:lnTo>
                  <a:lnTo>
                    <a:pt x="585" y="29"/>
                  </a:lnTo>
                  <a:lnTo>
                    <a:pt x="580" y="32"/>
                  </a:lnTo>
                  <a:lnTo>
                    <a:pt x="571" y="32"/>
                  </a:lnTo>
                  <a:lnTo>
                    <a:pt x="562" y="35"/>
                  </a:lnTo>
                  <a:lnTo>
                    <a:pt x="548" y="35"/>
                  </a:lnTo>
                  <a:lnTo>
                    <a:pt x="534" y="35"/>
                  </a:lnTo>
                  <a:lnTo>
                    <a:pt x="525" y="35"/>
                  </a:lnTo>
                  <a:lnTo>
                    <a:pt x="512" y="37"/>
                  </a:lnTo>
                  <a:lnTo>
                    <a:pt x="498" y="37"/>
                  </a:lnTo>
                  <a:lnTo>
                    <a:pt x="480" y="37"/>
                  </a:lnTo>
                  <a:lnTo>
                    <a:pt x="466" y="40"/>
                  </a:lnTo>
                  <a:lnTo>
                    <a:pt x="448" y="40"/>
                  </a:lnTo>
                  <a:lnTo>
                    <a:pt x="434" y="40"/>
                  </a:lnTo>
                  <a:lnTo>
                    <a:pt x="416" y="43"/>
                  </a:lnTo>
                  <a:lnTo>
                    <a:pt x="402" y="43"/>
                  </a:lnTo>
                  <a:lnTo>
                    <a:pt x="384" y="46"/>
                  </a:lnTo>
                  <a:lnTo>
                    <a:pt x="370" y="49"/>
                  </a:lnTo>
                  <a:lnTo>
                    <a:pt x="352" y="49"/>
                  </a:lnTo>
                  <a:lnTo>
                    <a:pt x="333" y="49"/>
                  </a:lnTo>
                  <a:lnTo>
                    <a:pt x="320" y="54"/>
                  </a:lnTo>
                  <a:lnTo>
                    <a:pt x="301" y="54"/>
                  </a:lnTo>
                  <a:lnTo>
                    <a:pt x="292" y="54"/>
                  </a:lnTo>
                  <a:lnTo>
                    <a:pt x="278" y="54"/>
                  </a:lnTo>
                  <a:lnTo>
                    <a:pt x="260" y="54"/>
                  </a:lnTo>
                  <a:lnTo>
                    <a:pt x="251" y="57"/>
                  </a:lnTo>
                  <a:lnTo>
                    <a:pt x="242" y="57"/>
                  </a:lnTo>
                  <a:lnTo>
                    <a:pt x="228" y="60"/>
                  </a:lnTo>
                  <a:lnTo>
                    <a:pt x="224" y="60"/>
                  </a:lnTo>
                  <a:lnTo>
                    <a:pt x="201" y="60"/>
                  </a:lnTo>
                  <a:lnTo>
                    <a:pt x="187" y="63"/>
                  </a:lnTo>
                  <a:lnTo>
                    <a:pt x="164" y="63"/>
                  </a:lnTo>
                  <a:lnTo>
                    <a:pt x="146" y="63"/>
                  </a:lnTo>
                  <a:lnTo>
                    <a:pt x="128" y="63"/>
                  </a:lnTo>
                  <a:lnTo>
                    <a:pt x="109" y="63"/>
                  </a:lnTo>
                  <a:lnTo>
                    <a:pt x="91" y="66"/>
                  </a:lnTo>
                  <a:lnTo>
                    <a:pt x="77" y="69"/>
                  </a:lnTo>
                  <a:lnTo>
                    <a:pt x="59" y="69"/>
                  </a:lnTo>
                  <a:lnTo>
                    <a:pt x="45" y="69"/>
                  </a:lnTo>
                  <a:lnTo>
                    <a:pt x="32" y="69"/>
                  </a:lnTo>
                  <a:lnTo>
                    <a:pt x="23" y="69"/>
                  </a:lnTo>
                  <a:lnTo>
                    <a:pt x="0" y="69"/>
                  </a:lnTo>
                  <a:lnTo>
                    <a:pt x="0" y="4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44" name="Freeform 36"/>
            <p:cNvSpPr>
              <a:spLocks/>
            </p:cNvSpPr>
            <p:nvPr>
              <p:custDataLst>
                <p:tags r:id="rId243"/>
              </p:custDataLst>
            </p:nvPr>
          </p:nvSpPr>
          <p:spPr bwMode="gray">
            <a:xfrm>
              <a:off x="2328" y="1914"/>
              <a:ext cx="193" cy="794"/>
            </a:xfrm>
            <a:custGeom>
              <a:avLst/>
              <a:gdLst>
                <a:gd name="T0" fmla="*/ 0 w 188"/>
                <a:gd name="T1" fmla="*/ 82 h 869"/>
                <a:gd name="T2" fmla="*/ 45 w 188"/>
                <a:gd name="T3" fmla="*/ 84 h 869"/>
                <a:gd name="T4" fmla="*/ 69 w 188"/>
                <a:gd name="T5" fmla="*/ 84 h 869"/>
                <a:gd name="T6" fmla="*/ 127 w 188"/>
                <a:gd name="T7" fmla="*/ 84 h 869"/>
                <a:gd name="T8" fmla="*/ 162 w 188"/>
                <a:gd name="T9" fmla="*/ 84 h 869"/>
                <a:gd name="T10" fmla="*/ 207 w 188"/>
                <a:gd name="T11" fmla="*/ 84 h 869"/>
                <a:gd name="T12" fmla="*/ 253 w 188"/>
                <a:gd name="T13" fmla="*/ 82 h 869"/>
                <a:gd name="T14" fmla="*/ 253 w 188"/>
                <a:gd name="T15" fmla="*/ 81 h 869"/>
                <a:gd name="T16" fmla="*/ 253 w 188"/>
                <a:gd name="T17" fmla="*/ 80 h 869"/>
                <a:gd name="T18" fmla="*/ 264 w 188"/>
                <a:gd name="T19" fmla="*/ 78 h 869"/>
                <a:gd name="T20" fmla="*/ 264 w 188"/>
                <a:gd name="T21" fmla="*/ 77 h 869"/>
                <a:gd name="T22" fmla="*/ 264 w 188"/>
                <a:gd name="T23" fmla="*/ 75 h 869"/>
                <a:gd name="T24" fmla="*/ 271 w 188"/>
                <a:gd name="T25" fmla="*/ 72 h 869"/>
                <a:gd name="T26" fmla="*/ 271 w 188"/>
                <a:gd name="T27" fmla="*/ 70 h 869"/>
                <a:gd name="T28" fmla="*/ 271 w 188"/>
                <a:gd name="T29" fmla="*/ 68 h 869"/>
                <a:gd name="T30" fmla="*/ 281 w 188"/>
                <a:gd name="T31" fmla="*/ 64 h 869"/>
                <a:gd name="T32" fmla="*/ 281 w 188"/>
                <a:gd name="T33" fmla="*/ 63 h 869"/>
                <a:gd name="T34" fmla="*/ 290 w 188"/>
                <a:gd name="T35" fmla="*/ 58 h 869"/>
                <a:gd name="T36" fmla="*/ 290 w 188"/>
                <a:gd name="T37" fmla="*/ 56 h 869"/>
                <a:gd name="T38" fmla="*/ 290 w 188"/>
                <a:gd name="T39" fmla="*/ 53 h 869"/>
                <a:gd name="T40" fmla="*/ 290 w 188"/>
                <a:gd name="T41" fmla="*/ 48 h 869"/>
                <a:gd name="T42" fmla="*/ 308 w 188"/>
                <a:gd name="T43" fmla="*/ 46 h 869"/>
                <a:gd name="T44" fmla="*/ 308 w 188"/>
                <a:gd name="T45" fmla="*/ 43 h 869"/>
                <a:gd name="T46" fmla="*/ 316 w 188"/>
                <a:gd name="T47" fmla="*/ 39 h 869"/>
                <a:gd name="T48" fmla="*/ 316 w 188"/>
                <a:gd name="T49" fmla="*/ 37 h 869"/>
                <a:gd name="T50" fmla="*/ 316 w 188"/>
                <a:gd name="T51" fmla="*/ 34 h 869"/>
                <a:gd name="T52" fmla="*/ 325 w 188"/>
                <a:gd name="T53" fmla="*/ 30 h 869"/>
                <a:gd name="T54" fmla="*/ 325 w 188"/>
                <a:gd name="T55" fmla="*/ 26 h 869"/>
                <a:gd name="T56" fmla="*/ 334 w 188"/>
                <a:gd name="T57" fmla="*/ 24 h 869"/>
                <a:gd name="T58" fmla="*/ 334 w 188"/>
                <a:gd name="T59" fmla="*/ 22 h 869"/>
                <a:gd name="T60" fmla="*/ 334 w 188"/>
                <a:gd name="T61" fmla="*/ 18 h 869"/>
                <a:gd name="T62" fmla="*/ 345 w 188"/>
                <a:gd name="T63" fmla="*/ 16 h 869"/>
                <a:gd name="T64" fmla="*/ 345 w 188"/>
                <a:gd name="T65" fmla="*/ 14 h 869"/>
                <a:gd name="T66" fmla="*/ 354 w 188"/>
                <a:gd name="T67" fmla="*/ 13 h 869"/>
                <a:gd name="T68" fmla="*/ 361 w 188"/>
                <a:gd name="T69" fmla="*/ 11 h 869"/>
                <a:gd name="T70" fmla="*/ 361 w 188"/>
                <a:gd name="T71" fmla="*/ 10 h 869"/>
                <a:gd name="T72" fmla="*/ 371 w 188"/>
                <a:gd name="T73" fmla="*/ 9 h 869"/>
                <a:gd name="T74" fmla="*/ 371 w 188"/>
                <a:gd name="T75" fmla="*/ 6 h 869"/>
                <a:gd name="T76" fmla="*/ 345 w 188"/>
                <a:gd name="T77" fmla="*/ 5 h 869"/>
                <a:gd name="T78" fmla="*/ 298 w 188"/>
                <a:gd name="T79" fmla="*/ 5 h 869"/>
                <a:gd name="T80" fmla="*/ 253 w 188"/>
                <a:gd name="T81" fmla="*/ 5 h 869"/>
                <a:gd name="T82" fmla="*/ 200 w 188"/>
                <a:gd name="T83" fmla="*/ 5 h 869"/>
                <a:gd name="T84" fmla="*/ 153 w 188"/>
                <a:gd name="T85" fmla="*/ 5 h 869"/>
                <a:gd name="T86" fmla="*/ 110 w 188"/>
                <a:gd name="T87" fmla="*/ 0 h 86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8"/>
                <a:gd name="T133" fmla="*/ 0 h 869"/>
                <a:gd name="T134" fmla="*/ 188 w 188"/>
                <a:gd name="T135" fmla="*/ 869 h 86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8" h="869">
                  <a:moveTo>
                    <a:pt x="55" y="0"/>
                  </a:moveTo>
                  <a:lnTo>
                    <a:pt x="0" y="860"/>
                  </a:lnTo>
                  <a:lnTo>
                    <a:pt x="9" y="860"/>
                  </a:lnTo>
                  <a:lnTo>
                    <a:pt x="19" y="863"/>
                  </a:lnTo>
                  <a:lnTo>
                    <a:pt x="28" y="863"/>
                  </a:lnTo>
                  <a:lnTo>
                    <a:pt x="37" y="866"/>
                  </a:lnTo>
                  <a:lnTo>
                    <a:pt x="51" y="866"/>
                  </a:lnTo>
                  <a:lnTo>
                    <a:pt x="64" y="869"/>
                  </a:lnTo>
                  <a:lnTo>
                    <a:pt x="69" y="869"/>
                  </a:lnTo>
                  <a:lnTo>
                    <a:pt x="83" y="869"/>
                  </a:lnTo>
                  <a:lnTo>
                    <a:pt x="92" y="869"/>
                  </a:lnTo>
                  <a:lnTo>
                    <a:pt x="105" y="869"/>
                  </a:lnTo>
                  <a:lnTo>
                    <a:pt x="119" y="866"/>
                  </a:lnTo>
                  <a:lnTo>
                    <a:pt x="128" y="860"/>
                  </a:lnTo>
                  <a:lnTo>
                    <a:pt x="128" y="857"/>
                  </a:lnTo>
                  <a:lnTo>
                    <a:pt x="128" y="849"/>
                  </a:lnTo>
                  <a:lnTo>
                    <a:pt x="128" y="843"/>
                  </a:lnTo>
                  <a:lnTo>
                    <a:pt x="128" y="838"/>
                  </a:lnTo>
                  <a:lnTo>
                    <a:pt x="128" y="829"/>
                  </a:lnTo>
                  <a:lnTo>
                    <a:pt x="133" y="823"/>
                  </a:lnTo>
                  <a:lnTo>
                    <a:pt x="133" y="812"/>
                  </a:lnTo>
                  <a:lnTo>
                    <a:pt x="133" y="803"/>
                  </a:lnTo>
                  <a:lnTo>
                    <a:pt x="133" y="795"/>
                  </a:lnTo>
                  <a:lnTo>
                    <a:pt x="133" y="786"/>
                  </a:lnTo>
                  <a:lnTo>
                    <a:pt x="133" y="775"/>
                  </a:lnTo>
                  <a:lnTo>
                    <a:pt x="137" y="761"/>
                  </a:lnTo>
                  <a:lnTo>
                    <a:pt x="137" y="749"/>
                  </a:lnTo>
                  <a:lnTo>
                    <a:pt x="137" y="738"/>
                  </a:lnTo>
                  <a:lnTo>
                    <a:pt x="137" y="724"/>
                  </a:lnTo>
                  <a:lnTo>
                    <a:pt x="137" y="709"/>
                  </a:lnTo>
                  <a:lnTo>
                    <a:pt x="137" y="695"/>
                  </a:lnTo>
                  <a:lnTo>
                    <a:pt x="142" y="678"/>
                  </a:lnTo>
                  <a:lnTo>
                    <a:pt x="142" y="664"/>
                  </a:lnTo>
                  <a:lnTo>
                    <a:pt x="142" y="650"/>
                  </a:lnTo>
                  <a:lnTo>
                    <a:pt x="142" y="635"/>
                  </a:lnTo>
                  <a:lnTo>
                    <a:pt x="147" y="618"/>
                  </a:lnTo>
                  <a:lnTo>
                    <a:pt x="147" y="601"/>
                  </a:lnTo>
                  <a:lnTo>
                    <a:pt x="147" y="584"/>
                  </a:lnTo>
                  <a:lnTo>
                    <a:pt x="147" y="567"/>
                  </a:lnTo>
                  <a:lnTo>
                    <a:pt x="147" y="550"/>
                  </a:lnTo>
                  <a:lnTo>
                    <a:pt x="147" y="533"/>
                  </a:lnTo>
                  <a:lnTo>
                    <a:pt x="147" y="519"/>
                  </a:lnTo>
                  <a:lnTo>
                    <a:pt x="151" y="499"/>
                  </a:lnTo>
                  <a:lnTo>
                    <a:pt x="156" y="482"/>
                  </a:lnTo>
                  <a:lnTo>
                    <a:pt x="156" y="464"/>
                  </a:lnTo>
                  <a:lnTo>
                    <a:pt x="156" y="447"/>
                  </a:lnTo>
                  <a:lnTo>
                    <a:pt x="156" y="430"/>
                  </a:lnTo>
                  <a:lnTo>
                    <a:pt x="160" y="410"/>
                  </a:lnTo>
                  <a:lnTo>
                    <a:pt x="160" y="396"/>
                  </a:lnTo>
                  <a:lnTo>
                    <a:pt x="160" y="376"/>
                  </a:lnTo>
                  <a:lnTo>
                    <a:pt x="160" y="362"/>
                  </a:lnTo>
                  <a:lnTo>
                    <a:pt x="160" y="345"/>
                  </a:lnTo>
                  <a:lnTo>
                    <a:pt x="160" y="328"/>
                  </a:lnTo>
                  <a:lnTo>
                    <a:pt x="165" y="311"/>
                  </a:lnTo>
                  <a:lnTo>
                    <a:pt x="165" y="294"/>
                  </a:lnTo>
                  <a:lnTo>
                    <a:pt x="165" y="282"/>
                  </a:lnTo>
                  <a:lnTo>
                    <a:pt x="165" y="265"/>
                  </a:lnTo>
                  <a:lnTo>
                    <a:pt x="169" y="251"/>
                  </a:lnTo>
                  <a:lnTo>
                    <a:pt x="169" y="237"/>
                  </a:lnTo>
                  <a:lnTo>
                    <a:pt x="169" y="222"/>
                  </a:lnTo>
                  <a:lnTo>
                    <a:pt x="169" y="208"/>
                  </a:lnTo>
                  <a:lnTo>
                    <a:pt x="169" y="194"/>
                  </a:lnTo>
                  <a:lnTo>
                    <a:pt x="174" y="183"/>
                  </a:lnTo>
                  <a:lnTo>
                    <a:pt x="174" y="171"/>
                  </a:lnTo>
                  <a:lnTo>
                    <a:pt x="174" y="160"/>
                  </a:lnTo>
                  <a:lnTo>
                    <a:pt x="174" y="148"/>
                  </a:lnTo>
                  <a:lnTo>
                    <a:pt x="179" y="140"/>
                  </a:lnTo>
                  <a:lnTo>
                    <a:pt x="179" y="131"/>
                  </a:lnTo>
                  <a:lnTo>
                    <a:pt x="179" y="123"/>
                  </a:lnTo>
                  <a:lnTo>
                    <a:pt x="183" y="114"/>
                  </a:lnTo>
                  <a:lnTo>
                    <a:pt x="183" y="106"/>
                  </a:lnTo>
                  <a:lnTo>
                    <a:pt x="183" y="103"/>
                  </a:lnTo>
                  <a:lnTo>
                    <a:pt x="183" y="91"/>
                  </a:lnTo>
                  <a:lnTo>
                    <a:pt x="188" y="89"/>
                  </a:lnTo>
                  <a:lnTo>
                    <a:pt x="188" y="77"/>
                  </a:lnTo>
                  <a:lnTo>
                    <a:pt x="188" y="69"/>
                  </a:lnTo>
                  <a:lnTo>
                    <a:pt x="179" y="60"/>
                  </a:lnTo>
                  <a:lnTo>
                    <a:pt x="174" y="54"/>
                  </a:lnTo>
                  <a:lnTo>
                    <a:pt x="160" y="46"/>
                  </a:lnTo>
                  <a:lnTo>
                    <a:pt x="151" y="40"/>
                  </a:lnTo>
                  <a:lnTo>
                    <a:pt x="137" y="35"/>
                  </a:lnTo>
                  <a:lnTo>
                    <a:pt x="128" y="29"/>
                  </a:lnTo>
                  <a:lnTo>
                    <a:pt x="115" y="20"/>
                  </a:lnTo>
                  <a:lnTo>
                    <a:pt x="101" y="15"/>
                  </a:lnTo>
                  <a:lnTo>
                    <a:pt x="87" y="12"/>
                  </a:lnTo>
                  <a:lnTo>
                    <a:pt x="78" y="9"/>
                  </a:lnTo>
                  <a:lnTo>
                    <a:pt x="60" y="3"/>
                  </a:lnTo>
                  <a:lnTo>
                    <a:pt x="55"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45" name="Freeform 37"/>
            <p:cNvSpPr>
              <a:spLocks/>
            </p:cNvSpPr>
            <p:nvPr>
              <p:custDataLst>
                <p:tags r:id="rId244"/>
              </p:custDataLst>
            </p:nvPr>
          </p:nvSpPr>
          <p:spPr bwMode="gray">
            <a:xfrm>
              <a:off x="3443" y="1961"/>
              <a:ext cx="188" cy="716"/>
            </a:xfrm>
            <a:custGeom>
              <a:avLst/>
              <a:gdLst>
                <a:gd name="T0" fmla="*/ 276 w 183"/>
                <a:gd name="T1" fmla="*/ 5 h 783"/>
                <a:gd name="T2" fmla="*/ 285 w 183"/>
                <a:gd name="T3" fmla="*/ 5 h 783"/>
                <a:gd name="T4" fmla="*/ 304 w 183"/>
                <a:gd name="T5" fmla="*/ 6 h 783"/>
                <a:gd name="T6" fmla="*/ 304 w 183"/>
                <a:gd name="T7" fmla="*/ 11 h 783"/>
                <a:gd name="T8" fmla="*/ 322 w 183"/>
                <a:gd name="T9" fmla="*/ 15 h 783"/>
                <a:gd name="T10" fmla="*/ 334 w 183"/>
                <a:gd name="T11" fmla="*/ 18 h 783"/>
                <a:gd name="T12" fmla="*/ 342 w 183"/>
                <a:gd name="T13" fmla="*/ 24 h 783"/>
                <a:gd name="T14" fmla="*/ 342 w 183"/>
                <a:gd name="T15" fmla="*/ 28 h 783"/>
                <a:gd name="T16" fmla="*/ 351 w 183"/>
                <a:gd name="T17" fmla="*/ 34 h 783"/>
                <a:gd name="T18" fmla="*/ 359 w 183"/>
                <a:gd name="T19" fmla="*/ 37 h 783"/>
                <a:gd name="T20" fmla="*/ 369 w 183"/>
                <a:gd name="T21" fmla="*/ 44 h 783"/>
                <a:gd name="T22" fmla="*/ 369 w 183"/>
                <a:gd name="T23" fmla="*/ 48 h 783"/>
                <a:gd name="T24" fmla="*/ 369 w 183"/>
                <a:gd name="T25" fmla="*/ 53 h 783"/>
                <a:gd name="T26" fmla="*/ 369 w 183"/>
                <a:gd name="T27" fmla="*/ 57 h 783"/>
                <a:gd name="T28" fmla="*/ 369 w 183"/>
                <a:gd name="T29" fmla="*/ 61 h 783"/>
                <a:gd name="T30" fmla="*/ 369 w 183"/>
                <a:gd name="T31" fmla="*/ 65 h 783"/>
                <a:gd name="T32" fmla="*/ 369 w 183"/>
                <a:gd name="T33" fmla="*/ 69 h 783"/>
                <a:gd name="T34" fmla="*/ 369 w 183"/>
                <a:gd name="T35" fmla="*/ 71 h 783"/>
                <a:gd name="T36" fmla="*/ 369 w 183"/>
                <a:gd name="T37" fmla="*/ 73 h 783"/>
                <a:gd name="T38" fmla="*/ 359 w 183"/>
                <a:gd name="T39" fmla="*/ 76 h 783"/>
                <a:gd name="T40" fmla="*/ 351 w 183"/>
                <a:gd name="T41" fmla="*/ 77 h 783"/>
                <a:gd name="T42" fmla="*/ 259 w 183"/>
                <a:gd name="T43" fmla="*/ 76 h 783"/>
                <a:gd name="T44" fmla="*/ 155 w 183"/>
                <a:gd name="T45" fmla="*/ 76 h 783"/>
                <a:gd name="T46" fmla="*/ 128 w 183"/>
                <a:gd name="T47" fmla="*/ 76 h 783"/>
                <a:gd name="T48" fmla="*/ 128 w 183"/>
                <a:gd name="T49" fmla="*/ 74 h 783"/>
                <a:gd name="T50" fmla="*/ 128 w 183"/>
                <a:gd name="T51" fmla="*/ 71 h 783"/>
                <a:gd name="T52" fmla="*/ 128 w 183"/>
                <a:gd name="T53" fmla="*/ 69 h 783"/>
                <a:gd name="T54" fmla="*/ 120 w 183"/>
                <a:gd name="T55" fmla="*/ 66 h 783"/>
                <a:gd name="T56" fmla="*/ 120 w 183"/>
                <a:gd name="T57" fmla="*/ 63 h 783"/>
                <a:gd name="T58" fmla="*/ 120 w 183"/>
                <a:gd name="T59" fmla="*/ 59 h 783"/>
                <a:gd name="T60" fmla="*/ 114 w 183"/>
                <a:gd name="T61" fmla="*/ 56 h 783"/>
                <a:gd name="T62" fmla="*/ 99 w 183"/>
                <a:gd name="T63" fmla="*/ 52 h 783"/>
                <a:gd name="T64" fmla="*/ 99 w 183"/>
                <a:gd name="T65" fmla="*/ 48 h 783"/>
                <a:gd name="T66" fmla="*/ 99 w 183"/>
                <a:gd name="T67" fmla="*/ 44 h 783"/>
                <a:gd name="T68" fmla="*/ 89 w 183"/>
                <a:gd name="T69" fmla="*/ 40 h 783"/>
                <a:gd name="T70" fmla="*/ 89 w 183"/>
                <a:gd name="T71" fmla="*/ 36 h 783"/>
                <a:gd name="T72" fmla="*/ 89 w 183"/>
                <a:gd name="T73" fmla="*/ 31 h 783"/>
                <a:gd name="T74" fmla="*/ 89 w 183"/>
                <a:gd name="T75" fmla="*/ 28 h 783"/>
                <a:gd name="T76" fmla="*/ 89 w 183"/>
                <a:gd name="T77" fmla="*/ 25 h 783"/>
                <a:gd name="T78" fmla="*/ 89 w 183"/>
                <a:gd name="T79" fmla="*/ 22 h 783"/>
                <a:gd name="T80" fmla="*/ 89 w 183"/>
                <a:gd name="T81" fmla="*/ 20 h 783"/>
                <a:gd name="T82" fmla="*/ 89 w 183"/>
                <a:gd name="T83" fmla="*/ 16 h 783"/>
                <a:gd name="T84" fmla="*/ 89 w 183"/>
                <a:gd name="T85" fmla="*/ 15 h 783"/>
                <a:gd name="T86" fmla="*/ 79 w 183"/>
                <a:gd name="T87" fmla="*/ 13 h 783"/>
                <a:gd name="T88" fmla="*/ 71 w 183"/>
                <a:gd name="T89" fmla="*/ 10 h 783"/>
                <a:gd name="T90" fmla="*/ 53 w 183"/>
                <a:gd name="T91" fmla="*/ 6 h 783"/>
                <a:gd name="T92" fmla="*/ 14 w 183"/>
                <a:gd name="T93" fmla="*/ 5 h 783"/>
                <a:gd name="T94" fmla="*/ 0 w 183"/>
                <a:gd name="T95" fmla="*/ 5 h 783"/>
                <a:gd name="T96" fmla="*/ 269 w 183"/>
                <a:gd name="T97" fmla="*/ 0 h 7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3"/>
                <a:gd name="T148" fmla="*/ 0 h 783"/>
                <a:gd name="T149" fmla="*/ 183 w 183"/>
                <a:gd name="T150" fmla="*/ 783 h 78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3" h="783">
                  <a:moveTo>
                    <a:pt x="133" y="0"/>
                  </a:moveTo>
                  <a:lnTo>
                    <a:pt x="133" y="5"/>
                  </a:lnTo>
                  <a:lnTo>
                    <a:pt x="137" y="11"/>
                  </a:lnTo>
                  <a:lnTo>
                    <a:pt x="137" y="20"/>
                  </a:lnTo>
                  <a:lnTo>
                    <a:pt x="142" y="28"/>
                  </a:lnTo>
                  <a:lnTo>
                    <a:pt x="142" y="39"/>
                  </a:lnTo>
                  <a:lnTo>
                    <a:pt x="146" y="48"/>
                  </a:lnTo>
                  <a:lnTo>
                    <a:pt x="146" y="59"/>
                  </a:lnTo>
                  <a:lnTo>
                    <a:pt x="151" y="71"/>
                  </a:lnTo>
                  <a:lnTo>
                    <a:pt x="151" y="82"/>
                  </a:lnTo>
                  <a:lnTo>
                    <a:pt x="151" y="94"/>
                  </a:lnTo>
                  <a:lnTo>
                    <a:pt x="151" y="108"/>
                  </a:lnTo>
                  <a:lnTo>
                    <a:pt x="155" y="122"/>
                  </a:lnTo>
                  <a:lnTo>
                    <a:pt x="155" y="136"/>
                  </a:lnTo>
                  <a:lnTo>
                    <a:pt x="160" y="151"/>
                  </a:lnTo>
                  <a:lnTo>
                    <a:pt x="160" y="165"/>
                  </a:lnTo>
                  <a:lnTo>
                    <a:pt x="165" y="179"/>
                  </a:lnTo>
                  <a:lnTo>
                    <a:pt x="165" y="193"/>
                  </a:lnTo>
                  <a:lnTo>
                    <a:pt x="165" y="207"/>
                  </a:lnTo>
                  <a:lnTo>
                    <a:pt x="169" y="225"/>
                  </a:lnTo>
                  <a:lnTo>
                    <a:pt x="169" y="242"/>
                  </a:lnTo>
                  <a:lnTo>
                    <a:pt x="169" y="256"/>
                  </a:lnTo>
                  <a:lnTo>
                    <a:pt x="169" y="273"/>
                  </a:lnTo>
                  <a:lnTo>
                    <a:pt x="169" y="290"/>
                  </a:lnTo>
                  <a:lnTo>
                    <a:pt x="174" y="307"/>
                  </a:lnTo>
                  <a:lnTo>
                    <a:pt x="174" y="324"/>
                  </a:lnTo>
                  <a:lnTo>
                    <a:pt x="174" y="338"/>
                  </a:lnTo>
                  <a:lnTo>
                    <a:pt x="174" y="356"/>
                  </a:lnTo>
                  <a:lnTo>
                    <a:pt x="178" y="373"/>
                  </a:lnTo>
                  <a:lnTo>
                    <a:pt x="178" y="390"/>
                  </a:lnTo>
                  <a:lnTo>
                    <a:pt x="178" y="407"/>
                  </a:lnTo>
                  <a:lnTo>
                    <a:pt x="183" y="424"/>
                  </a:lnTo>
                  <a:lnTo>
                    <a:pt x="183" y="444"/>
                  </a:lnTo>
                  <a:lnTo>
                    <a:pt x="183" y="458"/>
                  </a:lnTo>
                  <a:lnTo>
                    <a:pt x="183" y="475"/>
                  </a:lnTo>
                  <a:lnTo>
                    <a:pt x="183" y="489"/>
                  </a:lnTo>
                  <a:lnTo>
                    <a:pt x="183" y="509"/>
                  </a:lnTo>
                  <a:lnTo>
                    <a:pt x="183" y="521"/>
                  </a:lnTo>
                  <a:lnTo>
                    <a:pt x="183" y="538"/>
                  </a:lnTo>
                  <a:lnTo>
                    <a:pt x="183" y="555"/>
                  </a:lnTo>
                  <a:lnTo>
                    <a:pt x="183" y="569"/>
                  </a:lnTo>
                  <a:lnTo>
                    <a:pt x="183" y="583"/>
                  </a:lnTo>
                  <a:lnTo>
                    <a:pt x="183" y="598"/>
                  </a:lnTo>
                  <a:lnTo>
                    <a:pt x="183" y="612"/>
                  </a:lnTo>
                  <a:lnTo>
                    <a:pt x="183" y="626"/>
                  </a:lnTo>
                  <a:lnTo>
                    <a:pt x="183" y="637"/>
                  </a:lnTo>
                  <a:lnTo>
                    <a:pt x="183" y="655"/>
                  </a:lnTo>
                  <a:lnTo>
                    <a:pt x="183" y="666"/>
                  </a:lnTo>
                  <a:lnTo>
                    <a:pt x="183" y="680"/>
                  </a:lnTo>
                  <a:lnTo>
                    <a:pt x="183" y="689"/>
                  </a:lnTo>
                  <a:lnTo>
                    <a:pt x="183" y="700"/>
                  </a:lnTo>
                  <a:lnTo>
                    <a:pt x="183" y="709"/>
                  </a:lnTo>
                  <a:lnTo>
                    <a:pt x="183" y="720"/>
                  </a:lnTo>
                  <a:lnTo>
                    <a:pt x="183" y="729"/>
                  </a:lnTo>
                  <a:lnTo>
                    <a:pt x="183" y="737"/>
                  </a:lnTo>
                  <a:lnTo>
                    <a:pt x="183" y="746"/>
                  </a:lnTo>
                  <a:lnTo>
                    <a:pt x="183" y="751"/>
                  </a:lnTo>
                  <a:lnTo>
                    <a:pt x="178" y="760"/>
                  </a:lnTo>
                  <a:lnTo>
                    <a:pt x="178" y="766"/>
                  </a:lnTo>
                  <a:lnTo>
                    <a:pt x="178" y="771"/>
                  </a:lnTo>
                  <a:lnTo>
                    <a:pt x="178" y="774"/>
                  </a:lnTo>
                  <a:lnTo>
                    <a:pt x="174" y="780"/>
                  </a:lnTo>
                  <a:lnTo>
                    <a:pt x="174" y="783"/>
                  </a:lnTo>
                  <a:lnTo>
                    <a:pt x="165" y="780"/>
                  </a:lnTo>
                  <a:lnTo>
                    <a:pt x="151" y="780"/>
                  </a:lnTo>
                  <a:lnTo>
                    <a:pt x="128" y="780"/>
                  </a:lnTo>
                  <a:lnTo>
                    <a:pt x="110" y="780"/>
                  </a:lnTo>
                  <a:lnTo>
                    <a:pt x="96" y="777"/>
                  </a:lnTo>
                  <a:lnTo>
                    <a:pt x="78" y="777"/>
                  </a:lnTo>
                  <a:lnTo>
                    <a:pt x="69" y="777"/>
                  </a:lnTo>
                  <a:lnTo>
                    <a:pt x="64" y="777"/>
                  </a:lnTo>
                  <a:lnTo>
                    <a:pt x="64" y="771"/>
                  </a:lnTo>
                  <a:lnTo>
                    <a:pt x="64" y="763"/>
                  </a:lnTo>
                  <a:lnTo>
                    <a:pt x="64" y="754"/>
                  </a:lnTo>
                  <a:lnTo>
                    <a:pt x="64" y="749"/>
                  </a:lnTo>
                  <a:lnTo>
                    <a:pt x="64" y="740"/>
                  </a:lnTo>
                  <a:lnTo>
                    <a:pt x="64" y="734"/>
                  </a:lnTo>
                  <a:lnTo>
                    <a:pt x="64" y="726"/>
                  </a:lnTo>
                  <a:lnTo>
                    <a:pt x="64" y="714"/>
                  </a:lnTo>
                  <a:lnTo>
                    <a:pt x="64" y="709"/>
                  </a:lnTo>
                  <a:lnTo>
                    <a:pt x="64" y="700"/>
                  </a:lnTo>
                  <a:lnTo>
                    <a:pt x="64" y="692"/>
                  </a:lnTo>
                  <a:lnTo>
                    <a:pt x="59" y="680"/>
                  </a:lnTo>
                  <a:lnTo>
                    <a:pt x="59" y="669"/>
                  </a:lnTo>
                  <a:lnTo>
                    <a:pt x="59" y="657"/>
                  </a:lnTo>
                  <a:lnTo>
                    <a:pt x="59" y="646"/>
                  </a:lnTo>
                  <a:lnTo>
                    <a:pt x="59" y="632"/>
                  </a:lnTo>
                  <a:lnTo>
                    <a:pt x="59" y="620"/>
                  </a:lnTo>
                  <a:lnTo>
                    <a:pt x="59" y="609"/>
                  </a:lnTo>
                  <a:lnTo>
                    <a:pt x="59" y="598"/>
                  </a:lnTo>
                  <a:lnTo>
                    <a:pt x="55" y="583"/>
                  </a:lnTo>
                  <a:lnTo>
                    <a:pt x="55" y="572"/>
                  </a:lnTo>
                  <a:lnTo>
                    <a:pt x="50" y="558"/>
                  </a:lnTo>
                  <a:lnTo>
                    <a:pt x="50" y="543"/>
                  </a:lnTo>
                  <a:lnTo>
                    <a:pt x="50" y="529"/>
                  </a:lnTo>
                  <a:lnTo>
                    <a:pt x="50" y="521"/>
                  </a:lnTo>
                  <a:lnTo>
                    <a:pt x="50" y="506"/>
                  </a:lnTo>
                  <a:lnTo>
                    <a:pt x="50" y="492"/>
                  </a:lnTo>
                  <a:lnTo>
                    <a:pt x="50" y="478"/>
                  </a:lnTo>
                  <a:lnTo>
                    <a:pt x="50" y="464"/>
                  </a:lnTo>
                  <a:lnTo>
                    <a:pt x="50" y="450"/>
                  </a:lnTo>
                  <a:lnTo>
                    <a:pt x="50" y="435"/>
                  </a:lnTo>
                  <a:lnTo>
                    <a:pt x="46" y="421"/>
                  </a:lnTo>
                  <a:lnTo>
                    <a:pt x="46" y="407"/>
                  </a:lnTo>
                  <a:lnTo>
                    <a:pt x="46" y="393"/>
                  </a:lnTo>
                  <a:lnTo>
                    <a:pt x="46" y="381"/>
                  </a:lnTo>
                  <a:lnTo>
                    <a:pt x="46" y="367"/>
                  </a:lnTo>
                  <a:lnTo>
                    <a:pt x="46" y="353"/>
                  </a:lnTo>
                  <a:lnTo>
                    <a:pt x="46" y="338"/>
                  </a:lnTo>
                  <a:lnTo>
                    <a:pt x="46" y="327"/>
                  </a:lnTo>
                  <a:lnTo>
                    <a:pt x="46" y="313"/>
                  </a:lnTo>
                  <a:lnTo>
                    <a:pt x="46" y="301"/>
                  </a:lnTo>
                  <a:lnTo>
                    <a:pt x="46" y="290"/>
                  </a:lnTo>
                  <a:lnTo>
                    <a:pt x="46" y="279"/>
                  </a:lnTo>
                  <a:lnTo>
                    <a:pt x="46" y="267"/>
                  </a:lnTo>
                  <a:lnTo>
                    <a:pt x="46" y="256"/>
                  </a:lnTo>
                  <a:lnTo>
                    <a:pt x="46" y="244"/>
                  </a:lnTo>
                  <a:lnTo>
                    <a:pt x="46" y="233"/>
                  </a:lnTo>
                  <a:lnTo>
                    <a:pt x="46" y="225"/>
                  </a:lnTo>
                  <a:lnTo>
                    <a:pt x="46" y="213"/>
                  </a:lnTo>
                  <a:lnTo>
                    <a:pt x="46" y="207"/>
                  </a:lnTo>
                  <a:lnTo>
                    <a:pt x="46" y="199"/>
                  </a:lnTo>
                  <a:lnTo>
                    <a:pt x="46" y="188"/>
                  </a:lnTo>
                  <a:lnTo>
                    <a:pt x="46" y="182"/>
                  </a:lnTo>
                  <a:lnTo>
                    <a:pt x="46" y="176"/>
                  </a:lnTo>
                  <a:lnTo>
                    <a:pt x="46" y="170"/>
                  </a:lnTo>
                  <a:lnTo>
                    <a:pt x="46" y="159"/>
                  </a:lnTo>
                  <a:lnTo>
                    <a:pt x="46" y="153"/>
                  </a:lnTo>
                  <a:lnTo>
                    <a:pt x="41" y="145"/>
                  </a:lnTo>
                  <a:lnTo>
                    <a:pt x="41" y="136"/>
                  </a:lnTo>
                  <a:lnTo>
                    <a:pt x="41" y="131"/>
                  </a:lnTo>
                  <a:lnTo>
                    <a:pt x="41" y="125"/>
                  </a:lnTo>
                  <a:lnTo>
                    <a:pt x="41" y="113"/>
                  </a:lnTo>
                  <a:lnTo>
                    <a:pt x="37" y="102"/>
                  </a:lnTo>
                  <a:lnTo>
                    <a:pt x="32" y="91"/>
                  </a:lnTo>
                  <a:lnTo>
                    <a:pt x="27" y="79"/>
                  </a:lnTo>
                  <a:lnTo>
                    <a:pt x="27" y="71"/>
                  </a:lnTo>
                  <a:lnTo>
                    <a:pt x="23" y="62"/>
                  </a:lnTo>
                  <a:lnTo>
                    <a:pt x="18" y="54"/>
                  </a:lnTo>
                  <a:lnTo>
                    <a:pt x="14" y="48"/>
                  </a:lnTo>
                  <a:lnTo>
                    <a:pt x="9" y="39"/>
                  </a:lnTo>
                  <a:lnTo>
                    <a:pt x="5" y="37"/>
                  </a:lnTo>
                  <a:lnTo>
                    <a:pt x="0" y="31"/>
                  </a:lnTo>
                  <a:lnTo>
                    <a:pt x="0" y="28"/>
                  </a:lnTo>
                  <a:lnTo>
                    <a:pt x="133"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46" name="Freeform 38"/>
            <p:cNvSpPr>
              <a:spLocks/>
            </p:cNvSpPr>
            <p:nvPr>
              <p:custDataLst>
                <p:tags r:id="rId245"/>
              </p:custDataLst>
            </p:nvPr>
          </p:nvSpPr>
          <p:spPr bwMode="gray">
            <a:xfrm>
              <a:off x="1495" y="2448"/>
              <a:ext cx="168" cy="93"/>
            </a:xfrm>
            <a:custGeom>
              <a:avLst/>
              <a:gdLst>
                <a:gd name="T0" fmla="*/ 58 w 164"/>
                <a:gd name="T1" fmla="*/ 3 h 103"/>
                <a:gd name="T2" fmla="*/ 49 w 164"/>
                <a:gd name="T3" fmla="*/ 5 h 103"/>
                <a:gd name="T4" fmla="*/ 14 w 164"/>
                <a:gd name="T5" fmla="*/ 5 h 103"/>
                <a:gd name="T6" fmla="*/ 9 w 164"/>
                <a:gd name="T7" fmla="*/ 5 h 103"/>
                <a:gd name="T8" fmla="*/ 4 w 164"/>
                <a:gd name="T9" fmla="*/ 5 h 103"/>
                <a:gd name="T10" fmla="*/ 0 w 164"/>
                <a:gd name="T11" fmla="*/ 5 h 103"/>
                <a:gd name="T12" fmla="*/ 0 w 164"/>
                <a:gd name="T13" fmla="*/ 5 h 103"/>
                <a:gd name="T14" fmla="*/ 0 w 164"/>
                <a:gd name="T15" fmla="*/ 5 h 103"/>
                <a:gd name="T16" fmla="*/ 4 w 164"/>
                <a:gd name="T17" fmla="*/ 5 h 103"/>
                <a:gd name="T18" fmla="*/ 4 w 164"/>
                <a:gd name="T19" fmla="*/ 5 h 103"/>
                <a:gd name="T20" fmla="*/ 14 w 164"/>
                <a:gd name="T21" fmla="*/ 6 h 103"/>
                <a:gd name="T22" fmla="*/ 49 w 164"/>
                <a:gd name="T23" fmla="*/ 6 h 103"/>
                <a:gd name="T24" fmla="*/ 58 w 164"/>
                <a:gd name="T25" fmla="*/ 7 h 103"/>
                <a:gd name="T26" fmla="*/ 82 w 164"/>
                <a:gd name="T27" fmla="*/ 7 h 103"/>
                <a:gd name="T28" fmla="*/ 110 w 164"/>
                <a:gd name="T29" fmla="*/ 7 h 103"/>
                <a:gd name="T30" fmla="*/ 136 w 164"/>
                <a:gd name="T31" fmla="*/ 7 h 103"/>
                <a:gd name="T32" fmla="*/ 169 w 164"/>
                <a:gd name="T33" fmla="*/ 8 h 103"/>
                <a:gd name="T34" fmla="*/ 198 w 164"/>
                <a:gd name="T35" fmla="*/ 7 h 103"/>
                <a:gd name="T36" fmla="*/ 213 w 164"/>
                <a:gd name="T37" fmla="*/ 7 h 103"/>
                <a:gd name="T38" fmla="*/ 228 w 164"/>
                <a:gd name="T39" fmla="*/ 7 h 103"/>
                <a:gd name="T40" fmla="*/ 256 w 164"/>
                <a:gd name="T41" fmla="*/ 7 h 103"/>
                <a:gd name="T42" fmla="*/ 283 w 164"/>
                <a:gd name="T43" fmla="*/ 6 h 103"/>
                <a:gd name="T44" fmla="*/ 290 w 164"/>
                <a:gd name="T45" fmla="*/ 5 h 103"/>
                <a:gd name="T46" fmla="*/ 298 w 164"/>
                <a:gd name="T47" fmla="*/ 5 h 103"/>
                <a:gd name="T48" fmla="*/ 305 w 164"/>
                <a:gd name="T49" fmla="*/ 5 h 103"/>
                <a:gd name="T50" fmla="*/ 298 w 164"/>
                <a:gd name="T51" fmla="*/ 5 h 103"/>
                <a:gd name="T52" fmla="*/ 298 w 164"/>
                <a:gd name="T53" fmla="*/ 5 h 103"/>
                <a:gd name="T54" fmla="*/ 290 w 164"/>
                <a:gd name="T55" fmla="*/ 5 h 103"/>
                <a:gd name="T56" fmla="*/ 283 w 164"/>
                <a:gd name="T57" fmla="*/ 5 h 103"/>
                <a:gd name="T58" fmla="*/ 256 w 164"/>
                <a:gd name="T59" fmla="*/ 5 h 103"/>
                <a:gd name="T60" fmla="*/ 221 w 164"/>
                <a:gd name="T61" fmla="*/ 5 h 103"/>
                <a:gd name="T62" fmla="*/ 206 w 164"/>
                <a:gd name="T63" fmla="*/ 5 h 103"/>
                <a:gd name="T64" fmla="*/ 186 w 164"/>
                <a:gd name="T65" fmla="*/ 3 h 103"/>
                <a:gd name="T66" fmla="*/ 169 w 164"/>
                <a:gd name="T67" fmla="*/ 3 h 103"/>
                <a:gd name="T68" fmla="*/ 150 w 164"/>
                <a:gd name="T69" fmla="*/ 3 h 103"/>
                <a:gd name="T70" fmla="*/ 110 w 164"/>
                <a:gd name="T71" fmla="*/ 0 h 103"/>
                <a:gd name="T72" fmla="*/ 82 w 164"/>
                <a:gd name="T73" fmla="*/ 0 h 103"/>
                <a:gd name="T74" fmla="*/ 62 w 164"/>
                <a:gd name="T75" fmla="*/ 0 h 103"/>
                <a:gd name="T76" fmla="*/ 58 w 164"/>
                <a:gd name="T77" fmla="*/ 3 h 103"/>
                <a:gd name="T78" fmla="*/ 58 w 164"/>
                <a:gd name="T79" fmla="*/ 3 h 10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4"/>
                <a:gd name="T121" fmla="*/ 0 h 103"/>
                <a:gd name="T122" fmla="*/ 164 w 164"/>
                <a:gd name="T123" fmla="*/ 103 h 10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4" h="103">
                  <a:moveTo>
                    <a:pt x="32" y="3"/>
                  </a:moveTo>
                  <a:lnTo>
                    <a:pt x="23" y="11"/>
                  </a:lnTo>
                  <a:lnTo>
                    <a:pt x="14" y="23"/>
                  </a:lnTo>
                  <a:lnTo>
                    <a:pt x="9" y="31"/>
                  </a:lnTo>
                  <a:lnTo>
                    <a:pt x="4" y="40"/>
                  </a:lnTo>
                  <a:lnTo>
                    <a:pt x="0" y="46"/>
                  </a:lnTo>
                  <a:lnTo>
                    <a:pt x="0" y="51"/>
                  </a:lnTo>
                  <a:lnTo>
                    <a:pt x="0" y="57"/>
                  </a:lnTo>
                  <a:lnTo>
                    <a:pt x="4" y="66"/>
                  </a:lnTo>
                  <a:lnTo>
                    <a:pt x="4" y="74"/>
                  </a:lnTo>
                  <a:lnTo>
                    <a:pt x="14" y="86"/>
                  </a:lnTo>
                  <a:lnTo>
                    <a:pt x="23" y="91"/>
                  </a:lnTo>
                  <a:lnTo>
                    <a:pt x="32" y="97"/>
                  </a:lnTo>
                  <a:lnTo>
                    <a:pt x="46" y="100"/>
                  </a:lnTo>
                  <a:lnTo>
                    <a:pt x="59" y="100"/>
                  </a:lnTo>
                  <a:lnTo>
                    <a:pt x="73" y="100"/>
                  </a:lnTo>
                  <a:lnTo>
                    <a:pt x="91" y="103"/>
                  </a:lnTo>
                  <a:lnTo>
                    <a:pt x="105" y="100"/>
                  </a:lnTo>
                  <a:lnTo>
                    <a:pt x="114" y="100"/>
                  </a:lnTo>
                  <a:lnTo>
                    <a:pt x="123" y="94"/>
                  </a:lnTo>
                  <a:lnTo>
                    <a:pt x="137" y="94"/>
                  </a:lnTo>
                  <a:lnTo>
                    <a:pt x="151" y="86"/>
                  </a:lnTo>
                  <a:lnTo>
                    <a:pt x="155" y="74"/>
                  </a:lnTo>
                  <a:lnTo>
                    <a:pt x="160" y="66"/>
                  </a:lnTo>
                  <a:lnTo>
                    <a:pt x="164" y="57"/>
                  </a:lnTo>
                  <a:lnTo>
                    <a:pt x="160" y="46"/>
                  </a:lnTo>
                  <a:lnTo>
                    <a:pt x="160" y="34"/>
                  </a:lnTo>
                  <a:lnTo>
                    <a:pt x="155" y="26"/>
                  </a:lnTo>
                  <a:lnTo>
                    <a:pt x="151" y="20"/>
                  </a:lnTo>
                  <a:lnTo>
                    <a:pt x="137" y="9"/>
                  </a:lnTo>
                  <a:lnTo>
                    <a:pt x="119" y="9"/>
                  </a:lnTo>
                  <a:lnTo>
                    <a:pt x="110" y="6"/>
                  </a:lnTo>
                  <a:lnTo>
                    <a:pt x="100" y="3"/>
                  </a:lnTo>
                  <a:lnTo>
                    <a:pt x="91" y="3"/>
                  </a:lnTo>
                  <a:lnTo>
                    <a:pt x="82" y="3"/>
                  </a:lnTo>
                  <a:lnTo>
                    <a:pt x="59" y="0"/>
                  </a:lnTo>
                  <a:lnTo>
                    <a:pt x="46" y="0"/>
                  </a:lnTo>
                  <a:lnTo>
                    <a:pt x="36" y="0"/>
                  </a:lnTo>
                  <a:lnTo>
                    <a:pt x="32"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47" name="Freeform 39"/>
            <p:cNvSpPr>
              <a:spLocks/>
            </p:cNvSpPr>
            <p:nvPr>
              <p:custDataLst>
                <p:tags r:id="rId246"/>
              </p:custDataLst>
            </p:nvPr>
          </p:nvSpPr>
          <p:spPr bwMode="gray">
            <a:xfrm>
              <a:off x="1382" y="1589"/>
              <a:ext cx="1064" cy="63"/>
            </a:xfrm>
            <a:custGeom>
              <a:avLst/>
              <a:gdLst>
                <a:gd name="T0" fmla="*/ 164 w 1038"/>
                <a:gd name="T1" fmla="*/ 5 h 69"/>
                <a:gd name="T2" fmla="*/ 271 w 1038"/>
                <a:gd name="T3" fmla="*/ 5 h 69"/>
                <a:gd name="T4" fmla="*/ 381 w 1038"/>
                <a:gd name="T5" fmla="*/ 5 h 69"/>
                <a:gd name="T6" fmla="*/ 497 w 1038"/>
                <a:gd name="T7" fmla="*/ 5 h 69"/>
                <a:gd name="T8" fmla="*/ 617 w 1038"/>
                <a:gd name="T9" fmla="*/ 5 h 69"/>
                <a:gd name="T10" fmla="*/ 739 w 1038"/>
                <a:gd name="T11" fmla="*/ 5 h 69"/>
                <a:gd name="T12" fmla="*/ 864 w 1038"/>
                <a:gd name="T13" fmla="*/ 5 h 69"/>
                <a:gd name="T14" fmla="*/ 983 w 1038"/>
                <a:gd name="T15" fmla="*/ 5 h 69"/>
                <a:gd name="T16" fmla="*/ 1106 w 1038"/>
                <a:gd name="T17" fmla="*/ 5 h 69"/>
                <a:gd name="T18" fmla="*/ 1219 w 1038"/>
                <a:gd name="T19" fmla="*/ 5 h 69"/>
                <a:gd name="T20" fmla="*/ 1340 w 1038"/>
                <a:gd name="T21" fmla="*/ 5 h 69"/>
                <a:gd name="T22" fmla="*/ 1433 w 1038"/>
                <a:gd name="T23" fmla="*/ 5 h 69"/>
                <a:gd name="T24" fmla="*/ 1539 w 1038"/>
                <a:gd name="T25" fmla="*/ 5 h 69"/>
                <a:gd name="T26" fmla="*/ 1635 w 1038"/>
                <a:gd name="T27" fmla="*/ 5 h 69"/>
                <a:gd name="T28" fmla="*/ 1722 w 1038"/>
                <a:gd name="T29" fmla="*/ 5 h 69"/>
                <a:gd name="T30" fmla="*/ 1794 w 1038"/>
                <a:gd name="T31" fmla="*/ 5 h 69"/>
                <a:gd name="T32" fmla="*/ 1851 w 1038"/>
                <a:gd name="T33" fmla="*/ 5 h 69"/>
                <a:gd name="T34" fmla="*/ 1926 w 1038"/>
                <a:gd name="T35" fmla="*/ 5 h 69"/>
                <a:gd name="T36" fmla="*/ 1977 w 1038"/>
                <a:gd name="T37" fmla="*/ 5 h 69"/>
                <a:gd name="T38" fmla="*/ 1954 w 1038"/>
                <a:gd name="T39" fmla="*/ 5 h 69"/>
                <a:gd name="T40" fmla="*/ 1888 w 1038"/>
                <a:gd name="T41" fmla="*/ 5 h 69"/>
                <a:gd name="T42" fmla="*/ 1809 w 1038"/>
                <a:gd name="T43" fmla="*/ 5 h 69"/>
                <a:gd name="T44" fmla="*/ 1695 w 1038"/>
                <a:gd name="T45" fmla="*/ 5 h 69"/>
                <a:gd name="T46" fmla="*/ 1618 w 1038"/>
                <a:gd name="T47" fmla="*/ 5 h 69"/>
                <a:gd name="T48" fmla="*/ 1556 w 1038"/>
                <a:gd name="T49" fmla="*/ 5 h 69"/>
                <a:gd name="T50" fmla="*/ 1488 w 1038"/>
                <a:gd name="T51" fmla="*/ 5 h 69"/>
                <a:gd name="T52" fmla="*/ 1419 w 1038"/>
                <a:gd name="T53" fmla="*/ 5 h 69"/>
                <a:gd name="T54" fmla="*/ 1350 w 1038"/>
                <a:gd name="T55" fmla="*/ 5 h 69"/>
                <a:gd name="T56" fmla="*/ 1267 w 1038"/>
                <a:gd name="T57" fmla="*/ 6 h 69"/>
                <a:gd name="T58" fmla="*/ 1200 w 1038"/>
                <a:gd name="T59" fmla="*/ 6 h 69"/>
                <a:gd name="T60" fmla="*/ 1132 w 1038"/>
                <a:gd name="T61" fmla="*/ 6 h 69"/>
                <a:gd name="T62" fmla="*/ 1067 w 1038"/>
                <a:gd name="T63" fmla="*/ 6 h 69"/>
                <a:gd name="T64" fmla="*/ 1002 w 1038"/>
                <a:gd name="T65" fmla="*/ 6 h 69"/>
                <a:gd name="T66" fmla="*/ 933 w 1038"/>
                <a:gd name="T67" fmla="*/ 6 h 69"/>
                <a:gd name="T68" fmla="*/ 869 w 1038"/>
                <a:gd name="T69" fmla="*/ 5 h 69"/>
                <a:gd name="T70" fmla="*/ 774 w 1038"/>
                <a:gd name="T71" fmla="*/ 5 h 69"/>
                <a:gd name="T72" fmla="*/ 713 w 1038"/>
                <a:gd name="T73" fmla="*/ 5 h 69"/>
                <a:gd name="T74" fmla="*/ 617 w 1038"/>
                <a:gd name="T75" fmla="*/ 5 h 69"/>
                <a:gd name="T76" fmla="*/ 514 w 1038"/>
                <a:gd name="T77" fmla="*/ 5 h 69"/>
                <a:gd name="T78" fmla="*/ 410 w 1038"/>
                <a:gd name="T79" fmla="*/ 5 h 69"/>
                <a:gd name="T80" fmla="*/ 313 w 1038"/>
                <a:gd name="T81" fmla="*/ 5 h 69"/>
                <a:gd name="T82" fmla="*/ 234 w 1038"/>
                <a:gd name="T83" fmla="*/ 5 h 69"/>
                <a:gd name="T84" fmla="*/ 154 w 1038"/>
                <a:gd name="T85" fmla="*/ 5 h 69"/>
                <a:gd name="T86" fmla="*/ 92 w 1038"/>
                <a:gd name="T87" fmla="*/ 5 h 69"/>
                <a:gd name="T88" fmla="*/ 18 w 1038"/>
                <a:gd name="T89" fmla="*/ 5 h 69"/>
                <a:gd name="T90" fmla="*/ 103 w 1038"/>
                <a:gd name="T91" fmla="*/ 0 h 6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38"/>
                <a:gd name="T139" fmla="*/ 0 h 69"/>
                <a:gd name="T140" fmla="*/ 1038 w 1038"/>
                <a:gd name="T141" fmla="*/ 69 h 6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38" h="69">
                  <a:moveTo>
                    <a:pt x="55" y="0"/>
                  </a:moveTo>
                  <a:lnTo>
                    <a:pt x="69" y="3"/>
                  </a:lnTo>
                  <a:lnTo>
                    <a:pt x="87" y="6"/>
                  </a:lnTo>
                  <a:lnTo>
                    <a:pt x="105" y="6"/>
                  </a:lnTo>
                  <a:lnTo>
                    <a:pt x="124" y="9"/>
                  </a:lnTo>
                  <a:lnTo>
                    <a:pt x="142" y="9"/>
                  </a:lnTo>
                  <a:lnTo>
                    <a:pt x="160" y="12"/>
                  </a:lnTo>
                  <a:lnTo>
                    <a:pt x="178" y="15"/>
                  </a:lnTo>
                  <a:lnTo>
                    <a:pt x="201" y="15"/>
                  </a:lnTo>
                  <a:lnTo>
                    <a:pt x="220" y="15"/>
                  </a:lnTo>
                  <a:lnTo>
                    <a:pt x="242" y="17"/>
                  </a:lnTo>
                  <a:lnTo>
                    <a:pt x="261" y="17"/>
                  </a:lnTo>
                  <a:lnTo>
                    <a:pt x="284" y="20"/>
                  </a:lnTo>
                  <a:lnTo>
                    <a:pt x="302" y="20"/>
                  </a:lnTo>
                  <a:lnTo>
                    <a:pt x="325" y="23"/>
                  </a:lnTo>
                  <a:lnTo>
                    <a:pt x="348" y="23"/>
                  </a:lnTo>
                  <a:lnTo>
                    <a:pt x="370" y="26"/>
                  </a:lnTo>
                  <a:lnTo>
                    <a:pt x="389" y="26"/>
                  </a:lnTo>
                  <a:lnTo>
                    <a:pt x="407" y="26"/>
                  </a:lnTo>
                  <a:lnTo>
                    <a:pt x="430" y="26"/>
                  </a:lnTo>
                  <a:lnTo>
                    <a:pt x="453" y="29"/>
                  </a:lnTo>
                  <a:lnTo>
                    <a:pt x="471" y="32"/>
                  </a:lnTo>
                  <a:lnTo>
                    <a:pt x="494" y="32"/>
                  </a:lnTo>
                  <a:lnTo>
                    <a:pt x="517" y="35"/>
                  </a:lnTo>
                  <a:lnTo>
                    <a:pt x="539" y="35"/>
                  </a:lnTo>
                  <a:lnTo>
                    <a:pt x="558" y="35"/>
                  </a:lnTo>
                  <a:lnTo>
                    <a:pt x="581" y="35"/>
                  </a:lnTo>
                  <a:lnTo>
                    <a:pt x="599" y="37"/>
                  </a:lnTo>
                  <a:lnTo>
                    <a:pt x="622" y="37"/>
                  </a:lnTo>
                  <a:lnTo>
                    <a:pt x="640" y="37"/>
                  </a:lnTo>
                  <a:lnTo>
                    <a:pt x="658" y="37"/>
                  </a:lnTo>
                  <a:lnTo>
                    <a:pt x="681" y="40"/>
                  </a:lnTo>
                  <a:lnTo>
                    <a:pt x="704" y="43"/>
                  </a:lnTo>
                  <a:lnTo>
                    <a:pt x="718" y="43"/>
                  </a:lnTo>
                  <a:lnTo>
                    <a:pt x="736" y="43"/>
                  </a:lnTo>
                  <a:lnTo>
                    <a:pt x="754" y="43"/>
                  </a:lnTo>
                  <a:lnTo>
                    <a:pt x="773" y="43"/>
                  </a:lnTo>
                  <a:lnTo>
                    <a:pt x="791" y="43"/>
                  </a:lnTo>
                  <a:lnTo>
                    <a:pt x="809" y="43"/>
                  </a:lnTo>
                  <a:lnTo>
                    <a:pt x="827" y="43"/>
                  </a:lnTo>
                  <a:lnTo>
                    <a:pt x="846" y="46"/>
                  </a:lnTo>
                  <a:lnTo>
                    <a:pt x="859" y="46"/>
                  </a:lnTo>
                  <a:lnTo>
                    <a:pt x="873" y="46"/>
                  </a:lnTo>
                  <a:lnTo>
                    <a:pt x="887" y="46"/>
                  </a:lnTo>
                  <a:lnTo>
                    <a:pt x="905" y="49"/>
                  </a:lnTo>
                  <a:lnTo>
                    <a:pt x="914" y="49"/>
                  </a:lnTo>
                  <a:lnTo>
                    <a:pt x="928" y="49"/>
                  </a:lnTo>
                  <a:lnTo>
                    <a:pt x="942" y="49"/>
                  </a:lnTo>
                  <a:lnTo>
                    <a:pt x="955" y="49"/>
                  </a:lnTo>
                  <a:lnTo>
                    <a:pt x="964" y="49"/>
                  </a:lnTo>
                  <a:lnTo>
                    <a:pt x="974" y="49"/>
                  </a:lnTo>
                  <a:lnTo>
                    <a:pt x="987" y="49"/>
                  </a:lnTo>
                  <a:lnTo>
                    <a:pt x="992" y="49"/>
                  </a:lnTo>
                  <a:lnTo>
                    <a:pt x="1010" y="49"/>
                  </a:lnTo>
                  <a:lnTo>
                    <a:pt x="1028" y="52"/>
                  </a:lnTo>
                  <a:lnTo>
                    <a:pt x="1033" y="52"/>
                  </a:lnTo>
                  <a:lnTo>
                    <a:pt x="1038" y="54"/>
                  </a:lnTo>
                  <a:lnTo>
                    <a:pt x="1033" y="54"/>
                  </a:lnTo>
                  <a:lnTo>
                    <a:pt x="1028" y="54"/>
                  </a:lnTo>
                  <a:lnTo>
                    <a:pt x="1015" y="54"/>
                  </a:lnTo>
                  <a:lnTo>
                    <a:pt x="1006" y="54"/>
                  </a:lnTo>
                  <a:lnTo>
                    <a:pt x="992" y="54"/>
                  </a:lnTo>
                  <a:lnTo>
                    <a:pt x="978" y="54"/>
                  </a:lnTo>
                  <a:lnTo>
                    <a:pt x="964" y="57"/>
                  </a:lnTo>
                  <a:lnTo>
                    <a:pt x="951" y="57"/>
                  </a:lnTo>
                  <a:lnTo>
                    <a:pt x="932" y="57"/>
                  </a:lnTo>
                  <a:lnTo>
                    <a:pt x="914" y="60"/>
                  </a:lnTo>
                  <a:lnTo>
                    <a:pt x="891" y="60"/>
                  </a:lnTo>
                  <a:lnTo>
                    <a:pt x="873" y="60"/>
                  </a:lnTo>
                  <a:lnTo>
                    <a:pt x="864" y="60"/>
                  </a:lnTo>
                  <a:lnTo>
                    <a:pt x="850" y="60"/>
                  </a:lnTo>
                  <a:lnTo>
                    <a:pt x="837" y="60"/>
                  </a:lnTo>
                  <a:lnTo>
                    <a:pt x="827" y="60"/>
                  </a:lnTo>
                  <a:lnTo>
                    <a:pt x="818" y="60"/>
                  </a:lnTo>
                  <a:lnTo>
                    <a:pt x="805" y="63"/>
                  </a:lnTo>
                  <a:lnTo>
                    <a:pt x="795" y="63"/>
                  </a:lnTo>
                  <a:lnTo>
                    <a:pt x="782" y="66"/>
                  </a:lnTo>
                  <a:lnTo>
                    <a:pt x="773" y="66"/>
                  </a:lnTo>
                  <a:lnTo>
                    <a:pt x="759" y="66"/>
                  </a:lnTo>
                  <a:lnTo>
                    <a:pt x="745" y="66"/>
                  </a:lnTo>
                  <a:lnTo>
                    <a:pt x="736" y="66"/>
                  </a:lnTo>
                  <a:lnTo>
                    <a:pt x="722" y="66"/>
                  </a:lnTo>
                  <a:lnTo>
                    <a:pt x="709" y="66"/>
                  </a:lnTo>
                  <a:lnTo>
                    <a:pt x="695" y="66"/>
                  </a:lnTo>
                  <a:lnTo>
                    <a:pt x="686" y="69"/>
                  </a:lnTo>
                  <a:lnTo>
                    <a:pt x="667" y="69"/>
                  </a:lnTo>
                  <a:lnTo>
                    <a:pt x="658" y="69"/>
                  </a:lnTo>
                  <a:lnTo>
                    <a:pt x="649" y="69"/>
                  </a:lnTo>
                  <a:lnTo>
                    <a:pt x="631" y="69"/>
                  </a:lnTo>
                  <a:lnTo>
                    <a:pt x="622" y="69"/>
                  </a:lnTo>
                  <a:lnTo>
                    <a:pt x="613" y="69"/>
                  </a:lnTo>
                  <a:lnTo>
                    <a:pt x="594" y="69"/>
                  </a:lnTo>
                  <a:lnTo>
                    <a:pt x="585" y="69"/>
                  </a:lnTo>
                  <a:lnTo>
                    <a:pt x="571" y="69"/>
                  </a:lnTo>
                  <a:lnTo>
                    <a:pt x="562" y="69"/>
                  </a:lnTo>
                  <a:lnTo>
                    <a:pt x="544" y="69"/>
                  </a:lnTo>
                  <a:lnTo>
                    <a:pt x="535" y="69"/>
                  </a:lnTo>
                  <a:lnTo>
                    <a:pt x="526" y="69"/>
                  </a:lnTo>
                  <a:lnTo>
                    <a:pt x="512" y="69"/>
                  </a:lnTo>
                  <a:lnTo>
                    <a:pt x="503" y="69"/>
                  </a:lnTo>
                  <a:lnTo>
                    <a:pt x="489" y="69"/>
                  </a:lnTo>
                  <a:lnTo>
                    <a:pt x="480" y="66"/>
                  </a:lnTo>
                  <a:lnTo>
                    <a:pt x="471" y="66"/>
                  </a:lnTo>
                  <a:lnTo>
                    <a:pt x="457" y="66"/>
                  </a:lnTo>
                  <a:lnTo>
                    <a:pt x="443" y="66"/>
                  </a:lnTo>
                  <a:lnTo>
                    <a:pt x="425" y="66"/>
                  </a:lnTo>
                  <a:lnTo>
                    <a:pt x="407" y="66"/>
                  </a:lnTo>
                  <a:lnTo>
                    <a:pt x="393" y="63"/>
                  </a:lnTo>
                  <a:lnTo>
                    <a:pt x="384" y="60"/>
                  </a:lnTo>
                  <a:lnTo>
                    <a:pt x="375" y="60"/>
                  </a:lnTo>
                  <a:lnTo>
                    <a:pt x="366" y="60"/>
                  </a:lnTo>
                  <a:lnTo>
                    <a:pt x="343" y="60"/>
                  </a:lnTo>
                  <a:lnTo>
                    <a:pt x="325" y="60"/>
                  </a:lnTo>
                  <a:lnTo>
                    <a:pt x="302" y="57"/>
                  </a:lnTo>
                  <a:lnTo>
                    <a:pt x="288" y="57"/>
                  </a:lnTo>
                  <a:lnTo>
                    <a:pt x="270" y="54"/>
                  </a:lnTo>
                  <a:lnTo>
                    <a:pt x="252" y="54"/>
                  </a:lnTo>
                  <a:lnTo>
                    <a:pt x="233" y="52"/>
                  </a:lnTo>
                  <a:lnTo>
                    <a:pt x="215" y="49"/>
                  </a:lnTo>
                  <a:lnTo>
                    <a:pt x="197" y="49"/>
                  </a:lnTo>
                  <a:lnTo>
                    <a:pt x="183" y="49"/>
                  </a:lnTo>
                  <a:lnTo>
                    <a:pt x="165" y="46"/>
                  </a:lnTo>
                  <a:lnTo>
                    <a:pt x="151" y="46"/>
                  </a:lnTo>
                  <a:lnTo>
                    <a:pt x="137" y="43"/>
                  </a:lnTo>
                  <a:lnTo>
                    <a:pt x="124" y="43"/>
                  </a:lnTo>
                  <a:lnTo>
                    <a:pt x="110" y="40"/>
                  </a:lnTo>
                  <a:lnTo>
                    <a:pt x="96" y="37"/>
                  </a:lnTo>
                  <a:lnTo>
                    <a:pt x="82" y="37"/>
                  </a:lnTo>
                  <a:lnTo>
                    <a:pt x="73" y="37"/>
                  </a:lnTo>
                  <a:lnTo>
                    <a:pt x="64" y="35"/>
                  </a:lnTo>
                  <a:lnTo>
                    <a:pt x="50" y="35"/>
                  </a:lnTo>
                  <a:lnTo>
                    <a:pt x="41" y="35"/>
                  </a:lnTo>
                  <a:lnTo>
                    <a:pt x="37" y="35"/>
                  </a:lnTo>
                  <a:lnTo>
                    <a:pt x="18" y="32"/>
                  </a:lnTo>
                  <a:lnTo>
                    <a:pt x="14" y="29"/>
                  </a:lnTo>
                  <a:lnTo>
                    <a:pt x="0" y="29"/>
                  </a:lnTo>
                  <a:lnTo>
                    <a:pt x="55"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48" name="Freeform 40"/>
            <p:cNvSpPr>
              <a:spLocks/>
            </p:cNvSpPr>
            <p:nvPr>
              <p:custDataLst>
                <p:tags r:id="rId247"/>
              </p:custDataLst>
            </p:nvPr>
          </p:nvSpPr>
          <p:spPr bwMode="gray">
            <a:xfrm>
              <a:off x="2900" y="1545"/>
              <a:ext cx="1387" cy="114"/>
            </a:xfrm>
            <a:custGeom>
              <a:avLst/>
              <a:gdLst>
                <a:gd name="T0" fmla="*/ 453 w 1353"/>
                <a:gd name="T1" fmla="*/ 11 h 125"/>
                <a:gd name="T2" fmla="*/ 595 w 1353"/>
                <a:gd name="T3" fmla="*/ 10 h 125"/>
                <a:gd name="T4" fmla="*/ 741 w 1353"/>
                <a:gd name="T5" fmla="*/ 10 h 125"/>
                <a:gd name="T6" fmla="*/ 869 w 1353"/>
                <a:gd name="T7" fmla="*/ 9 h 125"/>
                <a:gd name="T8" fmla="*/ 1021 w 1353"/>
                <a:gd name="T9" fmla="*/ 9 h 125"/>
                <a:gd name="T10" fmla="*/ 1167 w 1353"/>
                <a:gd name="T11" fmla="*/ 8 h 125"/>
                <a:gd name="T12" fmla="*/ 1309 w 1353"/>
                <a:gd name="T13" fmla="*/ 7 h 125"/>
                <a:gd name="T14" fmla="*/ 1449 w 1353"/>
                <a:gd name="T15" fmla="*/ 6 h 125"/>
                <a:gd name="T16" fmla="*/ 1577 w 1353"/>
                <a:gd name="T17" fmla="*/ 5 h 125"/>
                <a:gd name="T18" fmla="*/ 1716 w 1353"/>
                <a:gd name="T19" fmla="*/ 5 h 125"/>
                <a:gd name="T20" fmla="*/ 1838 w 1353"/>
                <a:gd name="T21" fmla="*/ 5 h 125"/>
                <a:gd name="T22" fmla="*/ 1950 w 1353"/>
                <a:gd name="T23" fmla="*/ 5 h 125"/>
                <a:gd name="T24" fmla="*/ 2052 w 1353"/>
                <a:gd name="T25" fmla="*/ 5 h 125"/>
                <a:gd name="T26" fmla="*/ 2157 w 1353"/>
                <a:gd name="T27" fmla="*/ 5 h 125"/>
                <a:gd name="T28" fmla="*/ 2262 w 1353"/>
                <a:gd name="T29" fmla="*/ 5 h 125"/>
                <a:gd name="T30" fmla="*/ 2347 w 1353"/>
                <a:gd name="T31" fmla="*/ 5 h 125"/>
                <a:gd name="T32" fmla="*/ 2415 w 1353"/>
                <a:gd name="T33" fmla="*/ 5 h 125"/>
                <a:gd name="T34" fmla="*/ 2491 w 1353"/>
                <a:gd name="T35" fmla="*/ 5 h 125"/>
                <a:gd name="T36" fmla="*/ 2568 w 1353"/>
                <a:gd name="T37" fmla="*/ 0 h 125"/>
                <a:gd name="T38" fmla="*/ 2585 w 1353"/>
                <a:gd name="T39" fmla="*/ 5 h 125"/>
                <a:gd name="T40" fmla="*/ 2529 w 1353"/>
                <a:gd name="T41" fmla="*/ 5 h 125"/>
                <a:gd name="T42" fmla="*/ 2447 w 1353"/>
                <a:gd name="T43" fmla="*/ 5 h 125"/>
                <a:gd name="T44" fmla="*/ 2354 w 1353"/>
                <a:gd name="T45" fmla="*/ 5 h 125"/>
                <a:gd name="T46" fmla="*/ 2294 w 1353"/>
                <a:gd name="T47" fmla="*/ 5 h 125"/>
                <a:gd name="T48" fmla="*/ 2221 w 1353"/>
                <a:gd name="T49" fmla="*/ 5 h 125"/>
                <a:gd name="T50" fmla="*/ 2150 w 1353"/>
                <a:gd name="T51" fmla="*/ 5 h 125"/>
                <a:gd name="T52" fmla="*/ 2076 w 1353"/>
                <a:gd name="T53" fmla="*/ 5 h 125"/>
                <a:gd name="T54" fmla="*/ 1986 w 1353"/>
                <a:gd name="T55" fmla="*/ 6 h 125"/>
                <a:gd name="T56" fmla="*/ 1905 w 1353"/>
                <a:gd name="T57" fmla="*/ 7 h 125"/>
                <a:gd name="T58" fmla="*/ 1827 w 1353"/>
                <a:gd name="T59" fmla="*/ 7 h 125"/>
                <a:gd name="T60" fmla="*/ 1716 w 1353"/>
                <a:gd name="T61" fmla="*/ 8 h 125"/>
                <a:gd name="T62" fmla="*/ 1637 w 1353"/>
                <a:gd name="T63" fmla="*/ 8 h 125"/>
                <a:gd name="T64" fmla="*/ 1534 w 1353"/>
                <a:gd name="T65" fmla="*/ 9 h 125"/>
                <a:gd name="T66" fmla="*/ 1437 w 1353"/>
                <a:gd name="T67" fmla="*/ 10 h 125"/>
                <a:gd name="T68" fmla="*/ 1344 w 1353"/>
                <a:gd name="T69" fmla="*/ 10 h 125"/>
                <a:gd name="T70" fmla="*/ 1247 w 1353"/>
                <a:gd name="T71" fmla="*/ 10 h 125"/>
                <a:gd name="T72" fmla="*/ 1149 w 1353"/>
                <a:gd name="T73" fmla="*/ 11 h 125"/>
                <a:gd name="T74" fmla="*/ 1060 w 1353"/>
                <a:gd name="T75" fmla="*/ 11 h 125"/>
                <a:gd name="T76" fmla="*/ 958 w 1353"/>
                <a:gd name="T77" fmla="*/ 11 h 125"/>
                <a:gd name="T78" fmla="*/ 869 w 1353"/>
                <a:gd name="T79" fmla="*/ 12 h 125"/>
                <a:gd name="T80" fmla="*/ 792 w 1353"/>
                <a:gd name="T81" fmla="*/ 12 h 125"/>
                <a:gd name="T82" fmla="*/ 708 w 1353"/>
                <a:gd name="T83" fmla="*/ 12 h 125"/>
                <a:gd name="T84" fmla="*/ 617 w 1353"/>
                <a:gd name="T85" fmla="*/ 12 h 125"/>
                <a:gd name="T86" fmla="*/ 547 w 1353"/>
                <a:gd name="T87" fmla="*/ 12 h 125"/>
                <a:gd name="T88" fmla="*/ 477 w 1353"/>
                <a:gd name="T89" fmla="*/ 12 h 125"/>
                <a:gd name="T90" fmla="*/ 410 w 1353"/>
                <a:gd name="T91" fmla="*/ 12 h 125"/>
                <a:gd name="T92" fmla="*/ 321 w 1353"/>
                <a:gd name="T93" fmla="*/ 12 h 125"/>
                <a:gd name="T94" fmla="*/ 216 w 1353"/>
                <a:gd name="T95" fmla="*/ 12 h 125"/>
                <a:gd name="T96" fmla="*/ 130 w 1353"/>
                <a:gd name="T97" fmla="*/ 12 h 125"/>
                <a:gd name="T98" fmla="*/ 58 w 1353"/>
                <a:gd name="T99" fmla="*/ 12 h 125"/>
                <a:gd name="T100" fmla="*/ 0 w 1353"/>
                <a:gd name="T101" fmla="*/ 12 h 125"/>
                <a:gd name="T102" fmla="*/ 49 w 1353"/>
                <a:gd name="T103" fmla="*/ 12 h 125"/>
                <a:gd name="T104" fmla="*/ 115 w 1353"/>
                <a:gd name="T105" fmla="*/ 12 h 125"/>
                <a:gd name="T106" fmla="*/ 216 w 1353"/>
                <a:gd name="T107" fmla="*/ 12 h 125"/>
                <a:gd name="T108" fmla="*/ 287 w 1353"/>
                <a:gd name="T109" fmla="*/ 11 h 125"/>
                <a:gd name="T110" fmla="*/ 350 w 1353"/>
                <a:gd name="T111" fmla="*/ 11 h 125"/>
                <a:gd name="T112" fmla="*/ 357 w 1353"/>
                <a:gd name="T113" fmla="*/ 11 h 1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353"/>
                <a:gd name="T172" fmla="*/ 0 h 125"/>
                <a:gd name="T173" fmla="*/ 1353 w 1353"/>
                <a:gd name="T174" fmla="*/ 125 h 12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353" h="125">
                  <a:moveTo>
                    <a:pt x="187" y="108"/>
                  </a:moveTo>
                  <a:lnTo>
                    <a:pt x="210" y="108"/>
                  </a:lnTo>
                  <a:lnTo>
                    <a:pt x="238" y="108"/>
                  </a:lnTo>
                  <a:lnTo>
                    <a:pt x="260" y="105"/>
                  </a:lnTo>
                  <a:lnTo>
                    <a:pt x="283" y="105"/>
                  </a:lnTo>
                  <a:lnTo>
                    <a:pt x="311" y="102"/>
                  </a:lnTo>
                  <a:lnTo>
                    <a:pt x="334" y="102"/>
                  </a:lnTo>
                  <a:lnTo>
                    <a:pt x="361" y="102"/>
                  </a:lnTo>
                  <a:lnTo>
                    <a:pt x="388" y="100"/>
                  </a:lnTo>
                  <a:lnTo>
                    <a:pt x="407" y="97"/>
                  </a:lnTo>
                  <a:lnTo>
                    <a:pt x="434" y="97"/>
                  </a:lnTo>
                  <a:lnTo>
                    <a:pt x="457" y="94"/>
                  </a:lnTo>
                  <a:lnTo>
                    <a:pt x="484" y="94"/>
                  </a:lnTo>
                  <a:lnTo>
                    <a:pt x="512" y="91"/>
                  </a:lnTo>
                  <a:lnTo>
                    <a:pt x="535" y="91"/>
                  </a:lnTo>
                  <a:lnTo>
                    <a:pt x="562" y="85"/>
                  </a:lnTo>
                  <a:lnTo>
                    <a:pt x="589" y="85"/>
                  </a:lnTo>
                  <a:lnTo>
                    <a:pt x="612" y="83"/>
                  </a:lnTo>
                  <a:lnTo>
                    <a:pt x="635" y="83"/>
                  </a:lnTo>
                  <a:lnTo>
                    <a:pt x="658" y="77"/>
                  </a:lnTo>
                  <a:lnTo>
                    <a:pt x="685" y="74"/>
                  </a:lnTo>
                  <a:lnTo>
                    <a:pt x="708" y="74"/>
                  </a:lnTo>
                  <a:lnTo>
                    <a:pt x="736" y="71"/>
                  </a:lnTo>
                  <a:lnTo>
                    <a:pt x="759" y="68"/>
                  </a:lnTo>
                  <a:lnTo>
                    <a:pt x="781" y="68"/>
                  </a:lnTo>
                  <a:lnTo>
                    <a:pt x="804" y="65"/>
                  </a:lnTo>
                  <a:lnTo>
                    <a:pt x="827" y="63"/>
                  </a:lnTo>
                  <a:lnTo>
                    <a:pt x="850" y="60"/>
                  </a:lnTo>
                  <a:lnTo>
                    <a:pt x="877" y="60"/>
                  </a:lnTo>
                  <a:lnTo>
                    <a:pt x="900" y="54"/>
                  </a:lnTo>
                  <a:lnTo>
                    <a:pt x="919" y="54"/>
                  </a:lnTo>
                  <a:lnTo>
                    <a:pt x="941" y="51"/>
                  </a:lnTo>
                  <a:lnTo>
                    <a:pt x="964" y="48"/>
                  </a:lnTo>
                  <a:lnTo>
                    <a:pt x="982" y="46"/>
                  </a:lnTo>
                  <a:lnTo>
                    <a:pt x="1005" y="43"/>
                  </a:lnTo>
                  <a:lnTo>
                    <a:pt x="1024" y="43"/>
                  </a:lnTo>
                  <a:lnTo>
                    <a:pt x="1042" y="40"/>
                  </a:lnTo>
                  <a:lnTo>
                    <a:pt x="1060" y="34"/>
                  </a:lnTo>
                  <a:lnTo>
                    <a:pt x="1078" y="34"/>
                  </a:lnTo>
                  <a:lnTo>
                    <a:pt x="1101" y="31"/>
                  </a:lnTo>
                  <a:lnTo>
                    <a:pt x="1120" y="31"/>
                  </a:lnTo>
                  <a:lnTo>
                    <a:pt x="1133" y="26"/>
                  </a:lnTo>
                  <a:lnTo>
                    <a:pt x="1152" y="26"/>
                  </a:lnTo>
                  <a:lnTo>
                    <a:pt x="1170" y="23"/>
                  </a:lnTo>
                  <a:lnTo>
                    <a:pt x="1188" y="23"/>
                  </a:lnTo>
                  <a:lnTo>
                    <a:pt x="1202" y="20"/>
                  </a:lnTo>
                  <a:lnTo>
                    <a:pt x="1216" y="20"/>
                  </a:lnTo>
                  <a:lnTo>
                    <a:pt x="1229" y="14"/>
                  </a:lnTo>
                  <a:lnTo>
                    <a:pt x="1243" y="14"/>
                  </a:lnTo>
                  <a:lnTo>
                    <a:pt x="1257" y="11"/>
                  </a:lnTo>
                  <a:lnTo>
                    <a:pt x="1266" y="11"/>
                  </a:lnTo>
                  <a:lnTo>
                    <a:pt x="1280" y="9"/>
                  </a:lnTo>
                  <a:lnTo>
                    <a:pt x="1289" y="9"/>
                  </a:lnTo>
                  <a:lnTo>
                    <a:pt x="1307" y="6"/>
                  </a:lnTo>
                  <a:lnTo>
                    <a:pt x="1325" y="6"/>
                  </a:lnTo>
                  <a:lnTo>
                    <a:pt x="1334" y="0"/>
                  </a:lnTo>
                  <a:lnTo>
                    <a:pt x="1348" y="0"/>
                  </a:lnTo>
                  <a:lnTo>
                    <a:pt x="1353" y="0"/>
                  </a:lnTo>
                  <a:lnTo>
                    <a:pt x="1353" y="37"/>
                  </a:lnTo>
                  <a:lnTo>
                    <a:pt x="1348" y="37"/>
                  </a:lnTo>
                  <a:lnTo>
                    <a:pt x="1334" y="40"/>
                  </a:lnTo>
                  <a:lnTo>
                    <a:pt x="1325" y="40"/>
                  </a:lnTo>
                  <a:lnTo>
                    <a:pt x="1316" y="43"/>
                  </a:lnTo>
                  <a:lnTo>
                    <a:pt x="1298" y="43"/>
                  </a:lnTo>
                  <a:lnTo>
                    <a:pt x="1284" y="46"/>
                  </a:lnTo>
                  <a:lnTo>
                    <a:pt x="1266" y="46"/>
                  </a:lnTo>
                  <a:lnTo>
                    <a:pt x="1243" y="48"/>
                  </a:lnTo>
                  <a:lnTo>
                    <a:pt x="1234" y="48"/>
                  </a:lnTo>
                  <a:lnTo>
                    <a:pt x="1225" y="48"/>
                  </a:lnTo>
                  <a:lnTo>
                    <a:pt x="1211" y="51"/>
                  </a:lnTo>
                  <a:lnTo>
                    <a:pt x="1202" y="54"/>
                  </a:lnTo>
                  <a:lnTo>
                    <a:pt x="1188" y="54"/>
                  </a:lnTo>
                  <a:lnTo>
                    <a:pt x="1179" y="54"/>
                  </a:lnTo>
                  <a:lnTo>
                    <a:pt x="1165" y="54"/>
                  </a:lnTo>
                  <a:lnTo>
                    <a:pt x="1152" y="57"/>
                  </a:lnTo>
                  <a:lnTo>
                    <a:pt x="1138" y="60"/>
                  </a:lnTo>
                  <a:lnTo>
                    <a:pt x="1129" y="63"/>
                  </a:lnTo>
                  <a:lnTo>
                    <a:pt x="1115" y="63"/>
                  </a:lnTo>
                  <a:lnTo>
                    <a:pt x="1101" y="65"/>
                  </a:lnTo>
                  <a:lnTo>
                    <a:pt x="1088" y="65"/>
                  </a:lnTo>
                  <a:lnTo>
                    <a:pt x="1074" y="68"/>
                  </a:lnTo>
                  <a:lnTo>
                    <a:pt x="1060" y="68"/>
                  </a:lnTo>
                  <a:lnTo>
                    <a:pt x="1042" y="68"/>
                  </a:lnTo>
                  <a:lnTo>
                    <a:pt x="1024" y="71"/>
                  </a:lnTo>
                  <a:lnTo>
                    <a:pt x="1010" y="71"/>
                  </a:lnTo>
                  <a:lnTo>
                    <a:pt x="1001" y="74"/>
                  </a:lnTo>
                  <a:lnTo>
                    <a:pt x="982" y="74"/>
                  </a:lnTo>
                  <a:lnTo>
                    <a:pt x="969" y="74"/>
                  </a:lnTo>
                  <a:lnTo>
                    <a:pt x="955" y="77"/>
                  </a:lnTo>
                  <a:lnTo>
                    <a:pt x="937" y="80"/>
                  </a:lnTo>
                  <a:lnTo>
                    <a:pt x="919" y="83"/>
                  </a:lnTo>
                  <a:lnTo>
                    <a:pt x="900" y="83"/>
                  </a:lnTo>
                  <a:lnTo>
                    <a:pt x="887" y="83"/>
                  </a:lnTo>
                  <a:lnTo>
                    <a:pt x="868" y="85"/>
                  </a:lnTo>
                  <a:lnTo>
                    <a:pt x="859" y="85"/>
                  </a:lnTo>
                  <a:lnTo>
                    <a:pt x="841" y="85"/>
                  </a:lnTo>
                  <a:lnTo>
                    <a:pt x="823" y="91"/>
                  </a:lnTo>
                  <a:lnTo>
                    <a:pt x="804" y="91"/>
                  </a:lnTo>
                  <a:lnTo>
                    <a:pt x="791" y="94"/>
                  </a:lnTo>
                  <a:lnTo>
                    <a:pt x="772" y="94"/>
                  </a:lnTo>
                  <a:lnTo>
                    <a:pt x="754" y="97"/>
                  </a:lnTo>
                  <a:lnTo>
                    <a:pt x="736" y="97"/>
                  </a:lnTo>
                  <a:lnTo>
                    <a:pt x="722" y="97"/>
                  </a:lnTo>
                  <a:lnTo>
                    <a:pt x="704" y="97"/>
                  </a:lnTo>
                  <a:lnTo>
                    <a:pt x="690" y="102"/>
                  </a:lnTo>
                  <a:lnTo>
                    <a:pt x="672" y="102"/>
                  </a:lnTo>
                  <a:lnTo>
                    <a:pt x="653" y="102"/>
                  </a:lnTo>
                  <a:lnTo>
                    <a:pt x="635" y="105"/>
                  </a:lnTo>
                  <a:lnTo>
                    <a:pt x="621" y="105"/>
                  </a:lnTo>
                  <a:lnTo>
                    <a:pt x="603" y="108"/>
                  </a:lnTo>
                  <a:lnTo>
                    <a:pt x="589" y="108"/>
                  </a:lnTo>
                  <a:lnTo>
                    <a:pt x="571" y="108"/>
                  </a:lnTo>
                  <a:lnTo>
                    <a:pt x="557" y="108"/>
                  </a:lnTo>
                  <a:lnTo>
                    <a:pt x="539" y="111"/>
                  </a:lnTo>
                  <a:lnTo>
                    <a:pt x="521" y="114"/>
                  </a:lnTo>
                  <a:lnTo>
                    <a:pt x="503" y="114"/>
                  </a:lnTo>
                  <a:lnTo>
                    <a:pt x="493" y="114"/>
                  </a:lnTo>
                  <a:lnTo>
                    <a:pt x="475" y="117"/>
                  </a:lnTo>
                  <a:lnTo>
                    <a:pt x="457" y="117"/>
                  </a:lnTo>
                  <a:lnTo>
                    <a:pt x="443" y="117"/>
                  </a:lnTo>
                  <a:lnTo>
                    <a:pt x="425" y="117"/>
                  </a:lnTo>
                  <a:lnTo>
                    <a:pt x="416" y="117"/>
                  </a:lnTo>
                  <a:lnTo>
                    <a:pt x="398" y="117"/>
                  </a:lnTo>
                  <a:lnTo>
                    <a:pt x="384" y="117"/>
                  </a:lnTo>
                  <a:lnTo>
                    <a:pt x="370" y="117"/>
                  </a:lnTo>
                  <a:lnTo>
                    <a:pt x="352" y="120"/>
                  </a:lnTo>
                  <a:lnTo>
                    <a:pt x="343" y="120"/>
                  </a:lnTo>
                  <a:lnTo>
                    <a:pt x="324" y="120"/>
                  </a:lnTo>
                  <a:lnTo>
                    <a:pt x="315" y="120"/>
                  </a:lnTo>
                  <a:lnTo>
                    <a:pt x="297" y="120"/>
                  </a:lnTo>
                  <a:lnTo>
                    <a:pt x="288" y="122"/>
                  </a:lnTo>
                  <a:lnTo>
                    <a:pt x="274" y="122"/>
                  </a:lnTo>
                  <a:lnTo>
                    <a:pt x="260" y="122"/>
                  </a:lnTo>
                  <a:lnTo>
                    <a:pt x="251" y="122"/>
                  </a:lnTo>
                  <a:lnTo>
                    <a:pt x="238" y="125"/>
                  </a:lnTo>
                  <a:lnTo>
                    <a:pt x="224" y="125"/>
                  </a:lnTo>
                  <a:lnTo>
                    <a:pt x="215" y="125"/>
                  </a:lnTo>
                  <a:lnTo>
                    <a:pt x="201" y="125"/>
                  </a:lnTo>
                  <a:lnTo>
                    <a:pt x="192" y="125"/>
                  </a:lnTo>
                  <a:lnTo>
                    <a:pt x="169" y="125"/>
                  </a:lnTo>
                  <a:lnTo>
                    <a:pt x="151" y="125"/>
                  </a:lnTo>
                  <a:lnTo>
                    <a:pt x="132" y="125"/>
                  </a:lnTo>
                  <a:lnTo>
                    <a:pt x="114" y="125"/>
                  </a:lnTo>
                  <a:lnTo>
                    <a:pt x="96" y="125"/>
                  </a:lnTo>
                  <a:lnTo>
                    <a:pt x="78" y="125"/>
                  </a:lnTo>
                  <a:lnTo>
                    <a:pt x="68" y="125"/>
                  </a:lnTo>
                  <a:lnTo>
                    <a:pt x="55" y="125"/>
                  </a:lnTo>
                  <a:lnTo>
                    <a:pt x="46" y="125"/>
                  </a:lnTo>
                  <a:lnTo>
                    <a:pt x="32" y="125"/>
                  </a:lnTo>
                  <a:lnTo>
                    <a:pt x="14" y="125"/>
                  </a:lnTo>
                  <a:lnTo>
                    <a:pt x="9" y="125"/>
                  </a:lnTo>
                  <a:lnTo>
                    <a:pt x="0" y="125"/>
                  </a:lnTo>
                  <a:lnTo>
                    <a:pt x="9" y="125"/>
                  </a:lnTo>
                  <a:lnTo>
                    <a:pt x="23" y="125"/>
                  </a:lnTo>
                  <a:lnTo>
                    <a:pt x="32" y="125"/>
                  </a:lnTo>
                  <a:lnTo>
                    <a:pt x="46" y="122"/>
                  </a:lnTo>
                  <a:lnTo>
                    <a:pt x="59" y="120"/>
                  </a:lnTo>
                  <a:lnTo>
                    <a:pt x="78" y="120"/>
                  </a:lnTo>
                  <a:lnTo>
                    <a:pt x="96" y="117"/>
                  </a:lnTo>
                  <a:lnTo>
                    <a:pt x="114" y="117"/>
                  </a:lnTo>
                  <a:lnTo>
                    <a:pt x="123" y="117"/>
                  </a:lnTo>
                  <a:lnTo>
                    <a:pt x="137" y="114"/>
                  </a:lnTo>
                  <a:lnTo>
                    <a:pt x="151" y="111"/>
                  </a:lnTo>
                  <a:lnTo>
                    <a:pt x="164" y="111"/>
                  </a:lnTo>
                  <a:lnTo>
                    <a:pt x="174" y="108"/>
                  </a:lnTo>
                  <a:lnTo>
                    <a:pt x="183" y="108"/>
                  </a:lnTo>
                  <a:lnTo>
                    <a:pt x="187" y="108"/>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49" name="Freeform 41"/>
            <p:cNvSpPr>
              <a:spLocks/>
            </p:cNvSpPr>
            <p:nvPr>
              <p:custDataLst>
                <p:tags r:id="rId248"/>
              </p:custDataLst>
            </p:nvPr>
          </p:nvSpPr>
          <p:spPr bwMode="gray">
            <a:xfrm>
              <a:off x="1265" y="1784"/>
              <a:ext cx="1077" cy="162"/>
            </a:xfrm>
            <a:custGeom>
              <a:avLst/>
              <a:gdLst>
                <a:gd name="T0" fmla="*/ 9 w 1051"/>
                <a:gd name="T1" fmla="*/ 9 h 177"/>
                <a:gd name="T2" fmla="*/ 63 w 1051"/>
                <a:gd name="T3" fmla="*/ 7 h 177"/>
                <a:gd name="T4" fmla="*/ 129 w 1051"/>
                <a:gd name="T5" fmla="*/ 6 h 177"/>
                <a:gd name="T6" fmla="*/ 170 w 1051"/>
                <a:gd name="T7" fmla="*/ 5 h 177"/>
                <a:gd name="T8" fmla="*/ 208 w 1051"/>
                <a:gd name="T9" fmla="*/ 5 h 177"/>
                <a:gd name="T10" fmla="*/ 248 w 1051"/>
                <a:gd name="T11" fmla="*/ 5 h 177"/>
                <a:gd name="T12" fmla="*/ 301 w 1051"/>
                <a:gd name="T13" fmla="*/ 5 h 177"/>
                <a:gd name="T14" fmla="*/ 337 w 1051"/>
                <a:gd name="T15" fmla="*/ 5 h 177"/>
                <a:gd name="T16" fmla="*/ 395 w 1051"/>
                <a:gd name="T17" fmla="*/ 5 h 177"/>
                <a:gd name="T18" fmla="*/ 455 w 1051"/>
                <a:gd name="T19" fmla="*/ 3 h 177"/>
                <a:gd name="T20" fmla="*/ 501 w 1051"/>
                <a:gd name="T21" fmla="*/ 0 h 177"/>
                <a:gd name="T22" fmla="*/ 974 w 1051"/>
                <a:gd name="T23" fmla="*/ 14 h 177"/>
                <a:gd name="T24" fmla="*/ 991 w 1051"/>
                <a:gd name="T25" fmla="*/ 14 h 177"/>
                <a:gd name="T26" fmla="*/ 1050 w 1051"/>
                <a:gd name="T27" fmla="*/ 13 h 177"/>
                <a:gd name="T28" fmla="*/ 1089 w 1051"/>
                <a:gd name="T29" fmla="*/ 12 h 177"/>
                <a:gd name="T30" fmla="*/ 1141 w 1051"/>
                <a:gd name="T31" fmla="*/ 11 h 177"/>
                <a:gd name="T32" fmla="*/ 1179 w 1051"/>
                <a:gd name="T33" fmla="*/ 10 h 177"/>
                <a:gd name="T34" fmla="*/ 1242 w 1051"/>
                <a:gd name="T35" fmla="*/ 8 h 177"/>
                <a:gd name="T36" fmla="*/ 1289 w 1051"/>
                <a:gd name="T37" fmla="*/ 6 h 177"/>
                <a:gd name="T38" fmla="*/ 1336 w 1051"/>
                <a:gd name="T39" fmla="*/ 5 h 177"/>
                <a:gd name="T40" fmla="*/ 1372 w 1051"/>
                <a:gd name="T41" fmla="*/ 5 h 177"/>
                <a:gd name="T42" fmla="*/ 1425 w 1051"/>
                <a:gd name="T43" fmla="*/ 5 h 177"/>
                <a:gd name="T44" fmla="*/ 1467 w 1051"/>
                <a:gd name="T45" fmla="*/ 5 h 177"/>
                <a:gd name="T46" fmla="*/ 1502 w 1051"/>
                <a:gd name="T47" fmla="*/ 5 h 177"/>
                <a:gd name="T48" fmla="*/ 1542 w 1051"/>
                <a:gd name="T49" fmla="*/ 5 h 177"/>
                <a:gd name="T50" fmla="*/ 1571 w 1051"/>
                <a:gd name="T51" fmla="*/ 5 h 177"/>
                <a:gd name="T52" fmla="*/ 1631 w 1051"/>
                <a:gd name="T53" fmla="*/ 5 h 177"/>
                <a:gd name="T54" fmla="*/ 1698 w 1051"/>
                <a:gd name="T55" fmla="*/ 7 h 177"/>
                <a:gd name="T56" fmla="*/ 1734 w 1051"/>
                <a:gd name="T57" fmla="*/ 9 h 177"/>
                <a:gd name="T58" fmla="*/ 1776 w 1051"/>
                <a:gd name="T59" fmla="*/ 11 h 177"/>
                <a:gd name="T60" fmla="*/ 1858 w 1051"/>
                <a:gd name="T61" fmla="*/ 13 h 177"/>
                <a:gd name="T62" fmla="*/ 1920 w 1051"/>
                <a:gd name="T63" fmla="*/ 15 h 177"/>
                <a:gd name="T64" fmla="*/ 1958 w 1051"/>
                <a:gd name="T65" fmla="*/ 16 h 177"/>
                <a:gd name="T66" fmla="*/ 1983 w 1051"/>
                <a:gd name="T67" fmla="*/ 16 h 177"/>
                <a:gd name="T68" fmla="*/ 1495 w 1051"/>
                <a:gd name="T69" fmla="*/ 6 h 177"/>
                <a:gd name="T70" fmla="*/ 474 w 1051"/>
                <a:gd name="T71" fmla="*/ 5 h 177"/>
                <a:gd name="T72" fmla="*/ 0 w 1051"/>
                <a:gd name="T73" fmla="*/ 10 h 1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51"/>
                <a:gd name="T112" fmla="*/ 0 h 177"/>
                <a:gd name="T113" fmla="*/ 1051 w 1051"/>
                <a:gd name="T114" fmla="*/ 177 h 17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51" h="177">
                  <a:moveTo>
                    <a:pt x="0" y="91"/>
                  </a:moveTo>
                  <a:lnTo>
                    <a:pt x="9" y="85"/>
                  </a:lnTo>
                  <a:lnTo>
                    <a:pt x="23" y="80"/>
                  </a:lnTo>
                  <a:lnTo>
                    <a:pt x="36" y="74"/>
                  </a:lnTo>
                  <a:lnTo>
                    <a:pt x="55" y="68"/>
                  </a:lnTo>
                  <a:lnTo>
                    <a:pt x="68" y="63"/>
                  </a:lnTo>
                  <a:lnTo>
                    <a:pt x="73" y="60"/>
                  </a:lnTo>
                  <a:lnTo>
                    <a:pt x="91" y="54"/>
                  </a:lnTo>
                  <a:lnTo>
                    <a:pt x="96" y="51"/>
                  </a:lnTo>
                  <a:lnTo>
                    <a:pt x="110" y="48"/>
                  </a:lnTo>
                  <a:lnTo>
                    <a:pt x="123" y="46"/>
                  </a:lnTo>
                  <a:lnTo>
                    <a:pt x="132" y="40"/>
                  </a:lnTo>
                  <a:lnTo>
                    <a:pt x="146" y="37"/>
                  </a:lnTo>
                  <a:lnTo>
                    <a:pt x="160" y="34"/>
                  </a:lnTo>
                  <a:lnTo>
                    <a:pt x="169" y="28"/>
                  </a:lnTo>
                  <a:lnTo>
                    <a:pt x="178" y="26"/>
                  </a:lnTo>
                  <a:lnTo>
                    <a:pt x="192" y="23"/>
                  </a:lnTo>
                  <a:lnTo>
                    <a:pt x="210" y="14"/>
                  </a:lnTo>
                  <a:lnTo>
                    <a:pt x="228" y="8"/>
                  </a:lnTo>
                  <a:lnTo>
                    <a:pt x="242" y="3"/>
                  </a:lnTo>
                  <a:lnTo>
                    <a:pt x="256" y="3"/>
                  </a:lnTo>
                  <a:lnTo>
                    <a:pt x="265" y="0"/>
                  </a:lnTo>
                  <a:lnTo>
                    <a:pt x="516" y="139"/>
                  </a:lnTo>
                  <a:lnTo>
                    <a:pt x="516" y="137"/>
                  </a:lnTo>
                  <a:lnTo>
                    <a:pt x="525" y="134"/>
                  </a:lnTo>
                  <a:lnTo>
                    <a:pt x="539" y="125"/>
                  </a:lnTo>
                  <a:lnTo>
                    <a:pt x="557" y="120"/>
                  </a:lnTo>
                  <a:lnTo>
                    <a:pt x="567" y="114"/>
                  </a:lnTo>
                  <a:lnTo>
                    <a:pt x="576" y="111"/>
                  </a:lnTo>
                  <a:lnTo>
                    <a:pt x="585" y="105"/>
                  </a:lnTo>
                  <a:lnTo>
                    <a:pt x="603" y="100"/>
                  </a:lnTo>
                  <a:lnTo>
                    <a:pt x="612" y="94"/>
                  </a:lnTo>
                  <a:lnTo>
                    <a:pt x="626" y="91"/>
                  </a:lnTo>
                  <a:lnTo>
                    <a:pt x="640" y="85"/>
                  </a:lnTo>
                  <a:lnTo>
                    <a:pt x="658" y="80"/>
                  </a:lnTo>
                  <a:lnTo>
                    <a:pt x="663" y="71"/>
                  </a:lnTo>
                  <a:lnTo>
                    <a:pt x="681" y="68"/>
                  </a:lnTo>
                  <a:lnTo>
                    <a:pt x="695" y="63"/>
                  </a:lnTo>
                  <a:lnTo>
                    <a:pt x="708" y="60"/>
                  </a:lnTo>
                  <a:lnTo>
                    <a:pt x="717" y="51"/>
                  </a:lnTo>
                  <a:lnTo>
                    <a:pt x="727" y="48"/>
                  </a:lnTo>
                  <a:lnTo>
                    <a:pt x="745" y="46"/>
                  </a:lnTo>
                  <a:lnTo>
                    <a:pt x="754" y="40"/>
                  </a:lnTo>
                  <a:lnTo>
                    <a:pt x="763" y="37"/>
                  </a:lnTo>
                  <a:lnTo>
                    <a:pt x="777" y="34"/>
                  </a:lnTo>
                  <a:lnTo>
                    <a:pt x="781" y="28"/>
                  </a:lnTo>
                  <a:lnTo>
                    <a:pt x="795" y="28"/>
                  </a:lnTo>
                  <a:lnTo>
                    <a:pt x="804" y="26"/>
                  </a:lnTo>
                  <a:lnTo>
                    <a:pt x="818" y="26"/>
                  </a:lnTo>
                  <a:lnTo>
                    <a:pt x="818" y="28"/>
                  </a:lnTo>
                  <a:lnTo>
                    <a:pt x="832" y="34"/>
                  </a:lnTo>
                  <a:lnTo>
                    <a:pt x="845" y="40"/>
                  </a:lnTo>
                  <a:lnTo>
                    <a:pt x="864" y="51"/>
                  </a:lnTo>
                  <a:lnTo>
                    <a:pt x="877" y="60"/>
                  </a:lnTo>
                  <a:lnTo>
                    <a:pt x="900" y="71"/>
                  </a:lnTo>
                  <a:lnTo>
                    <a:pt x="909" y="80"/>
                  </a:lnTo>
                  <a:lnTo>
                    <a:pt x="919" y="85"/>
                  </a:lnTo>
                  <a:lnTo>
                    <a:pt x="932" y="91"/>
                  </a:lnTo>
                  <a:lnTo>
                    <a:pt x="941" y="100"/>
                  </a:lnTo>
                  <a:lnTo>
                    <a:pt x="964" y="111"/>
                  </a:lnTo>
                  <a:lnTo>
                    <a:pt x="983" y="122"/>
                  </a:lnTo>
                  <a:lnTo>
                    <a:pt x="1001" y="134"/>
                  </a:lnTo>
                  <a:lnTo>
                    <a:pt x="1019" y="142"/>
                  </a:lnTo>
                  <a:lnTo>
                    <a:pt x="1028" y="151"/>
                  </a:lnTo>
                  <a:lnTo>
                    <a:pt x="1037" y="157"/>
                  </a:lnTo>
                  <a:lnTo>
                    <a:pt x="1051" y="162"/>
                  </a:lnTo>
                  <a:lnTo>
                    <a:pt x="992" y="171"/>
                  </a:lnTo>
                  <a:lnTo>
                    <a:pt x="791" y="63"/>
                  </a:lnTo>
                  <a:lnTo>
                    <a:pt x="489" y="177"/>
                  </a:lnTo>
                  <a:lnTo>
                    <a:pt x="251" y="40"/>
                  </a:lnTo>
                  <a:lnTo>
                    <a:pt x="0" y="91"/>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50" name="Freeform 42"/>
            <p:cNvSpPr>
              <a:spLocks/>
            </p:cNvSpPr>
            <p:nvPr>
              <p:custDataLst>
                <p:tags r:id="rId249"/>
              </p:custDataLst>
            </p:nvPr>
          </p:nvSpPr>
          <p:spPr bwMode="gray">
            <a:xfrm>
              <a:off x="3448" y="1776"/>
              <a:ext cx="890" cy="193"/>
            </a:xfrm>
            <a:custGeom>
              <a:avLst/>
              <a:gdLst>
                <a:gd name="T0" fmla="*/ 13 w 868"/>
                <a:gd name="T1" fmla="*/ 14 h 211"/>
                <a:gd name="T2" fmla="*/ 74 w 868"/>
                <a:gd name="T3" fmla="*/ 12 h 211"/>
                <a:gd name="T4" fmla="*/ 124 w 868"/>
                <a:gd name="T5" fmla="*/ 10 h 211"/>
                <a:gd name="T6" fmla="*/ 173 w 868"/>
                <a:gd name="T7" fmla="*/ 7 h 211"/>
                <a:gd name="T8" fmla="*/ 209 w 868"/>
                <a:gd name="T9" fmla="*/ 5 h 211"/>
                <a:gd name="T10" fmla="*/ 251 w 868"/>
                <a:gd name="T11" fmla="*/ 5 h 211"/>
                <a:gd name="T12" fmla="*/ 305 w 868"/>
                <a:gd name="T13" fmla="*/ 5 h 211"/>
                <a:gd name="T14" fmla="*/ 342 w 868"/>
                <a:gd name="T15" fmla="*/ 5 h 211"/>
                <a:gd name="T16" fmla="*/ 385 w 868"/>
                <a:gd name="T17" fmla="*/ 5 h 211"/>
                <a:gd name="T18" fmla="*/ 448 w 868"/>
                <a:gd name="T19" fmla="*/ 5 h 211"/>
                <a:gd name="T20" fmla="*/ 509 w 868"/>
                <a:gd name="T21" fmla="*/ 8 h 211"/>
                <a:gd name="T22" fmla="*/ 585 w 868"/>
                <a:gd name="T23" fmla="*/ 11 h 211"/>
                <a:gd name="T24" fmla="*/ 656 w 868"/>
                <a:gd name="T25" fmla="*/ 13 h 211"/>
                <a:gd name="T26" fmla="*/ 697 w 868"/>
                <a:gd name="T27" fmla="*/ 15 h 211"/>
                <a:gd name="T28" fmla="*/ 743 w 868"/>
                <a:gd name="T29" fmla="*/ 15 h 211"/>
                <a:gd name="T30" fmla="*/ 752 w 868"/>
                <a:gd name="T31" fmla="*/ 15 h 211"/>
                <a:gd name="T32" fmla="*/ 779 w 868"/>
                <a:gd name="T33" fmla="*/ 13 h 211"/>
                <a:gd name="T34" fmla="*/ 832 w 868"/>
                <a:gd name="T35" fmla="*/ 11 h 211"/>
                <a:gd name="T36" fmla="*/ 876 w 868"/>
                <a:gd name="T37" fmla="*/ 9 h 211"/>
                <a:gd name="T38" fmla="*/ 903 w 868"/>
                <a:gd name="T39" fmla="*/ 7 h 211"/>
                <a:gd name="T40" fmla="*/ 937 w 868"/>
                <a:gd name="T41" fmla="*/ 5 h 211"/>
                <a:gd name="T42" fmla="*/ 954 w 868"/>
                <a:gd name="T43" fmla="*/ 5 h 211"/>
                <a:gd name="T44" fmla="*/ 1005 w 868"/>
                <a:gd name="T45" fmla="*/ 5 h 211"/>
                <a:gd name="T46" fmla="*/ 1050 w 868"/>
                <a:gd name="T47" fmla="*/ 5 h 211"/>
                <a:gd name="T48" fmla="*/ 1083 w 868"/>
                <a:gd name="T49" fmla="*/ 0 h 211"/>
                <a:gd name="T50" fmla="*/ 1110 w 868"/>
                <a:gd name="T51" fmla="*/ 3 h 211"/>
                <a:gd name="T52" fmla="*/ 1147 w 868"/>
                <a:gd name="T53" fmla="*/ 5 h 211"/>
                <a:gd name="T54" fmla="*/ 1190 w 868"/>
                <a:gd name="T55" fmla="*/ 5 h 211"/>
                <a:gd name="T56" fmla="*/ 1224 w 868"/>
                <a:gd name="T57" fmla="*/ 5 h 211"/>
                <a:gd name="T58" fmla="*/ 1280 w 868"/>
                <a:gd name="T59" fmla="*/ 5 h 211"/>
                <a:gd name="T60" fmla="*/ 1321 w 868"/>
                <a:gd name="T61" fmla="*/ 5 h 211"/>
                <a:gd name="T62" fmla="*/ 1367 w 868"/>
                <a:gd name="T63" fmla="*/ 5 h 211"/>
                <a:gd name="T64" fmla="*/ 1426 w 868"/>
                <a:gd name="T65" fmla="*/ 7 h 211"/>
                <a:gd name="T66" fmla="*/ 1469 w 868"/>
                <a:gd name="T67" fmla="*/ 9 h 211"/>
                <a:gd name="T68" fmla="*/ 1515 w 868"/>
                <a:gd name="T69" fmla="*/ 10 h 211"/>
                <a:gd name="T70" fmla="*/ 1561 w 868"/>
                <a:gd name="T71" fmla="*/ 12 h 211"/>
                <a:gd name="T72" fmla="*/ 1612 w 868"/>
                <a:gd name="T73" fmla="*/ 13 h 211"/>
                <a:gd name="T74" fmla="*/ 1654 w 868"/>
                <a:gd name="T75" fmla="*/ 14 h 211"/>
                <a:gd name="T76" fmla="*/ 1447 w 868"/>
                <a:gd name="T77" fmla="*/ 15 h 211"/>
                <a:gd name="T78" fmla="*/ 1110 w 868"/>
                <a:gd name="T79" fmla="*/ 5 h 211"/>
                <a:gd name="T80" fmla="*/ 1083 w 868"/>
                <a:gd name="T81" fmla="*/ 5 h 211"/>
                <a:gd name="T82" fmla="*/ 1069 w 868"/>
                <a:gd name="T83" fmla="*/ 7 h 211"/>
                <a:gd name="T84" fmla="*/ 1043 w 868"/>
                <a:gd name="T85" fmla="*/ 9 h 211"/>
                <a:gd name="T86" fmla="*/ 1005 w 868"/>
                <a:gd name="T87" fmla="*/ 11 h 211"/>
                <a:gd name="T88" fmla="*/ 963 w 868"/>
                <a:gd name="T89" fmla="*/ 12 h 211"/>
                <a:gd name="T90" fmla="*/ 928 w 868"/>
                <a:gd name="T91" fmla="*/ 14 h 211"/>
                <a:gd name="T92" fmla="*/ 893 w 868"/>
                <a:gd name="T93" fmla="*/ 15 h 211"/>
                <a:gd name="T94" fmla="*/ 849 w 868"/>
                <a:gd name="T95" fmla="*/ 16 h 211"/>
                <a:gd name="T96" fmla="*/ 804 w 868"/>
                <a:gd name="T97" fmla="*/ 17 h 211"/>
                <a:gd name="T98" fmla="*/ 770 w 868"/>
                <a:gd name="T99" fmla="*/ 19 h 211"/>
                <a:gd name="T100" fmla="*/ 734 w 868"/>
                <a:gd name="T101" fmla="*/ 21 h 211"/>
                <a:gd name="T102" fmla="*/ 697 w 868"/>
                <a:gd name="T103" fmla="*/ 21 h 211"/>
                <a:gd name="T104" fmla="*/ 680 w 868"/>
                <a:gd name="T105" fmla="*/ 19 h 211"/>
                <a:gd name="T106" fmla="*/ 639 w 868"/>
                <a:gd name="T107" fmla="*/ 17 h 211"/>
                <a:gd name="T108" fmla="*/ 585 w 868"/>
                <a:gd name="T109" fmla="*/ 16 h 211"/>
                <a:gd name="T110" fmla="*/ 509 w 868"/>
                <a:gd name="T111" fmla="*/ 14 h 211"/>
                <a:gd name="T112" fmla="*/ 483 w 868"/>
                <a:gd name="T113" fmla="*/ 13 h 211"/>
                <a:gd name="T114" fmla="*/ 448 w 868"/>
                <a:gd name="T115" fmla="*/ 12 h 211"/>
                <a:gd name="T116" fmla="*/ 385 w 868"/>
                <a:gd name="T117" fmla="*/ 9 h 211"/>
                <a:gd name="T118" fmla="*/ 349 w 868"/>
                <a:gd name="T119" fmla="*/ 7 h 211"/>
                <a:gd name="T120" fmla="*/ 0 w 868"/>
                <a:gd name="T121" fmla="*/ 14 h 21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68"/>
                <a:gd name="T184" fmla="*/ 0 h 211"/>
                <a:gd name="T185" fmla="*/ 868 w 868"/>
                <a:gd name="T186" fmla="*/ 211 h 21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68" h="211">
                  <a:moveTo>
                    <a:pt x="0" y="140"/>
                  </a:moveTo>
                  <a:lnTo>
                    <a:pt x="13" y="131"/>
                  </a:lnTo>
                  <a:lnTo>
                    <a:pt x="27" y="123"/>
                  </a:lnTo>
                  <a:lnTo>
                    <a:pt x="41" y="111"/>
                  </a:lnTo>
                  <a:lnTo>
                    <a:pt x="54" y="103"/>
                  </a:lnTo>
                  <a:lnTo>
                    <a:pt x="64" y="92"/>
                  </a:lnTo>
                  <a:lnTo>
                    <a:pt x="77" y="83"/>
                  </a:lnTo>
                  <a:lnTo>
                    <a:pt x="91" y="74"/>
                  </a:lnTo>
                  <a:lnTo>
                    <a:pt x="105" y="66"/>
                  </a:lnTo>
                  <a:lnTo>
                    <a:pt x="109" y="57"/>
                  </a:lnTo>
                  <a:lnTo>
                    <a:pt x="123" y="49"/>
                  </a:lnTo>
                  <a:lnTo>
                    <a:pt x="132" y="43"/>
                  </a:lnTo>
                  <a:lnTo>
                    <a:pt x="146" y="37"/>
                  </a:lnTo>
                  <a:lnTo>
                    <a:pt x="160" y="29"/>
                  </a:lnTo>
                  <a:lnTo>
                    <a:pt x="173" y="26"/>
                  </a:lnTo>
                  <a:lnTo>
                    <a:pt x="178" y="29"/>
                  </a:lnTo>
                  <a:lnTo>
                    <a:pt x="187" y="35"/>
                  </a:lnTo>
                  <a:lnTo>
                    <a:pt x="201" y="37"/>
                  </a:lnTo>
                  <a:lnTo>
                    <a:pt x="214" y="49"/>
                  </a:lnTo>
                  <a:lnTo>
                    <a:pt x="233" y="57"/>
                  </a:lnTo>
                  <a:lnTo>
                    <a:pt x="251" y="69"/>
                  </a:lnTo>
                  <a:lnTo>
                    <a:pt x="265" y="80"/>
                  </a:lnTo>
                  <a:lnTo>
                    <a:pt x="288" y="94"/>
                  </a:lnTo>
                  <a:lnTo>
                    <a:pt x="306" y="103"/>
                  </a:lnTo>
                  <a:lnTo>
                    <a:pt x="324" y="114"/>
                  </a:lnTo>
                  <a:lnTo>
                    <a:pt x="342" y="126"/>
                  </a:lnTo>
                  <a:lnTo>
                    <a:pt x="356" y="134"/>
                  </a:lnTo>
                  <a:lnTo>
                    <a:pt x="365" y="143"/>
                  </a:lnTo>
                  <a:lnTo>
                    <a:pt x="379" y="146"/>
                  </a:lnTo>
                  <a:lnTo>
                    <a:pt x="388" y="148"/>
                  </a:lnTo>
                  <a:lnTo>
                    <a:pt x="393" y="148"/>
                  </a:lnTo>
                  <a:lnTo>
                    <a:pt x="393" y="143"/>
                  </a:lnTo>
                  <a:lnTo>
                    <a:pt x="402" y="134"/>
                  </a:lnTo>
                  <a:lnTo>
                    <a:pt x="406" y="126"/>
                  </a:lnTo>
                  <a:lnTo>
                    <a:pt x="420" y="114"/>
                  </a:lnTo>
                  <a:lnTo>
                    <a:pt x="434" y="103"/>
                  </a:lnTo>
                  <a:lnTo>
                    <a:pt x="447" y="92"/>
                  </a:lnTo>
                  <a:lnTo>
                    <a:pt x="457" y="86"/>
                  </a:lnTo>
                  <a:lnTo>
                    <a:pt x="466" y="80"/>
                  </a:lnTo>
                  <a:lnTo>
                    <a:pt x="470" y="72"/>
                  </a:lnTo>
                  <a:lnTo>
                    <a:pt x="479" y="69"/>
                  </a:lnTo>
                  <a:lnTo>
                    <a:pt x="489" y="60"/>
                  </a:lnTo>
                  <a:lnTo>
                    <a:pt x="493" y="55"/>
                  </a:lnTo>
                  <a:lnTo>
                    <a:pt x="498" y="46"/>
                  </a:lnTo>
                  <a:lnTo>
                    <a:pt x="507" y="40"/>
                  </a:lnTo>
                  <a:lnTo>
                    <a:pt x="525" y="29"/>
                  </a:lnTo>
                  <a:lnTo>
                    <a:pt x="539" y="20"/>
                  </a:lnTo>
                  <a:lnTo>
                    <a:pt x="548" y="12"/>
                  </a:lnTo>
                  <a:lnTo>
                    <a:pt x="562" y="3"/>
                  </a:lnTo>
                  <a:lnTo>
                    <a:pt x="566" y="0"/>
                  </a:lnTo>
                  <a:lnTo>
                    <a:pt x="580" y="0"/>
                  </a:lnTo>
                  <a:lnTo>
                    <a:pt x="580" y="3"/>
                  </a:lnTo>
                  <a:lnTo>
                    <a:pt x="594" y="6"/>
                  </a:lnTo>
                  <a:lnTo>
                    <a:pt x="598" y="9"/>
                  </a:lnTo>
                  <a:lnTo>
                    <a:pt x="612" y="12"/>
                  </a:lnTo>
                  <a:lnTo>
                    <a:pt x="621" y="17"/>
                  </a:lnTo>
                  <a:lnTo>
                    <a:pt x="630" y="23"/>
                  </a:lnTo>
                  <a:lnTo>
                    <a:pt x="639" y="26"/>
                  </a:lnTo>
                  <a:lnTo>
                    <a:pt x="653" y="32"/>
                  </a:lnTo>
                  <a:lnTo>
                    <a:pt x="667" y="37"/>
                  </a:lnTo>
                  <a:lnTo>
                    <a:pt x="676" y="43"/>
                  </a:lnTo>
                  <a:lnTo>
                    <a:pt x="690" y="49"/>
                  </a:lnTo>
                  <a:lnTo>
                    <a:pt x="703" y="57"/>
                  </a:lnTo>
                  <a:lnTo>
                    <a:pt x="713" y="60"/>
                  </a:lnTo>
                  <a:lnTo>
                    <a:pt x="731" y="69"/>
                  </a:lnTo>
                  <a:lnTo>
                    <a:pt x="745" y="74"/>
                  </a:lnTo>
                  <a:lnTo>
                    <a:pt x="754" y="80"/>
                  </a:lnTo>
                  <a:lnTo>
                    <a:pt x="767" y="86"/>
                  </a:lnTo>
                  <a:lnTo>
                    <a:pt x="781" y="92"/>
                  </a:lnTo>
                  <a:lnTo>
                    <a:pt x="790" y="97"/>
                  </a:lnTo>
                  <a:lnTo>
                    <a:pt x="799" y="103"/>
                  </a:lnTo>
                  <a:lnTo>
                    <a:pt x="813" y="109"/>
                  </a:lnTo>
                  <a:lnTo>
                    <a:pt x="822" y="114"/>
                  </a:lnTo>
                  <a:lnTo>
                    <a:pt x="841" y="123"/>
                  </a:lnTo>
                  <a:lnTo>
                    <a:pt x="854" y="131"/>
                  </a:lnTo>
                  <a:lnTo>
                    <a:pt x="863" y="134"/>
                  </a:lnTo>
                  <a:lnTo>
                    <a:pt x="868" y="134"/>
                  </a:lnTo>
                  <a:lnTo>
                    <a:pt x="754" y="143"/>
                  </a:lnTo>
                  <a:lnTo>
                    <a:pt x="585" y="52"/>
                  </a:lnTo>
                  <a:lnTo>
                    <a:pt x="580" y="55"/>
                  </a:lnTo>
                  <a:lnTo>
                    <a:pt x="575" y="57"/>
                  </a:lnTo>
                  <a:lnTo>
                    <a:pt x="566" y="60"/>
                  </a:lnTo>
                  <a:lnTo>
                    <a:pt x="562" y="69"/>
                  </a:lnTo>
                  <a:lnTo>
                    <a:pt x="557" y="72"/>
                  </a:lnTo>
                  <a:lnTo>
                    <a:pt x="548" y="80"/>
                  </a:lnTo>
                  <a:lnTo>
                    <a:pt x="543" y="86"/>
                  </a:lnTo>
                  <a:lnTo>
                    <a:pt x="530" y="92"/>
                  </a:lnTo>
                  <a:lnTo>
                    <a:pt x="525" y="100"/>
                  </a:lnTo>
                  <a:lnTo>
                    <a:pt x="511" y="109"/>
                  </a:lnTo>
                  <a:lnTo>
                    <a:pt x="502" y="114"/>
                  </a:lnTo>
                  <a:lnTo>
                    <a:pt x="489" y="123"/>
                  </a:lnTo>
                  <a:lnTo>
                    <a:pt x="484" y="131"/>
                  </a:lnTo>
                  <a:lnTo>
                    <a:pt x="475" y="137"/>
                  </a:lnTo>
                  <a:lnTo>
                    <a:pt x="466" y="146"/>
                  </a:lnTo>
                  <a:lnTo>
                    <a:pt x="452" y="154"/>
                  </a:lnTo>
                  <a:lnTo>
                    <a:pt x="443" y="160"/>
                  </a:lnTo>
                  <a:lnTo>
                    <a:pt x="434" y="168"/>
                  </a:lnTo>
                  <a:lnTo>
                    <a:pt x="420" y="174"/>
                  </a:lnTo>
                  <a:lnTo>
                    <a:pt x="415" y="183"/>
                  </a:lnTo>
                  <a:lnTo>
                    <a:pt x="402" y="186"/>
                  </a:lnTo>
                  <a:lnTo>
                    <a:pt x="402" y="194"/>
                  </a:lnTo>
                  <a:lnTo>
                    <a:pt x="384" y="205"/>
                  </a:lnTo>
                  <a:lnTo>
                    <a:pt x="374" y="208"/>
                  </a:lnTo>
                  <a:lnTo>
                    <a:pt x="365" y="211"/>
                  </a:lnTo>
                  <a:lnTo>
                    <a:pt x="365" y="205"/>
                  </a:lnTo>
                  <a:lnTo>
                    <a:pt x="356" y="197"/>
                  </a:lnTo>
                  <a:lnTo>
                    <a:pt x="347" y="191"/>
                  </a:lnTo>
                  <a:lnTo>
                    <a:pt x="333" y="180"/>
                  </a:lnTo>
                  <a:lnTo>
                    <a:pt x="320" y="168"/>
                  </a:lnTo>
                  <a:lnTo>
                    <a:pt x="306" y="157"/>
                  </a:lnTo>
                  <a:lnTo>
                    <a:pt x="288" y="143"/>
                  </a:lnTo>
                  <a:lnTo>
                    <a:pt x="265" y="134"/>
                  </a:lnTo>
                  <a:lnTo>
                    <a:pt x="256" y="126"/>
                  </a:lnTo>
                  <a:lnTo>
                    <a:pt x="251" y="120"/>
                  </a:lnTo>
                  <a:lnTo>
                    <a:pt x="237" y="114"/>
                  </a:lnTo>
                  <a:lnTo>
                    <a:pt x="233" y="109"/>
                  </a:lnTo>
                  <a:lnTo>
                    <a:pt x="214" y="97"/>
                  </a:lnTo>
                  <a:lnTo>
                    <a:pt x="201" y="89"/>
                  </a:lnTo>
                  <a:lnTo>
                    <a:pt x="187" y="80"/>
                  </a:lnTo>
                  <a:lnTo>
                    <a:pt x="182" y="74"/>
                  </a:lnTo>
                  <a:lnTo>
                    <a:pt x="173" y="69"/>
                  </a:lnTo>
                  <a:lnTo>
                    <a:pt x="0" y="14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51" name="Freeform 43"/>
            <p:cNvSpPr>
              <a:spLocks/>
            </p:cNvSpPr>
            <p:nvPr>
              <p:custDataLst>
                <p:tags r:id="rId250"/>
              </p:custDataLst>
            </p:nvPr>
          </p:nvSpPr>
          <p:spPr bwMode="gray">
            <a:xfrm>
              <a:off x="2468" y="1772"/>
              <a:ext cx="980" cy="129"/>
            </a:xfrm>
            <a:custGeom>
              <a:avLst/>
              <a:gdLst>
                <a:gd name="T0" fmla="*/ 66 w 956"/>
                <a:gd name="T1" fmla="*/ 8 h 142"/>
                <a:gd name="T2" fmla="*/ 131 w 956"/>
                <a:gd name="T3" fmla="*/ 6 h 142"/>
                <a:gd name="T4" fmla="*/ 195 w 956"/>
                <a:gd name="T5" fmla="*/ 5 h 142"/>
                <a:gd name="T6" fmla="*/ 252 w 956"/>
                <a:gd name="T7" fmla="*/ 5 h 142"/>
                <a:gd name="T8" fmla="*/ 323 w 956"/>
                <a:gd name="T9" fmla="*/ 5 h 142"/>
                <a:gd name="T10" fmla="*/ 401 w 956"/>
                <a:gd name="T11" fmla="*/ 5 h 142"/>
                <a:gd name="T12" fmla="*/ 471 w 956"/>
                <a:gd name="T13" fmla="*/ 5 h 142"/>
                <a:gd name="T14" fmla="*/ 547 w 956"/>
                <a:gd name="T15" fmla="*/ 5 h 142"/>
                <a:gd name="T16" fmla="*/ 635 w 956"/>
                <a:gd name="T17" fmla="*/ 5 h 142"/>
                <a:gd name="T18" fmla="*/ 713 w 956"/>
                <a:gd name="T19" fmla="*/ 5 h 142"/>
                <a:gd name="T20" fmla="*/ 804 w 956"/>
                <a:gd name="T21" fmla="*/ 5 h 142"/>
                <a:gd name="T22" fmla="*/ 883 w 956"/>
                <a:gd name="T23" fmla="*/ 3 h 142"/>
                <a:gd name="T24" fmla="*/ 953 w 956"/>
                <a:gd name="T25" fmla="*/ 3 h 142"/>
                <a:gd name="T26" fmla="*/ 1035 w 956"/>
                <a:gd name="T27" fmla="*/ 0 h 142"/>
                <a:gd name="T28" fmla="*/ 1113 w 956"/>
                <a:gd name="T29" fmla="*/ 0 h 142"/>
                <a:gd name="T30" fmla="*/ 1187 w 956"/>
                <a:gd name="T31" fmla="*/ 3 h 142"/>
                <a:gd name="T32" fmla="*/ 1248 w 956"/>
                <a:gd name="T33" fmla="*/ 3 h 142"/>
                <a:gd name="T34" fmla="*/ 1316 w 956"/>
                <a:gd name="T35" fmla="*/ 5 h 142"/>
                <a:gd name="T36" fmla="*/ 1399 w 956"/>
                <a:gd name="T37" fmla="*/ 5 h 142"/>
                <a:gd name="T38" fmla="*/ 1470 w 956"/>
                <a:gd name="T39" fmla="*/ 5 h 142"/>
                <a:gd name="T40" fmla="*/ 1541 w 956"/>
                <a:gd name="T41" fmla="*/ 5 h 142"/>
                <a:gd name="T42" fmla="*/ 1614 w 956"/>
                <a:gd name="T43" fmla="*/ 5 h 142"/>
                <a:gd name="T44" fmla="*/ 1690 w 956"/>
                <a:gd name="T45" fmla="*/ 5 h 142"/>
                <a:gd name="T46" fmla="*/ 1765 w 956"/>
                <a:gd name="T47" fmla="*/ 6 h 142"/>
                <a:gd name="T48" fmla="*/ 1809 w 956"/>
                <a:gd name="T49" fmla="*/ 8 h 142"/>
                <a:gd name="T50" fmla="*/ 1809 w 956"/>
                <a:gd name="T51" fmla="*/ 8 h 142"/>
                <a:gd name="T52" fmla="*/ 1744 w 956"/>
                <a:gd name="T53" fmla="*/ 7 h 142"/>
                <a:gd name="T54" fmla="*/ 1673 w 956"/>
                <a:gd name="T55" fmla="*/ 5 h 142"/>
                <a:gd name="T56" fmla="*/ 1596 w 956"/>
                <a:gd name="T57" fmla="*/ 5 h 142"/>
                <a:gd name="T58" fmla="*/ 1505 w 956"/>
                <a:gd name="T59" fmla="*/ 5 h 142"/>
                <a:gd name="T60" fmla="*/ 1399 w 956"/>
                <a:gd name="T61" fmla="*/ 5 h 142"/>
                <a:gd name="T62" fmla="*/ 1290 w 956"/>
                <a:gd name="T63" fmla="*/ 5 h 142"/>
                <a:gd name="T64" fmla="*/ 1212 w 956"/>
                <a:gd name="T65" fmla="*/ 5 h 142"/>
                <a:gd name="T66" fmla="*/ 1152 w 956"/>
                <a:gd name="T67" fmla="*/ 5 h 142"/>
                <a:gd name="T68" fmla="*/ 1088 w 956"/>
                <a:gd name="T69" fmla="*/ 5 h 142"/>
                <a:gd name="T70" fmla="*/ 1030 w 956"/>
                <a:gd name="T71" fmla="*/ 5 h 142"/>
                <a:gd name="T72" fmla="*/ 968 w 956"/>
                <a:gd name="T73" fmla="*/ 5 h 142"/>
                <a:gd name="T74" fmla="*/ 896 w 956"/>
                <a:gd name="T75" fmla="*/ 5 h 142"/>
                <a:gd name="T76" fmla="*/ 827 w 956"/>
                <a:gd name="T77" fmla="*/ 5 h 142"/>
                <a:gd name="T78" fmla="*/ 757 w 956"/>
                <a:gd name="T79" fmla="*/ 5 h 142"/>
                <a:gd name="T80" fmla="*/ 696 w 956"/>
                <a:gd name="T81" fmla="*/ 5 h 142"/>
                <a:gd name="T82" fmla="*/ 628 w 956"/>
                <a:gd name="T83" fmla="*/ 5 h 142"/>
                <a:gd name="T84" fmla="*/ 568 w 956"/>
                <a:gd name="T85" fmla="*/ 5 h 142"/>
                <a:gd name="T86" fmla="*/ 507 w 956"/>
                <a:gd name="T87" fmla="*/ 5 h 142"/>
                <a:gd name="T88" fmla="*/ 437 w 956"/>
                <a:gd name="T89" fmla="*/ 5 h 142"/>
                <a:gd name="T90" fmla="*/ 359 w 956"/>
                <a:gd name="T91" fmla="*/ 6 h 142"/>
                <a:gd name="T92" fmla="*/ 263 w 956"/>
                <a:gd name="T93" fmla="*/ 8 h 142"/>
                <a:gd name="T94" fmla="*/ 164 w 956"/>
                <a:gd name="T95" fmla="*/ 10 h 142"/>
                <a:gd name="T96" fmla="*/ 84 w 956"/>
                <a:gd name="T97" fmla="*/ 11 h 142"/>
                <a:gd name="T98" fmla="*/ 0 w 956"/>
                <a:gd name="T99" fmla="*/ 12 h 142"/>
                <a:gd name="T100" fmla="*/ 5 w 956"/>
                <a:gd name="T101" fmla="*/ 11 h 142"/>
                <a:gd name="T102" fmla="*/ 5 w 956"/>
                <a:gd name="T103" fmla="*/ 10 h 14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56"/>
                <a:gd name="T157" fmla="*/ 0 h 142"/>
                <a:gd name="T158" fmla="*/ 956 w 956"/>
                <a:gd name="T159" fmla="*/ 142 h 14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56" h="142">
                  <a:moveTo>
                    <a:pt x="5" y="119"/>
                  </a:moveTo>
                  <a:lnTo>
                    <a:pt x="19" y="108"/>
                  </a:lnTo>
                  <a:lnTo>
                    <a:pt x="37" y="97"/>
                  </a:lnTo>
                  <a:lnTo>
                    <a:pt x="46" y="91"/>
                  </a:lnTo>
                  <a:lnTo>
                    <a:pt x="55" y="85"/>
                  </a:lnTo>
                  <a:lnTo>
                    <a:pt x="69" y="79"/>
                  </a:lnTo>
                  <a:lnTo>
                    <a:pt x="78" y="77"/>
                  </a:lnTo>
                  <a:lnTo>
                    <a:pt x="87" y="74"/>
                  </a:lnTo>
                  <a:lnTo>
                    <a:pt x="101" y="68"/>
                  </a:lnTo>
                  <a:lnTo>
                    <a:pt x="110" y="62"/>
                  </a:lnTo>
                  <a:lnTo>
                    <a:pt x="119" y="60"/>
                  </a:lnTo>
                  <a:lnTo>
                    <a:pt x="133" y="57"/>
                  </a:lnTo>
                  <a:lnTo>
                    <a:pt x="147" y="51"/>
                  </a:lnTo>
                  <a:lnTo>
                    <a:pt x="156" y="51"/>
                  </a:lnTo>
                  <a:lnTo>
                    <a:pt x="170" y="45"/>
                  </a:lnTo>
                  <a:lnTo>
                    <a:pt x="183" y="42"/>
                  </a:lnTo>
                  <a:lnTo>
                    <a:pt x="192" y="40"/>
                  </a:lnTo>
                  <a:lnTo>
                    <a:pt x="211" y="37"/>
                  </a:lnTo>
                  <a:lnTo>
                    <a:pt x="224" y="31"/>
                  </a:lnTo>
                  <a:lnTo>
                    <a:pt x="234" y="31"/>
                  </a:lnTo>
                  <a:lnTo>
                    <a:pt x="247" y="28"/>
                  </a:lnTo>
                  <a:lnTo>
                    <a:pt x="261" y="25"/>
                  </a:lnTo>
                  <a:lnTo>
                    <a:pt x="279" y="22"/>
                  </a:lnTo>
                  <a:lnTo>
                    <a:pt x="288" y="20"/>
                  </a:lnTo>
                  <a:lnTo>
                    <a:pt x="307" y="20"/>
                  </a:lnTo>
                  <a:lnTo>
                    <a:pt x="320" y="17"/>
                  </a:lnTo>
                  <a:lnTo>
                    <a:pt x="334" y="17"/>
                  </a:lnTo>
                  <a:lnTo>
                    <a:pt x="343" y="14"/>
                  </a:lnTo>
                  <a:lnTo>
                    <a:pt x="361" y="11"/>
                  </a:lnTo>
                  <a:lnTo>
                    <a:pt x="375" y="8"/>
                  </a:lnTo>
                  <a:lnTo>
                    <a:pt x="393" y="8"/>
                  </a:lnTo>
                  <a:lnTo>
                    <a:pt x="403" y="8"/>
                  </a:lnTo>
                  <a:lnTo>
                    <a:pt x="421" y="5"/>
                  </a:lnTo>
                  <a:lnTo>
                    <a:pt x="430" y="5"/>
                  </a:lnTo>
                  <a:lnTo>
                    <a:pt x="448" y="5"/>
                  </a:lnTo>
                  <a:lnTo>
                    <a:pt x="462" y="3"/>
                  </a:lnTo>
                  <a:lnTo>
                    <a:pt x="476" y="3"/>
                  </a:lnTo>
                  <a:lnTo>
                    <a:pt x="489" y="3"/>
                  </a:lnTo>
                  <a:lnTo>
                    <a:pt x="499" y="3"/>
                  </a:lnTo>
                  <a:lnTo>
                    <a:pt x="517" y="0"/>
                  </a:lnTo>
                  <a:lnTo>
                    <a:pt x="531" y="0"/>
                  </a:lnTo>
                  <a:lnTo>
                    <a:pt x="544" y="0"/>
                  </a:lnTo>
                  <a:lnTo>
                    <a:pt x="553" y="0"/>
                  </a:lnTo>
                  <a:lnTo>
                    <a:pt x="567" y="0"/>
                  </a:lnTo>
                  <a:lnTo>
                    <a:pt x="585" y="0"/>
                  </a:lnTo>
                  <a:lnTo>
                    <a:pt x="595" y="0"/>
                  </a:lnTo>
                  <a:lnTo>
                    <a:pt x="608" y="3"/>
                  </a:lnTo>
                  <a:lnTo>
                    <a:pt x="622" y="3"/>
                  </a:lnTo>
                  <a:lnTo>
                    <a:pt x="631" y="3"/>
                  </a:lnTo>
                  <a:lnTo>
                    <a:pt x="645" y="3"/>
                  </a:lnTo>
                  <a:lnTo>
                    <a:pt x="654" y="3"/>
                  </a:lnTo>
                  <a:lnTo>
                    <a:pt x="668" y="3"/>
                  </a:lnTo>
                  <a:lnTo>
                    <a:pt x="677" y="3"/>
                  </a:lnTo>
                  <a:lnTo>
                    <a:pt x="691" y="5"/>
                  </a:lnTo>
                  <a:lnTo>
                    <a:pt x="700" y="5"/>
                  </a:lnTo>
                  <a:lnTo>
                    <a:pt x="718" y="8"/>
                  </a:lnTo>
                  <a:lnTo>
                    <a:pt x="736" y="8"/>
                  </a:lnTo>
                  <a:lnTo>
                    <a:pt x="750" y="14"/>
                  </a:lnTo>
                  <a:lnTo>
                    <a:pt x="764" y="17"/>
                  </a:lnTo>
                  <a:lnTo>
                    <a:pt x="773" y="20"/>
                  </a:lnTo>
                  <a:lnTo>
                    <a:pt x="791" y="22"/>
                  </a:lnTo>
                  <a:lnTo>
                    <a:pt x="800" y="25"/>
                  </a:lnTo>
                  <a:lnTo>
                    <a:pt x="809" y="31"/>
                  </a:lnTo>
                  <a:lnTo>
                    <a:pt x="823" y="31"/>
                  </a:lnTo>
                  <a:lnTo>
                    <a:pt x="837" y="37"/>
                  </a:lnTo>
                  <a:lnTo>
                    <a:pt x="846" y="40"/>
                  </a:lnTo>
                  <a:lnTo>
                    <a:pt x="855" y="42"/>
                  </a:lnTo>
                  <a:lnTo>
                    <a:pt x="873" y="51"/>
                  </a:lnTo>
                  <a:lnTo>
                    <a:pt x="887" y="60"/>
                  </a:lnTo>
                  <a:lnTo>
                    <a:pt x="905" y="65"/>
                  </a:lnTo>
                  <a:lnTo>
                    <a:pt x="919" y="74"/>
                  </a:lnTo>
                  <a:lnTo>
                    <a:pt x="928" y="77"/>
                  </a:lnTo>
                  <a:lnTo>
                    <a:pt x="937" y="85"/>
                  </a:lnTo>
                  <a:lnTo>
                    <a:pt x="946" y="88"/>
                  </a:lnTo>
                  <a:lnTo>
                    <a:pt x="951" y="94"/>
                  </a:lnTo>
                  <a:lnTo>
                    <a:pt x="956" y="97"/>
                  </a:lnTo>
                  <a:lnTo>
                    <a:pt x="956" y="99"/>
                  </a:lnTo>
                  <a:lnTo>
                    <a:pt x="951" y="97"/>
                  </a:lnTo>
                  <a:lnTo>
                    <a:pt x="942" y="94"/>
                  </a:lnTo>
                  <a:lnTo>
                    <a:pt x="928" y="88"/>
                  </a:lnTo>
                  <a:lnTo>
                    <a:pt x="914" y="85"/>
                  </a:lnTo>
                  <a:lnTo>
                    <a:pt x="901" y="79"/>
                  </a:lnTo>
                  <a:lnTo>
                    <a:pt x="887" y="77"/>
                  </a:lnTo>
                  <a:lnTo>
                    <a:pt x="878" y="74"/>
                  </a:lnTo>
                  <a:lnTo>
                    <a:pt x="864" y="68"/>
                  </a:lnTo>
                  <a:lnTo>
                    <a:pt x="846" y="65"/>
                  </a:lnTo>
                  <a:lnTo>
                    <a:pt x="837" y="62"/>
                  </a:lnTo>
                  <a:lnTo>
                    <a:pt x="823" y="60"/>
                  </a:lnTo>
                  <a:lnTo>
                    <a:pt x="809" y="57"/>
                  </a:lnTo>
                  <a:lnTo>
                    <a:pt x="791" y="51"/>
                  </a:lnTo>
                  <a:lnTo>
                    <a:pt x="773" y="51"/>
                  </a:lnTo>
                  <a:lnTo>
                    <a:pt x="755" y="45"/>
                  </a:lnTo>
                  <a:lnTo>
                    <a:pt x="736" y="42"/>
                  </a:lnTo>
                  <a:lnTo>
                    <a:pt x="718" y="40"/>
                  </a:lnTo>
                  <a:lnTo>
                    <a:pt x="700" y="37"/>
                  </a:lnTo>
                  <a:lnTo>
                    <a:pt x="677" y="31"/>
                  </a:lnTo>
                  <a:lnTo>
                    <a:pt x="659" y="31"/>
                  </a:lnTo>
                  <a:lnTo>
                    <a:pt x="649" y="31"/>
                  </a:lnTo>
                  <a:lnTo>
                    <a:pt x="636" y="28"/>
                  </a:lnTo>
                  <a:lnTo>
                    <a:pt x="627" y="28"/>
                  </a:lnTo>
                  <a:lnTo>
                    <a:pt x="617" y="28"/>
                  </a:lnTo>
                  <a:lnTo>
                    <a:pt x="604" y="25"/>
                  </a:lnTo>
                  <a:lnTo>
                    <a:pt x="595" y="25"/>
                  </a:lnTo>
                  <a:lnTo>
                    <a:pt x="585" y="25"/>
                  </a:lnTo>
                  <a:lnTo>
                    <a:pt x="572" y="25"/>
                  </a:lnTo>
                  <a:lnTo>
                    <a:pt x="563" y="25"/>
                  </a:lnTo>
                  <a:lnTo>
                    <a:pt x="553" y="25"/>
                  </a:lnTo>
                  <a:lnTo>
                    <a:pt x="540" y="25"/>
                  </a:lnTo>
                  <a:lnTo>
                    <a:pt x="531" y="25"/>
                  </a:lnTo>
                  <a:lnTo>
                    <a:pt x="517" y="25"/>
                  </a:lnTo>
                  <a:lnTo>
                    <a:pt x="508" y="25"/>
                  </a:lnTo>
                  <a:lnTo>
                    <a:pt x="499" y="25"/>
                  </a:lnTo>
                  <a:lnTo>
                    <a:pt x="485" y="25"/>
                  </a:lnTo>
                  <a:lnTo>
                    <a:pt x="471" y="25"/>
                  </a:lnTo>
                  <a:lnTo>
                    <a:pt x="462" y="25"/>
                  </a:lnTo>
                  <a:lnTo>
                    <a:pt x="448" y="25"/>
                  </a:lnTo>
                  <a:lnTo>
                    <a:pt x="435" y="28"/>
                  </a:lnTo>
                  <a:lnTo>
                    <a:pt x="421" y="28"/>
                  </a:lnTo>
                  <a:lnTo>
                    <a:pt x="412" y="31"/>
                  </a:lnTo>
                  <a:lnTo>
                    <a:pt x="398" y="31"/>
                  </a:lnTo>
                  <a:lnTo>
                    <a:pt x="389" y="31"/>
                  </a:lnTo>
                  <a:lnTo>
                    <a:pt x="375" y="34"/>
                  </a:lnTo>
                  <a:lnTo>
                    <a:pt x="366" y="37"/>
                  </a:lnTo>
                  <a:lnTo>
                    <a:pt x="352" y="37"/>
                  </a:lnTo>
                  <a:lnTo>
                    <a:pt x="343" y="40"/>
                  </a:lnTo>
                  <a:lnTo>
                    <a:pt x="330" y="42"/>
                  </a:lnTo>
                  <a:lnTo>
                    <a:pt x="320" y="42"/>
                  </a:lnTo>
                  <a:lnTo>
                    <a:pt x="311" y="48"/>
                  </a:lnTo>
                  <a:lnTo>
                    <a:pt x="298" y="51"/>
                  </a:lnTo>
                  <a:lnTo>
                    <a:pt x="288" y="51"/>
                  </a:lnTo>
                  <a:lnTo>
                    <a:pt x="275" y="54"/>
                  </a:lnTo>
                  <a:lnTo>
                    <a:pt x="266" y="57"/>
                  </a:lnTo>
                  <a:lnTo>
                    <a:pt x="252" y="60"/>
                  </a:lnTo>
                  <a:lnTo>
                    <a:pt x="243" y="62"/>
                  </a:lnTo>
                  <a:lnTo>
                    <a:pt x="229" y="65"/>
                  </a:lnTo>
                  <a:lnTo>
                    <a:pt x="224" y="68"/>
                  </a:lnTo>
                  <a:lnTo>
                    <a:pt x="211" y="74"/>
                  </a:lnTo>
                  <a:lnTo>
                    <a:pt x="188" y="79"/>
                  </a:lnTo>
                  <a:lnTo>
                    <a:pt x="174" y="85"/>
                  </a:lnTo>
                  <a:lnTo>
                    <a:pt x="156" y="91"/>
                  </a:lnTo>
                  <a:lnTo>
                    <a:pt x="138" y="99"/>
                  </a:lnTo>
                  <a:lnTo>
                    <a:pt x="119" y="105"/>
                  </a:lnTo>
                  <a:lnTo>
                    <a:pt x="101" y="108"/>
                  </a:lnTo>
                  <a:lnTo>
                    <a:pt x="87" y="116"/>
                  </a:lnTo>
                  <a:lnTo>
                    <a:pt x="69" y="119"/>
                  </a:lnTo>
                  <a:lnTo>
                    <a:pt x="55" y="128"/>
                  </a:lnTo>
                  <a:lnTo>
                    <a:pt x="46" y="131"/>
                  </a:lnTo>
                  <a:lnTo>
                    <a:pt x="32" y="136"/>
                  </a:lnTo>
                  <a:lnTo>
                    <a:pt x="23" y="142"/>
                  </a:lnTo>
                  <a:lnTo>
                    <a:pt x="0" y="142"/>
                  </a:lnTo>
                  <a:lnTo>
                    <a:pt x="0" y="136"/>
                  </a:lnTo>
                  <a:lnTo>
                    <a:pt x="0" y="128"/>
                  </a:lnTo>
                  <a:lnTo>
                    <a:pt x="5" y="125"/>
                  </a:lnTo>
                  <a:lnTo>
                    <a:pt x="5" y="11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grpSp>
      <p:grpSp>
        <p:nvGrpSpPr>
          <p:cNvPr id="4108" name="Group 65"/>
          <p:cNvGrpSpPr>
            <a:grpSpLocks/>
          </p:cNvGrpSpPr>
          <p:nvPr>
            <p:custDataLst>
              <p:tags r:id="rId11"/>
            </p:custDataLst>
          </p:nvPr>
        </p:nvGrpSpPr>
        <p:grpSpPr bwMode="auto">
          <a:xfrm>
            <a:off x="5560643" y="2288712"/>
            <a:ext cx="1015640" cy="597685"/>
            <a:chOff x="0" y="402"/>
            <a:chExt cx="5645" cy="2423"/>
          </a:xfrm>
        </p:grpSpPr>
        <p:sp>
          <p:nvSpPr>
            <p:cNvPr id="4274" name="Freeform 66"/>
            <p:cNvSpPr>
              <a:spLocks/>
            </p:cNvSpPr>
            <p:nvPr>
              <p:custDataLst>
                <p:tags r:id="rId173"/>
              </p:custDataLst>
            </p:nvPr>
          </p:nvSpPr>
          <p:spPr bwMode="gray">
            <a:xfrm>
              <a:off x="0" y="402"/>
              <a:ext cx="5645" cy="831"/>
            </a:xfrm>
            <a:custGeom>
              <a:avLst/>
              <a:gdLst>
                <a:gd name="T0" fmla="*/ 210 w 5507"/>
                <a:gd name="T1" fmla="*/ 1 h 1310"/>
                <a:gd name="T2" fmla="*/ 635 w 5507"/>
                <a:gd name="T3" fmla="*/ 1 h 1310"/>
                <a:gd name="T4" fmla="*/ 1206 w 5507"/>
                <a:gd name="T5" fmla="*/ 1 h 1310"/>
                <a:gd name="T6" fmla="*/ 1859 w 5507"/>
                <a:gd name="T7" fmla="*/ 1 h 1310"/>
                <a:gd name="T8" fmla="*/ 2556 w 5507"/>
                <a:gd name="T9" fmla="*/ 1 h 1310"/>
                <a:gd name="T10" fmla="*/ 3269 w 5507"/>
                <a:gd name="T11" fmla="*/ 1 h 1310"/>
                <a:gd name="T12" fmla="*/ 3939 w 5507"/>
                <a:gd name="T13" fmla="*/ 1 h 1310"/>
                <a:gd name="T14" fmla="*/ 4522 w 5507"/>
                <a:gd name="T15" fmla="*/ 1 h 1310"/>
                <a:gd name="T16" fmla="*/ 4991 w 5507"/>
                <a:gd name="T17" fmla="*/ 1 h 1310"/>
                <a:gd name="T18" fmla="*/ 5262 w 5507"/>
                <a:gd name="T19" fmla="*/ 1 h 1310"/>
                <a:gd name="T20" fmla="*/ 5413 w 5507"/>
                <a:gd name="T21" fmla="*/ 1 h 1310"/>
                <a:gd name="T22" fmla="*/ 5571 w 5507"/>
                <a:gd name="T23" fmla="*/ 1 h 1310"/>
                <a:gd name="T24" fmla="*/ 5770 w 5507"/>
                <a:gd name="T25" fmla="*/ 1 h 1310"/>
                <a:gd name="T26" fmla="*/ 5958 w 5507"/>
                <a:gd name="T27" fmla="*/ 1 h 1310"/>
                <a:gd name="T28" fmla="*/ 6175 w 5507"/>
                <a:gd name="T29" fmla="*/ 1 h 1310"/>
                <a:gd name="T30" fmla="*/ 6400 w 5507"/>
                <a:gd name="T31" fmla="*/ 1 h 1310"/>
                <a:gd name="T32" fmla="*/ 6650 w 5507"/>
                <a:gd name="T33" fmla="*/ 1 h 1310"/>
                <a:gd name="T34" fmla="*/ 6938 w 5507"/>
                <a:gd name="T35" fmla="*/ 1 h 1310"/>
                <a:gd name="T36" fmla="*/ 7505 w 5507"/>
                <a:gd name="T37" fmla="*/ 1 h 1310"/>
                <a:gd name="T38" fmla="*/ 8063 w 5507"/>
                <a:gd name="T39" fmla="*/ 1 h 1310"/>
                <a:gd name="T40" fmla="*/ 8606 w 5507"/>
                <a:gd name="T41" fmla="*/ 1 h 1310"/>
                <a:gd name="T42" fmla="*/ 9123 w 5507"/>
                <a:gd name="T43" fmla="*/ 1 h 1310"/>
                <a:gd name="T44" fmla="*/ 9585 w 5507"/>
                <a:gd name="T45" fmla="*/ 1 h 1310"/>
                <a:gd name="T46" fmla="*/ 9957 w 5507"/>
                <a:gd name="T47" fmla="*/ 1 h 1310"/>
                <a:gd name="T48" fmla="*/ 10258 w 5507"/>
                <a:gd name="T49" fmla="*/ 1 h 1310"/>
                <a:gd name="T50" fmla="*/ 10428 w 5507"/>
                <a:gd name="T51" fmla="*/ 1 h 1310"/>
                <a:gd name="T52" fmla="*/ 10418 w 5507"/>
                <a:gd name="T53" fmla="*/ 1 h 1310"/>
                <a:gd name="T54" fmla="*/ 10248 w 5507"/>
                <a:gd name="T55" fmla="*/ 1 h 1310"/>
                <a:gd name="T56" fmla="*/ 10033 w 5507"/>
                <a:gd name="T57" fmla="*/ 1 h 1310"/>
                <a:gd name="T58" fmla="*/ 9957 w 5507"/>
                <a:gd name="T59" fmla="*/ 1 h 1310"/>
                <a:gd name="T60" fmla="*/ 9811 w 5507"/>
                <a:gd name="T61" fmla="*/ 1 h 1310"/>
                <a:gd name="T62" fmla="*/ 9619 w 5507"/>
                <a:gd name="T63" fmla="*/ 1 h 1310"/>
                <a:gd name="T64" fmla="*/ 9366 w 5507"/>
                <a:gd name="T65" fmla="*/ 1 h 1310"/>
                <a:gd name="T66" fmla="*/ 9071 w 5507"/>
                <a:gd name="T67" fmla="*/ 1 h 1310"/>
                <a:gd name="T68" fmla="*/ 8741 w 5507"/>
                <a:gd name="T69" fmla="*/ 1 h 1310"/>
                <a:gd name="T70" fmla="*/ 8375 w 5507"/>
                <a:gd name="T71" fmla="*/ 1 h 1310"/>
                <a:gd name="T72" fmla="*/ 7981 w 5507"/>
                <a:gd name="T73" fmla="*/ 1 h 1310"/>
                <a:gd name="T74" fmla="*/ 7601 w 5507"/>
                <a:gd name="T75" fmla="*/ 1 h 1310"/>
                <a:gd name="T76" fmla="*/ 7273 w 5507"/>
                <a:gd name="T77" fmla="*/ 1 h 1310"/>
                <a:gd name="T78" fmla="*/ 6932 w 5507"/>
                <a:gd name="T79" fmla="*/ 1 h 1310"/>
                <a:gd name="T80" fmla="*/ 6607 w 5507"/>
                <a:gd name="T81" fmla="*/ 1 h 1310"/>
                <a:gd name="T82" fmla="*/ 6304 w 5507"/>
                <a:gd name="T83" fmla="*/ 1 h 1310"/>
                <a:gd name="T84" fmla="*/ 6019 w 5507"/>
                <a:gd name="T85" fmla="*/ 1 h 1310"/>
                <a:gd name="T86" fmla="*/ 5760 w 5507"/>
                <a:gd name="T87" fmla="*/ 1 h 1310"/>
                <a:gd name="T88" fmla="*/ 5534 w 5507"/>
                <a:gd name="T89" fmla="*/ 1 h 1310"/>
                <a:gd name="T90" fmla="*/ 5350 w 5507"/>
                <a:gd name="T91" fmla="*/ 1 h 1310"/>
                <a:gd name="T92" fmla="*/ 5153 w 5507"/>
                <a:gd name="T93" fmla="*/ 1 h 1310"/>
                <a:gd name="T94" fmla="*/ 4696 w 5507"/>
                <a:gd name="T95" fmla="*/ 1 h 1310"/>
                <a:gd name="T96" fmla="*/ 4117 w 5507"/>
                <a:gd name="T97" fmla="*/ 1 h 1310"/>
                <a:gd name="T98" fmla="*/ 3427 w 5507"/>
                <a:gd name="T99" fmla="*/ 1 h 1310"/>
                <a:gd name="T100" fmla="*/ 2702 w 5507"/>
                <a:gd name="T101" fmla="*/ 1 h 1310"/>
                <a:gd name="T102" fmla="*/ 1991 w 5507"/>
                <a:gd name="T103" fmla="*/ 1 h 1310"/>
                <a:gd name="T104" fmla="*/ 1349 w 5507"/>
                <a:gd name="T105" fmla="*/ 1 h 1310"/>
                <a:gd name="T106" fmla="*/ 820 w 5507"/>
                <a:gd name="T107" fmla="*/ 1 h 1310"/>
                <a:gd name="T108" fmla="*/ 460 w 5507"/>
                <a:gd name="T109" fmla="*/ 1 h 1310"/>
                <a:gd name="T110" fmla="*/ 313 w 5507"/>
                <a:gd name="T111" fmla="*/ 1 h 1310"/>
                <a:gd name="T112" fmla="*/ 124 w 5507"/>
                <a:gd name="T113" fmla="*/ 1 h 13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507"/>
                <a:gd name="T172" fmla="*/ 0 h 1310"/>
                <a:gd name="T173" fmla="*/ 5507 w 5507"/>
                <a:gd name="T174" fmla="*/ 1310 h 13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507" h="1310">
                  <a:moveTo>
                    <a:pt x="0" y="1281"/>
                  </a:moveTo>
                  <a:lnTo>
                    <a:pt x="0" y="1264"/>
                  </a:lnTo>
                  <a:lnTo>
                    <a:pt x="18" y="1253"/>
                  </a:lnTo>
                  <a:lnTo>
                    <a:pt x="41" y="1236"/>
                  </a:lnTo>
                  <a:lnTo>
                    <a:pt x="64" y="1219"/>
                  </a:lnTo>
                  <a:lnTo>
                    <a:pt x="87" y="1205"/>
                  </a:lnTo>
                  <a:lnTo>
                    <a:pt x="110" y="1185"/>
                  </a:lnTo>
                  <a:lnTo>
                    <a:pt x="137" y="1165"/>
                  </a:lnTo>
                  <a:lnTo>
                    <a:pt x="165" y="1148"/>
                  </a:lnTo>
                  <a:lnTo>
                    <a:pt x="197" y="1125"/>
                  </a:lnTo>
                  <a:lnTo>
                    <a:pt x="229" y="1105"/>
                  </a:lnTo>
                  <a:lnTo>
                    <a:pt x="260" y="1082"/>
                  </a:lnTo>
                  <a:lnTo>
                    <a:pt x="297" y="1062"/>
                  </a:lnTo>
                  <a:lnTo>
                    <a:pt x="334" y="1039"/>
                  </a:lnTo>
                  <a:lnTo>
                    <a:pt x="379" y="1017"/>
                  </a:lnTo>
                  <a:lnTo>
                    <a:pt x="416" y="991"/>
                  </a:lnTo>
                  <a:lnTo>
                    <a:pt x="457" y="965"/>
                  </a:lnTo>
                  <a:lnTo>
                    <a:pt x="498" y="943"/>
                  </a:lnTo>
                  <a:lnTo>
                    <a:pt x="544" y="917"/>
                  </a:lnTo>
                  <a:lnTo>
                    <a:pt x="585" y="891"/>
                  </a:lnTo>
                  <a:lnTo>
                    <a:pt x="635" y="866"/>
                  </a:lnTo>
                  <a:lnTo>
                    <a:pt x="681" y="837"/>
                  </a:lnTo>
                  <a:lnTo>
                    <a:pt x="727" y="814"/>
                  </a:lnTo>
                  <a:lnTo>
                    <a:pt x="777" y="786"/>
                  </a:lnTo>
                  <a:lnTo>
                    <a:pt x="827" y="760"/>
                  </a:lnTo>
                  <a:lnTo>
                    <a:pt x="873" y="732"/>
                  </a:lnTo>
                  <a:lnTo>
                    <a:pt x="928" y="706"/>
                  </a:lnTo>
                  <a:lnTo>
                    <a:pt x="978" y="678"/>
                  </a:lnTo>
                  <a:lnTo>
                    <a:pt x="1028" y="652"/>
                  </a:lnTo>
                  <a:lnTo>
                    <a:pt x="1083" y="624"/>
                  </a:lnTo>
                  <a:lnTo>
                    <a:pt x="1133" y="598"/>
                  </a:lnTo>
                  <a:lnTo>
                    <a:pt x="1188" y="570"/>
                  </a:lnTo>
                  <a:lnTo>
                    <a:pt x="1239" y="547"/>
                  </a:lnTo>
                  <a:lnTo>
                    <a:pt x="1289" y="518"/>
                  </a:lnTo>
                  <a:lnTo>
                    <a:pt x="1344" y="493"/>
                  </a:lnTo>
                  <a:lnTo>
                    <a:pt x="1398" y="464"/>
                  </a:lnTo>
                  <a:lnTo>
                    <a:pt x="1453" y="439"/>
                  </a:lnTo>
                  <a:lnTo>
                    <a:pt x="1508" y="416"/>
                  </a:lnTo>
                  <a:lnTo>
                    <a:pt x="1563" y="387"/>
                  </a:lnTo>
                  <a:lnTo>
                    <a:pt x="1613" y="364"/>
                  </a:lnTo>
                  <a:lnTo>
                    <a:pt x="1668" y="342"/>
                  </a:lnTo>
                  <a:lnTo>
                    <a:pt x="1718" y="316"/>
                  </a:lnTo>
                  <a:lnTo>
                    <a:pt x="1769" y="293"/>
                  </a:lnTo>
                  <a:lnTo>
                    <a:pt x="1819" y="268"/>
                  </a:lnTo>
                  <a:lnTo>
                    <a:pt x="1874" y="248"/>
                  </a:lnTo>
                  <a:lnTo>
                    <a:pt x="1919" y="228"/>
                  </a:lnTo>
                  <a:lnTo>
                    <a:pt x="1970" y="208"/>
                  </a:lnTo>
                  <a:lnTo>
                    <a:pt x="2015" y="185"/>
                  </a:lnTo>
                  <a:lnTo>
                    <a:pt x="2070" y="171"/>
                  </a:lnTo>
                  <a:lnTo>
                    <a:pt x="2116" y="151"/>
                  </a:lnTo>
                  <a:lnTo>
                    <a:pt x="2162" y="134"/>
                  </a:lnTo>
                  <a:lnTo>
                    <a:pt x="2207" y="117"/>
                  </a:lnTo>
                  <a:lnTo>
                    <a:pt x="2253" y="103"/>
                  </a:lnTo>
                  <a:lnTo>
                    <a:pt x="2294" y="85"/>
                  </a:lnTo>
                  <a:lnTo>
                    <a:pt x="2340" y="74"/>
                  </a:lnTo>
                  <a:lnTo>
                    <a:pt x="2376" y="60"/>
                  </a:lnTo>
                  <a:lnTo>
                    <a:pt x="2418" y="48"/>
                  </a:lnTo>
                  <a:lnTo>
                    <a:pt x="2454" y="37"/>
                  </a:lnTo>
                  <a:lnTo>
                    <a:pt x="2495" y="28"/>
                  </a:lnTo>
                  <a:lnTo>
                    <a:pt x="2527" y="20"/>
                  </a:lnTo>
                  <a:lnTo>
                    <a:pt x="2564" y="14"/>
                  </a:lnTo>
                  <a:lnTo>
                    <a:pt x="2596" y="9"/>
                  </a:lnTo>
                  <a:lnTo>
                    <a:pt x="2623" y="3"/>
                  </a:lnTo>
                  <a:lnTo>
                    <a:pt x="2651" y="0"/>
                  </a:lnTo>
                  <a:lnTo>
                    <a:pt x="2683" y="0"/>
                  </a:lnTo>
                  <a:lnTo>
                    <a:pt x="2701" y="0"/>
                  </a:lnTo>
                  <a:lnTo>
                    <a:pt x="2719" y="0"/>
                  </a:lnTo>
                  <a:lnTo>
                    <a:pt x="2738" y="0"/>
                  </a:lnTo>
                  <a:lnTo>
                    <a:pt x="2756" y="3"/>
                  </a:lnTo>
                  <a:lnTo>
                    <a:pt x="2765" y="3"/>
                  </a:lnTo>
                  <a:lnTo>
                    <a:pt x="2774" y="6"/>
                  </a:lnTo>
                  <a:lnTo>
                    <a:pt x="2783" y="9"/>
                  </a:lnTo>
                  <a:lnTo>
                    <a:pt x="2797" y="11"/>
                  </a:lnTo>
                  <a:lnTo>
                    <a:pt x="2806" y="11"/>
                  </a:lnTo>
                  <a:lnTo>
                    <a:pt x="2820" y="11"/>
                  </a:lnTo>
                  <a:lnTo>
                    <a:pt x="2829" y="14"/>
                  </a:lnTo>
                  <a:lnTo>
                    <a:pt x="2843" y="20"/>
                  </a:lnTo>
                  <a:lnTo>
                    <a:pt x="2856" y="23"/>
                  </a:lnTo>
                  <a:lnTo>
                    <a:pt x="2865" y="23"/>
                  </a:lnTo>
                  <a:lnTo>
                    <a:pt x="2879" y="26"/>
                  </a:lnTo>
                  <a:lnTo>
                    <a:pt x="2893" y="31"/>
                  </a:lnTo>
                  <a:lnTo>
                    <a:pt x="2907" y="31"/>
                  </a:lnTo>
                  <a:lnTo>
                    <a:pt x="2916" y="37"/>
                  </a:lnTo>
                  <a:lnTo>
                    <a:pt x="2929" y="40"/>
                  </a:lnTo>
                  <a:lnTo>
                    <a:pt x="2943" y="46"/>
                  </a:lnTo>
                  <a:lnTo>
                    <a:pt x="2957" y="48"/>
                  </a:lnTo>
                  <a:lnTo>
                    <a:pt x="2971" y="51"/>
                  </a:lnTo>
                  <a:lnTo>
                    <a:pt x="2984" y="57"/>
                  </a:lnTo>
                  <a:lnTo>
                    <a:pt x="2998" y="60"/>
                  </a:lnTo>
                  <a:lnTo>
                    <a:pt x="3012" y="65"/>
                  </a:lnTo>
                  <a:lnTo>
                    <a:pt x="3030" y="71"/>
                  </a:lnTo>
                  <a:lnTo>
                    <a:pt x="3039" y="74"/>
                  </a:lnTo>
                  <a:lnTo>
                    <a:pt x="3057" y="80"/>
                  </a:lnTo>
                  <a:lnTo>
                    <a:pt x="3071" y="83"/>
                  </a:lnTo>
                  <a:lnTo>
                    <a:pt x="3085" y="88"/>
                  </a:lnTo>
                  <a:lnTo>
                    <a:pt x="3099" y="94"/>
                  </a:lnTo>
                  <a:lnTo>
                    <a:pt x="3117" y="100"/>
                  </a:lnTo>
                  <a:lnTo>
                    <a:pt x="3131" y="105"/>
                  </a:lnTo>
                  <a:lnTo>
                    <a:pt x="3144" y="108"/>
                  </a:lnTo>
                  <a:lnTo>
                    <a:pt x="3163" y="117"/>
                  </a:lnTo>
                  <a:lnTo>
                    <a:pt x="3181" y="120"/>
                  </a:lnTo>
                  <a:lnTo>
                    <a:pt x="3195" y="125"/>
                  </a:lnTo>
                  <a:lnTo>
                    <a:pt x="3208" y="131"/>
                  </a:lnTo>
                  <a:lnTo>
                    <a:pt x="3227" y="137"/>
                  </a:lnTo>
                  <a:lnTo>
                    <a:pt x="3245" y="142"/>
                  </a:lnTo>
                  <a:lnTo>
                    <a:pt x="3263" y="151"/>
                  </a:lnTo>
                  <a:lnTo>
                    <a:pt x="3277" y="157"/>
                  </a:lnTo>
                  <a:lnTo>
                    <a:pt x="3295" y="162"/>
                  </a:lnTo>
                  <a:lnTo>
                    <a:pt x="3313" y="171"/>
                  </a:lnTo>
                  <a:lnTo>
                    <a:pt x="3332" y="174"/>
                  </a:lnTo>
                  <a:lnTo>
                    <a:pt x="3345" y="182"/>
                  </a:lnTo>
                  <a:lnTo>
                    <a:pt x="3364" y="185"/>
                  </a:lnTo>
                  <a:lnTo>
                    <a:pt x="3382" y="194"/>
                  </a:lnTo>
                  <a:lnTo>
                    <a:pt x="3400" y="202"/>
                  </a:lnTo>
                  <a:lnTo>
                    <a:pt x="3418" y="208"/>
                  </a:lnTo>
                  <a:lnTo>
                    <a:pt x="3437" y="214"/>
                  </a:lnTo>
                  <a:lnTo>
                    <a:pt x="3455" y="222"/>
                  </a:lnTo>
                  <a:lnTo>
                    <a:pt x="3473" y="228"/>
                  </a:lnTo>
                  <a:lnTo>
                    <a:pt x="3492" y="236"/>
                  </a:lnTo>
                  <a:lnTo>
                    <a:pt x="3510" y="242"/>
                  </a:lnTo>
                  <a:lnTo>
                    <a:pt x="3528" y="251"/>
                  </a:lnTo>
                  <a:lnTo>
                    <a:pt x="3546" y="256"/>
                  </a:lnTo>
                  <a:lnTo>
                    <a:pt x="3569" y="265"/>
                  </a:lnTo>
                  <a:lnTo>
                    <a:pt x="3588" y="273"/>
                  </a:lnTo>
                  <a:lnTo>
                    <a:pt x="3610" y="279"/>
                  </a:lnTo>
                  <a:lnTo>
                    <a:pt x="3647" y="296"/>
                  </a:lnTo>
                  <a:lnTo>
                    <a:pt x="3688" y="310"/>
                  </a:lnTo>
                  <a:lnTo>
                    <a:pt x="3729" y="325"/>
                  </a:lnTo>
                  <a:lnTo>
                    <a:pt x="3770" y="342"/>
                  </a:lnTo>
                  <a:lnTo>
                    <a:pt x="3816" y="356"/>
                  </a:lnTo>
                  <a:lnTo>
                    <a:pt x="3853" y="376"/>
                  </a:lnTo>
                  <a:lnTo>
                    <a:pt x="3898" y="390"/>
                  </a:lnTo>
                  <a:lnTo>
                    <a:pt x="3944" y="407"/>
                  </a:lnTo>
                  <a:lnTo>
                    <a:pt x="3981" y="424"/>
                  </a:lnTo>
                  <a:lnTo>
                    <a:pt x="4026" y="441"/>
                  </a:lnTo>
                  <a:lnTo>
                    <a:pt x="4067" y="461"/>
                  </a:lnTo>
                  <a:lnTo>
                    <a:pt x="4109" y="476"/>
                  </a:lnTo>
                  <a:lnTo>
                    <a:pt x="4150" y="493"/>
                  </a:lnTo>
                  <a:lnTo>
                    <a:pt x="4195" y="510"/>
                  </a:lnTo>
                  <a:lnTo>
                    <a:pt x="4237" y="527"/>
                  </a:lnTo>
                  <a:lnTo>
                    <a:pt x="4278" y="547"/>
                  </a:lnTo>
                  <a:lnTo>
                    <a:pt x="4319" y="564"/>
                  </a:lnTo>
                  <a:lnTo>
                    <a:pt x="4364" y="578"/>
                  </a:lnTo>
                  <a:lnTo>
                    <a:pt x="4401" y="598"/>
                  </a:lnTo>
                  <a:lnTo>
                    <a:pt x="4442" y="615"/>
                  </a:lnTo>
                  <a:lnTo>
                    <a:pt x="4483" y="632"/>
                  </a:lnTo>
                  <a:lnTo>
                    <a:pt x="4524" y="649"/>
                  </a:lnTo>
                  <a:lnTo>
                    <a:pt x="4561" y="666"/>
                  </a:lnTo>
                  <a:lnTo>
                    <a:pt x="4607" y="686"/>
                  </a:lnTo>
                  <a:lnTo>
                    <a:pt x="4639" y="701"/>
                  </a:lnTo>
                  <a:lnTo>
                    <a:pt x="4680" y="718"/>
                  </a:lnTo>
                  <a:lnTo>
                    <a:pt x="4721" y="735"/>
                  </a:lnTo>
                  <a:lnTo>
                    <a:pt x="4757" y="752"/>
                  </a:lnTo>
                  <a:lnTo>
                    <a:pt x="4794" y="769"/>
                  </a:lnTo>
                  <a:lnTo>
                    <a:pt x="4831" y="786"/>
                  </a:lnTo>
                  <a:lnTo>
                    <a:pt x="4867" y="803"/>
                  </a:lnTo>
                  <a:lnTo>
                    <a:pt x="4904" y="817"/>
                  </a:lnTo>
                  <a:lnTo>
                    <a:pt x="4936" y="834"/>
                  </a:lnTo>
                  <a:lnTo>
                    <a:pt x="4968" y="849"/>
                  </a:lnTo>
                  <a:lnTo>
                    <a:pt x="5000" y="863"/>
                  </a:lnTo>
                  <a:lnTo>
                    <a:pt x="5036" y="880"/>
                  </a:lnTo>
                  <a:lnTo>
                    <a:pt x="5064" y="894"/>
                  </a:lnTo>
                  <a:lnTo>
                    <a:pt x="5096" y="908"/>
                  </a:lnTo>
                  <a:lnTo>
                    <a:pt x="5128" y="923"/>
                  </a:lnTo>
                  <a:lnTo>
                    <a:pt x="5155" y="937"/>
                  </a:lnTo>
                  <a:lnTo>
                    <a:pt x="5183" y="951"/>
                  </a:lnTo>
                  <a:lnTo>
                    <a:pt x="5210" y="965"/>
                  </a:lnTo>
                  <a:lnTo>
                    <a:pt x="5233" y="977"/>
                  </a:lnTo>
                  <a:lnTo>
                    <a:pt x="5260" y="988"/>
                  </a:lnTo>
                  <a:lnTo>
                    <a:pt x="5283" y="1002"/>
                  </a:lnTo>
                  <a:lnTo>
                    <a:pt x="5310" y="1011"/>
                  </a:lnTo>
                  <a:lnTo>
                    <a:pt x="5329" y="1022"/>
                  </a:lnTo>
                  <a:lnTo>
                    <a:pt x="5352" y="1037"/>
                  </a:lnTo>
                  <a:lnTo>
                    <a:pt x="5370" y="1045"/>
                  </a:lnTo>
                  <a:lnTo>
                    <a:pt x="5388" y="1056"/>
                  </a:lnTo>
                  <a:lnTo>
                    <a:pt x="5406" y="1065"/>
                  </a:lnTo>
                  <a:lnTo>
                    <a:pt x="5420" y="1071"/>
                  </a:lnTo>
                  <a:lnTo>
                    <a:pt x="5438" y="1082"/>
                  </a:lnTo>
                  <a:lnTo>
                    <a:pt x="5452" y="1091"/>
                  </a:lnTo>
                  <a:lnTo>
                    <a:pt x="5461" y="1096"/>
                  </a:lnTo>
                  <a:lnTo>
                    <a:pt x="5475" y="1105"/>
                  </a:lnTo>
                  <a:lnTo>
                    <a:pt x="5480" y="1111"/>
                  </a:lnTo>
                  <a:lnTo>
                    <a:pt x="5489" y="1116"/>
                  </a:lnTo>
                  <a:lnTo>
                    <a:pt x="5498" y="1122"/>
                  </a:lnTo>
                  <a:lnTo>
                    <a:pt x="5502" y="1128"/>
                  </a:lnTo>
                  <a:lnTo>
                    <a:pt x="5507" y="1136"/>
                  </a:lnTo>
                  <a:lnTo>
                    <a:pt x="5507" y="1139"/>
                  </a:lnTo>
                  <a:lnTo>
                    <a:pt x="5493" y="1148"/>
                  </a:lnTo>
                  <a:lnTo>
                    <a:pt x="5475" y="1156"/>
                  </a:lnTo>
                  <a:lnTo>
                    <a:pt x="5457" y="1165"/>
                  </a:lnTo>
                  <a:lnTo>
                    <a:pt x="5443" y="1170"/>
                  </a:lnTo>
                  <a:lnTo>
                    <a:pt x="5434" y="1170"/>
                  </a:lnTo>
                  <a:lnTo>
                    <a:pt x="5420" y="1176"/>
                  </a:lnTo>
                  <a:lnTo>
                    <a:pt x="5411" y="1179"/>
                  </a:lnTo>
                  <a:lnTo>
                    <a:pt x="5402" y="1179"/>
                  </a:lnTo>
                  <a:lnTo>
                    <a:pt x="5384" y="1185"/>
                  </a:lnTo>
                  <a:lnTo>
                    <a:pt x="5365" y="1187"/>
                  </a:lnTo>
                  <a:lnTo>
                    <a:pt x="5342" y="1187"/>
                  </a:lnTo>
                  <a:lnTo>
                    <a:pt x="5324" y="1190"/>
                  </a:lnTo>
                  <a:lnTo>
                    <a:pt x="5310" y="1190"/>
                  </a:lnTo>
                  <a:lnTo>
                    <a:pt x="5297" y="1190"/>
                  </a:lnTo>
                  <a:lnTo>
                    <a:pt x="5283" y="1187"/>
                  </a:lnTo>
                  <a:lnTo>
                    <a:pt x="5274" y="1185"/>
                  </a:lnTo>
                  <a:lnTo>
                    <a:pt x="5269" y="1182"/>
                  </a:lnTo>
                  <a:lnTo>
                    <a:pt x="5274" y="1179"/>
                  </a:lnTo>
                  <a:lnTo>
                    <a:pt x="5269" y="1176"/>
                  </a:lnTo>
                  <a:lnTo>
                    <a:pt x="5265" y="1170"/>
                  </a:lnTo>
                  <a:lnTo>
                    <a:pt x="5256" y="1165"/>
                  </a:lnTo>
                  <a:lnTo>
                    <a:pt x="5247" y="1159"/>
                  </a:lnTo>
                  <a:lnTo>
                    <a:pt x="5233" y="1150"/>
                  </a:lnTo>
                  <a:lnTo>
                    <a:pt x="5219" y="1142"/>
                  </a:lnTo>
                  <a:lnTo>
                    <a:pt x="5210" y="1136"/>
                  </a:lnTo>
                  <a:lnTo>
                    <a:pt x="5201" y="1131"/>
                  </a:lnTo>
                  <a:lnTo>
                    <a:pt x="5187" y="1125"/>
                  </a:lnTo>
                  <a:lnTo>
                    <a:pt x="5178" y="1122"/>
                  </a:lnTo>
                  <a:lnTo>
                    <a:pt x="5164" y="1116"/>
                  </a:lnTo>
                  <a:lnTo>
                    <a:pt x="5155" y="1108"/>
                  </a:lnTo>
                  <a:lnTo>
                    <a:pt x="5141" y="1102"/>
                  </a:lnTo>
                  <a:lnTo>
                    <a:pt x="5128" y="1093"/>
                  </a:lnTo>
                  <a:lnTo>
                    <a:pt x="5114" y="1088"/>
                  </a:lnTo>
                  <a:lnTo>
                    <a:pt x="5100" y="1079"/>
                  </a:lnTo>
                  <a:lnTo>
                    <a:pt x="5087" y="1071"/>
                  </a:lnTo>
                  <a:lnTo>
                    <a:pt x="5073" y="1065"/>
                  </a:lnTo>
                  <a:lnTo>
                    <a:pt x="5055" y="1054"/>
                  </a:lnTo>
                  <a:lnTo>
                    <a:pt x="5036" y="1045"/>
                  </a:lnTo>
                  <a:lnTo>
                    <a:pt x="5018" y="1039"/>
                  </a:lnTo>
                  <a:lnTo>
                    <a:pt x="5000" y="1028"/>
                  </a:lnTo>
                  <a:lnTo>
                    <a:pt x="4981" y="1019"/>
                  </a:lnTo>
                  <a:lnTo>
                    <a:pt x="4963" y="1011"/>
                  </a:lnTo>
                  <a:lnTo>
                    <a:pt x="4940" y="1002"/>
                  </a:lnTo>
                  <a:lnTo>
                    <a:pt x="4922" y="994"/>
                  </a:lnTo>
                  <a:lnTo>
                    <a:pt x="4904" y="982"/>
                  </a:lnTo>
                  <a:lnTo>
                    <a:pt x="4881" y="971"/>
                  </a:lnTo>
                  <a:lnTo>
                    <a:pt x="4858" y="962"/>
                  </a:lnTo>
                  <a:lnTo>
                    <a:pt x="4835" y="951"/>
                  </a:lnTo>
                  <a:lnTo>
                    <a:pt x="4817" y="940"/>
                  </a:lnTo>
                  <a:lnTo>
                    <a:pt x="4794" y="931"/>
                  </a:lnTo>
                  <a:lnTo>
                    <a:pt x="4767" y="920"/>
                  </a:lnTo>
                  <a:lnTo>
                    <a:pt x="4744" y="908"/>
                  </a:lnTo>
                  <a:lnTo>
                    <a:pt x="4721" y="897"/>
                  </a:lnTo>
                  <a:lnTo>
                    <a:pt x="4694" y="886"/>
                  </a:lnTo>
                  <a:lnTo>
                    <a:pt x="4671" y="874"/>
                  </a:lnTo>
                  <a:lnTo>
                    <a:pt x="4643" y="863"/>
                  </a:lnTo>
                  <a:lnTo>
                    <a:pt x="4620" y="851"/>
                  </a:lnTo>
                  <a:lnTo>
                    <a:pt x="4593" y="840"/>
                  </a:lnTo>
                  <a:lnTo>
                    <a:pt x="4561" y="829"/>
                  </a:lnTo>
                  <a:lnTo>
                    <a:pt x="4543" y="817"/>
                  </a:lnTo>
                  <a:lnTo>
                    <a:pt x="4511" y="803"/>
                  </a:lnTo>
                  <a:lnTo>
                    <a:pt x="4488" y="794"/>
                  </a:lnTo>
                  <a:lnTo>
                    <a:pt x="4456" y="777"/>
                  </a:lnTo>
                  <a:lnTo>
                    <a:pt x="4428" y="766"/>
                  </a:lnTo>
                  <a:lnTo>
                    <a:pt x="4401" y="755"/>
                  </a:lnTo>
                  <a:lnTo>
                    <a:pt x="4369" y="743"/>
                  </a:lnTo>
                  <a:lnTo>
                    <a:pt x="4342" y="729"/>
                  </a:lnTo>
                  <a:lnTo>
                    <a:pt x="4314" y="718"/>
                  </a:lnTo>
                  <a:lnTo>
                    <a:pt x="4282" y="706"/>
                  </a:lnTo>
                  <a:lnTo>
                    <a:pt x="4250" y="692"/>
                  </a:lnTo>
                  <a:lnTo>
                    <a:pt x="4223" y="681"/>
                  </a:lnTo>
                  <a:lnTo>
                    <a:pt x="4195" y="666"/>
                  </a:lnTo>
                  <a:lnTo>
                    <a:pt x="4163" y="655"/>
                  </a:lnTo>
                  <a:lnTo>
                    <a:pt x="4131" y="644"/>
                  </a:lnTo>
                  <a:lnTo>
                    <a:pt x="4099" y="629"/>
                  </a:lnTo>
                  <a:lnTo>
                    <a:pt x="4072" y="618"/>
                  </a:lnTo>
                  <a:lnTo>
                    <a:pt x="4045" y="609"/>
                  </a:lnTo>
                  <a:lnTo>
                    <a:pt x="4017" y="598"/>
                  </a:lnTo>
                  <a:lnTo>
                    <a:pt x="3994" y="587"/>
                  </a:lnTo>
                  <a:lnTo>
                    <a:pt x="3967" y="575"/>
                  </a:lnTo>
                  <a:lnTo>
                    <a:pt x="3944" y="564"/>
                  </a:lnTo>
                  <a:lnTo>
                    <a:pt x="3921" y="555"/>
                  </a:lnTo>
                  <a:lnTo>
                    <a:pt x="3889" y="547"/>
                  </a:lnTo>
                  <a:lnTo>
                    <a:pt x="3871" y="535"/>
                  </a:lnTo>
                  <a:lnTo>
                    <a:pt x="3839" y="527"/>
                  </a:lnTo>
                  <a:lnTo>
                    <a:pt x="3821" y="515"/>
                  </a:lnTo>
                  <a:lnTo>
                    <a:pt x="3789" y="507"/>
                  </a:lnTo>
                  <a:lnTo>
                    <a:pt x="3766" y="495"/>
                  </a:lnTo>
                  <a:lnTo>
                    <a:pt x="3743" y="484"/>
                  </a:lnTo>
                  <a:lnTo>
                    <a:pt x="3720" y="476"/>
                  </a:lnTo>
                  <a:lnTo>
                    <a:pt x="3693" y="467"/>
                  </a:lnTo>
                  <a:lnTo>
                    <a:pt x="3670" y="461"/>
                  </a:lnTo>
                  <a:lnTo>
                    <a:pt x="3642" y="450"/>
                  </a:lnTo>
                  <a:lnTo>
                    <a:pt x="3620" y="439"/>
                  </a:lnTo>
                  <a:lnTo>
                    <a:pt x="3597" y="430"/>
                  </a:lnTo>
                  <a:lnTo>
                    <a:pt x="3569" y="421"/>
                  </a:lnTo>
                  <a:lnTo>
                    <a:pt x="3546" y="413"/>
                  </a:lnTo>
                  <a:lnTo>
                    <a:pt x="3519" y="404"/>
                  </a:lnTo>
                  <a:lnTo>
                    <a:pt x="3496" y="396"/>
                  </a:lnTo>
                  <a:lnTo>
                    <a:pt x="3473" y="387"/>
                  </a:lnTo>
                  <a:lnTo>
                    <a:pt x="3455" y="376"/>
                  </a:lnTo>
                  <a:lnTo>
                    <a:pt x="3428" y="367"/>
                  </a:lnTo>
                  <a:lnTo>
                    <a:pt x="3405" y="362"/>
                  </a:lnTo>
                  <a:lnTo>
                    <a:pt x="3382" y="353"/>
                  </a:lnTo>
                  <a:lnTo>
                    <a:pt x="3359" y="345"/>
                  </a:lnTo>
                  <a:lnTo>
                    <a:pt x="3336" y="336"/>
                  </a:lnTo>
                  <a:lnTo>
                    <a:pt x="3313" y="330"/>
                  </a:lnTo>
                  <a:lnTo>
                    <a:pt x="3290" y="322"/>
                  </a:lnTo>
                  <a:lnTo>
                    <a:pt x="3268" y="313"/>
                  </a:lnTo>
                  <a:lnTo>
                    <a:pt x="3249" y="308"/>
                  </a:lnTo>
                  <a:lnTo>
                    <a:pt x="3227" y="299"/>
                  </a:lnTo>
                  <a:lnTo>
                    <a:pt x="3204" y="290"/>
                  </a:lnTo>
                  <a:lnTo>
                    <a:pt x="3181" y="285"/>
                  </a:lnTo>
                  <a:lnTo>
                    <a:pt x="3163" y="279"/>
                  </a:lnTo>
                  <a:lnTo>
                    <a:pt x="3144" y="271"/>
                  </a:lnTo>
                  <a:lnTo>
                    <a:pt x="3121" y="265"/>
                  </a:lnTo>
                  <a:lnTo>
                    <a:pt x="3103" y="259"/>
                  </a:lnTo>
                  <a:lnTo>
                    <a:pt x="3085" y="251"/>
                  </a:lnTo>
                  <a:lnTo>
                    <a:pt x="3062" y="248"/>
                  </a:lnTo>
                  <a:lnTo>
                    <a:pt x="3044" y="242"/>
                  </a:lnTo>
                  <a:lnTo>
                    <a:pt x="3025" y="236"/>
                  </a:lnTo>
                  <a:lnTo>
                    <a:pt x="3007" y="228"/>
                  </a:lnTo>
                  <a:lnTo>
                    <a:pt x="2993" y="225"/>
                  </a:lnTo>
                  <a:lnTo>
                    <a:pt x="2975" y="219"/>
                  </a:lnTo>
                  <a:lnTo>
                    <a:pt x="2957" y="214"/>
                  </a:lnTo>
                  <a:lnTo>
                    <a:pt x="2943" y="208"/>
                  </a:lnTo>
                  <a:lnTo>
                    <a:pt x="2925" y="205"/>
                  </a:lnTo>
                  <a:lnTo>
                    <a:pt x="2907" y="199"/>
                  </a:lnTo>
                  <a:lnTo>
                    <a:pt x="2888" y="196"/>
                  </a:lnTo>
                  <a:lnTo>
                    <a:pt x="2875" y="194"/>
                  </a:lnTo>
                  <a:lnTo>
                    <a:pt x="2861" y="188"/>
                  </a:lnTo>
                  <a:lnTo>
                    <a:pt x="2852" y="185"/>
                  </a:lnTo>
                  <a:lnTo>
                    <a:pt x="2838" y="182"/>
                  </a:lnTo>
                  <a:lnTo>
                    <a:pt x="2820" y="179"/>
                  </a:lnTo>
                  <a:lnTo>
                    <a:pt x="2811" y="174"/>
                  </a:lnTo>
                  <a:lnTo>
                    <a:pt x="2801" y="171"/>
                  </a:lnTo>
                  <a:lnTo>
                    <a:pt x="2783" y="171"/>
                  </a:lnTo>
                  <a:lnTo>
                    <a:pt x="2774" y="168"/>
                  </a:lnTo>
                  <a:lnTo>
                    <a:pt x="2765" y="165"/>
                  </a:lnTo>
                  <a:lnTo>
                    <a:pt x="2756" y="162"/>
                  </a:lnTo>
                  <a:lnTo>
                    <a:pt x="2733" y="159"/>
                  </a:lnTo>
                  <a:lnTo>
                    <a:pt x="2706" y="159"/>
                  </a:lnTo>
                  <a:lnTo>
                    <a:pt x="2674" y="159"/>
                  </a:lnTo>
                  <a:lnTo>
                    <a:pt x="2651" y="162"/>
                  </a:lnTo>
                  <a:lnTo>
                    <a:pt x="2614" y="165"/>
                  </a:lnTo>
                  <a:lnTo>
                    <a:pt x="2582" y="171"/>
                  </a:lnTo>
                  <a:lnTo>
                    <a:pt x="2546" y="179"/>
                  </a:lnTo>
                  <a:lnTo>
                    <a:pt x="2509" y="191"/>
                  </a:lnTo>
                  <a:lnTo>
                    <a:pt x="2468" y="199"/>
                  </a:lnTo>
                  <a:lnTo>
                    <a:pt x="2431" y="211"/>
                  </a:lnTo>
                  <a:lnTo>
                    <a:pt x="2386" y="225"/>
                  </a:lnTo>
                  <a:lnTo>
                    <a:pt x="2344" y="239"/>
                  </a:lnTo>
                  <a:lnTo>
                    <a:pt x="2299" y="253"/>
                  </a:lnTo>
                  <a:lnTo>
                    <a:pt x="2253" y="268"/>
                  </a:lnTo>
                  <a:lnTo>
                    <a:pt x="2207" y="288"/>
                  </a:lnTo>
                  <a:lnTo>
                    <a:pt x="2162" y="310"/>
                  </a:lnTo>
                  <a:lnTo>
                    <a:pt x="2111" y="327"/>
                  </a:lnTo>
                  <a:lnTo>
                    <a:pt x="2061" y="347"/>
                  </a:lnTo>
                  <a:lnTo>
                    <a:pt x="2011" y="367"/>
                  </a:lnTo>
                  <a:lnTo>
                    <a:pt x="1961" y="393"/>
                  </a:lnTo>
                  <a:lnTo>
                    <a:pt x="1906" y="416"/>
                  </a:lnTo>
                  <a:lnTo>
                    <a:pt x="1855" y="439"/>
                  </a:lnTo>
                  <a:lnTo>
                    <a:pt x="1801" y="464"/>
                  </a:lnTo>
                  <a:lnTo>
                    <a:pt x="1750" y="493"/>
                  </a:lnTo>
                  <a:lnTo>
                    <a:pt x="1691" y="515"/>
                  </a:lnTo>
                  <a:lnTo>
                    <a:pt x="1636" y="541"/>
                  </a:lnTo>
                  <a:lnTo>
                    <a:pt x="1581" y="570"/>
                  </a:lnTo>
                  <a:lnTo>
                    <a:pt x="1531" y="598"/>
                  </a:lnTo>
                  <a:lnTo>
                    <a:pt x="1472" y="624"/>
                  </a:lnTo>
                  <a:lnTo>
                    <a:pt x="1421" y="652"/>
                  </a:lnTo>
                  <a:lnTo>
                    <a:pt x="1366" y="681"/>
                  </a:lnTo>
                  <a:lnTo>
                    <a:pt x="1316" y="709"/>
                  </a:lnTo>
                  <a:lnTo>
                    <a:pt x="1257" y="735"/>
                  </a:lnTo>
                  <a:lnTo>
                    <a:pt x="1207" y="763"/>
                  </a:lnTo>
                  <a:lnTo>
                    <a:pt x="1152" y="792"/>
                  </a:lnTo>
                  <a:lnTo>
                    <a:pt x="1101" y="817"/>
                  </a:lnTo>
                  <a:lnTo>
                    <a:pt x="1047" y="846"/>
                  </a:lnTo>
                  <a:lnTo>
                    <a:pt x="996" y="874"/>
                  </a:lnTo>
                  <a:lnTo>
                    <a:pt x="946" y="900"/>
                  </a:lnTo>
                  <a:lnTo>
                    <a:pt x="896" y="928"/>
                  </a:lnTo>
                  <a:lnTo>
                    <a:pt x="845" y="954"/>
                  </a:lnTo>
                  <a:lnTo>
                    <a:pt x="800" y="980"/>
                  </a:lnTo>
                  <a:lnTo>
                    <a:pt x="754" y="1005"/>
                  </a:lnTo>
                  <a:lnTo>
                    <a:pt x="708" y="1031"/>
                  </a:lnTo>
                  <a:lnTo>
                    <a:pt x="663" y="1054"/>
                  </a:lnTo>
                  <a:lnTo>
                    <a:pt x="622" y="1076"/>
                  </a:lnTo>
                  <a:lnTo>
                    <a:pt x="580" y="1099"/>
                  </a:lnTo>
                  <a:lnTo>
                    <a:pt x="544" y="1122"/>
                  </a:lnTo>
                  <a:lnTo>
                    <a:pt x="503" y="1142"/>
                  </a:lnTo>
                  <a:lnTo>
                    <a:pt x="466" y="1162"/>
                  </a:lnTo>
                  <a:lnTo>
                    <a:pt x="430" y="1182"/>
                  </a:lnTo>
                  <a:lnTo>
                    <a:pt x="398" y="1199"/>
                  </a:lnTo>
                  <a:lnTo>
                    <a:pt x="366" y="1216"/>
                  </a:lnTo>
                  <a:lnTo>
                    <a:pt x="343" y="1230"/>
                  </a:lnTo>
                  <a:lnTo>
                    <a:pt x="311" y="1244"/>
                  </a:lnTo>
                  <a:lnTo>
                    <a:pt x="288" y="1261"/>
                  </a:lnTo>
                  <a:lnTo>
                    <a:pt x="260" y="1270"/>
                  </a:lnTo>
                  <a:lnTo>
                    <a:pt x="242" y="1281"/>
                  </a:lnTo>
                  <a:lnTo>
                    <a:pt x="229" y="1287"/>
                  </a:lnTo>
                  <a:lnTo>
                    <a:pt x="210" y="1299"/>
                  </a:lnTo>
                  <a:lnTo>
                    <a:pt x="201" y="1304"/>
                  </a:lnTo>
                  <a:lnTo>
                    <a:pt x="187" y="1307"/>
                  </a:lnTo>
                  <a:lnTo>
                    <a:pt x="183" y="1307"/>
                  </a:lnTo>
                  <a:lnTo>
                    <a:pt x="178" y="1310"/>
                  </a:lnTo>
                  <a:lnTo>
                    <a:pt x="165" y="1307"/>
                  </a:lnTo>
                  <a:lnTo>
                    <a:pt x="155" y="1307"/>
                  </a:lnTo>
                  <a:lnTo>
                    <a:pt x="137" y="1304"/>
                  </a:lnTo>
                  <a:lnTo>
                    <a:pt x="123" y="1304"/>
                  </a:lnTo>
                  <a:lnTo>
                    <a:pt x="105" y="1299"/>
                  </a:lnTo>
                  <a:lnTo>
                    <a:pt x="91" y="1299"/>
                  </a:lnTo>
                  <a:lnTo>
                    <a:pt x="73" y="1296"/>
                  </a:lnTo>
                  <a:lnTo>
                    <a:pt x="64" y="1293"/>
                  </a:lnTo>
                  <a:lnTo>
                    <a:pt x="46" y="1287"/>
                  </a:lnTo>
                  <a:lnTo>
                    <a:pt x="32" y="1287"/>
                  </a:lnTo>
                  <a:lnTo>
                    <a:pt x="18" y="1284"/>
                  </a:lnTo>
                  <a:lnTo>
                    <a:pt x="9" y="1284"/>
                  </a:lnTo>
                  <a:lnTo>
                    <a:pt x="0" y="1281"/>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75" name="Freeform 67"/>
            <p:cNvSpPr>
              <a:spLocks/>
            </p:cNvSpPr>
            <p:nvPr>
              <p:custDataLst>
                <p:tags r:id="rId174"/>
              </p:custDataLst>
            </p:nvPr>
          </p:nvSpPr>
          <p:spPr bwMode="gray">
            <a:xfrm>
              <a:off x="0" y="1175"/>
              <a:ext cx="5547" cy="378"/>
            </a:xfrm>
            <a:custGeom>
              <a:avLst/>
              <a:gdLst>
                <a:gd name="T0" fmla="*/ 137 w 5411"/>
                <a:gd name="T1" fmla="*/ 23 h 413"/>
                <a:gd name="T2" fmla="*/ 419 w 5411"/>
                <a:gd name="T3" fmla="*/ 27 h 413"/>
                <a:gd name="T4" fmla="*/ 792 w 5411"/>
                <a:gd name="T5" fmla="*/ 29 h 413"/>
                <a:gd name="T6" fmla="*/ 1235 w 5411"/>
                <a:gd name="T7" fmla="*/ 32 h 413"/>
                <a:gd name="T8" fmla="*/ 1745 w 5411"/>
                <a:gd name="T9" fmla="*/ 35 h 413"/>
                <a:gd name="T10" fmla="*/ 2301 w 5411"/>
                <a:gd name="T11" fmla="*/ 38 h 413"/>
                <a:gd name="T12" fmla="*/ 2885 w 5411"/>
                <a:gd name="T13" fmla="*/ 38 h 413"/>
                <a:gd name="T14" fmla="*/ 3504 w 5411"/>
                <a:gd name="T15" fmla="*/ 41 h 413"/>
                <a:gd name="T16" fmla="*/ 4129 w 5411"/>
                <a:gd name="T17" fmla="*/ 41 h 413"/>
                <a:gd name="T18" fmla="*/ 4759 w 5411"/>
                <a:gd name="T19" fmla="*/ 41 h 413"/>
                <a:gd name="T20" fmla="*/ 5374 w 5411"/>
                <a:gd name="T21" fmla="*/ 41 h 413"/>
                <a:gd name="T22" fmla="*/ 5964 w 5411"/>
                <a:gd name="T23" fmla="*/ 39 h 413"/>
                <a:gd name="T24" fmla="*/ 6526 w 5411"/>
                <a:gd name="T25" fmla="*/ 38 h 413"/>
                <a:gd name="T26" fmla="*/ 7032 w 5411"/>
                <a:gd name="T27" fmla="*/ 35 h 413"/>
                <a:gd name="T28" fmla="*/ 7519 w 5411"/>
                <a:gd name="T29" fmla="*/ 32 h 413"/>
                <a:gd name="T30" fmla="*/ 7972 w 5411"/>
                <a:gd name="T31" fmla="*/ 31 h 413"/>
                <a:gd name="T32" fmla="*/ 8402 w 5411"/>
                <a:gd name="T33" fmla="*/ 27 h 413"/>
                <a:gd name="T34" fmla="*/ 8785 w 5411"/>
                <a:gd name="T35" fmla="*/ 25 h 413"/>
                <a:gd name="T36" fmla="*/ 9130 w 5411"/>
                <a:gd name="T37" fmla="*/ 23 h 413"/>
                <a:gd name="T38" fmla="*/ 9436 w 5411"/>
                <a:gd name="T39" fmla="*/ 19 h 413"/>
                <a:gd name="T40" fmla="*/ 9704 w 5411"/>
                <a:gd name="T41" fmla="*/ 16 h 413"/>
                <a:gd name="T42" fmla="*/ 9927 w 5411"/>
                <a:gd name="T43" fmla="*/ 15 h 413"/>
                <a:gd name="T44" fmla="*/ 10097 w 5411"/>
                <a:gd name="T45" fmla="*/ 13 h 413"/>
                <a:gd name="T46" fmla="*/ 10233 w 5411"/>
                <a:gd name="T47" fmla="*/ 12 h 413"/>
                <a:gd name="T48" fmla="*/ 10318 w 5411"/>
                <a:gd name="T49" fmla="*/ 11 h 413"/>
                <a:gd name="T50" fmla="*/ 9982 w 5411"/>
                <a:gd name="T51" fmla="*/ 3 h 413"/>
                <a:gd name="T52" fmla="*/ 9839 w 5411"/>
                <a:gd name="T53" fmla="*/ 5 h 413"/>
                <a:gd name="T54" fmla="*/ 9639 w 5411"/>
                <a:gd name="T55" fmla="*/ 5 h 413"/>
                <a:gd name="T56" fmla="*/ 9352 w 5411"/>
                <a:gd name="T57" fmla="*/ 5 h 413"/>
                <a:gd name="T58" fmla="*/ 9016 w 5411"/>
                <a:gd name="T59" fmla="*/ 9 h 413"/>
                <a:gd name="T60" fmla="*/ 8628 w 5411"/>
                <a:gd name="T61" fmla="*/ 12 h 413"/>
                <a:gd name="T62" fmla="*/ 8190 w 5411"/>
                <a:gd name="T63" fmla="*/ 14 h 413"/>
                <a:gd name="T64" fmla="*/ 7704 w 5411"/>
                <a:gd name="T65" fmla="*/ 16 h 413"/>
                <a:gd name="T66" fmla="*/ 7193 w 5411"/>
                <a:gd name="T67" fmla="*/ 19 h 413"/>
                <a:gd name="T68" fmla="*/ 6640 w 5411"/>
                <a:gd name="T69" fmla="*/ 23 h 413"/>
                <a:gd name="T70" fmla="*/ 6066 w 5411"/>
                <a:gd name="T71" fmla="*/ 25 h 413"/>
                <a:gd name="T72" fmla="*/ 5482 w 5411"/>
                <a:gd name="T73" fmla="*/ 25 h 413"/>
                <a:gd name="T74" fmla="*/ 4868 w 5411"/>
                <a:gd name="T75" fmla="*/ 27 h 413"/>
                <a:gd name="T76" fmla="*/ 4278 w 5411"/>
                <a:gd name="T77" fmla="*/ 27 h 413"/>
                <a:gd name="T78" fmla="*/ 3722 w 5411"/>
                <a:gd name="T79" fmla="*/ 27 h 413"/>
                <a:gd name="T80" fmla="*/ 3190 w 5411"/>
                <a:gd name="T81" fmla="*/ 27 h 413"/>
                <a:gd name="T82" fmla="*/ 2699 w 5411"/>
                <a:gd name="T83" fmla="*/ 25 h 413"/>
                <a:gd name="T84" fmla="*/ 2242 w 5411"/>
                <a:gd name="T85" fmla="*/ 24 h 413"/>
                <a:gd name="T86" fmla="*/ 1838 w 5411"/>
                <a:gd name="T87" fmla="*/ 23 h 413"/>
                <a:gd name="T88" fmla="*/ 1449 w 5411"/>
                <a:gd name="T89" fmla="*/ 21 h 413"/>
                <a:gd name="T90" fmla="*/ 1141 w 5411"/>
                <a:gd name="T91" fmla="*/ 19 h 413"/>
                <a:gd name="T92" fmla="*/ 869 w 5411"/>
                <a:gd name="T93" fmla="*/ 17 h 413"/>
                <a:gd name="T94" fmla="*/ 657 w 5411"/>
                <a:gd name="T95" fmla="*/ 16 h 413"/>
                <a:gd name="T96" fmla="*/ 514 w 5411"/>
                <a:gd name="T97" fmla="*/ 14 h 413"/>
                <a:gd name="T98" fmla="*/ 410 w 5411"/>
                <a:gd name="T99" fmla="*/ 14 h 413"/>
                <a:gd name="T100" fmla="*/ 252 w 5411"/>
                <a:gd name="T101" fmla="*/ 14 h 413"/>
                <a:gd name="T102" fmla="*/ 74 w 5411"/>
                <a:gd name="T103" fmla="*/ 17 h 413"/>
                <a:gd name="T104" fmla="*/ 0 w 5411"/>
                <a:gd name="T105" fmla="*/ 19 h 41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411"/>
                <a:gd name="T160" fmla="*/ 0 h 413"/>
                <a:gd name="T161" fmla="*/ 5411 w 5411"/>
                <a:gd name="T162" fmla="*/ 413 h 41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411" h="413">
                  <a:moveTo>
                    <a:pt x="0" y="199"/>
                  </a:moveTo>
                  <a:lnTo>
                    <a:pt x="5" y="208"/>
                  </a:lnTo>
                  <a:lnTo>
                    <a:pt x="23" y="213"/>
                  </a:lnTo>
                  <a:lnTo>
                    <a:pt x="46" y="222"/>
                  </a:lnTo>
                  <a:lnTo>
                    <a:pt x="73" y="231"/>
                  </a:lnTo>
                  <a:lnTo>
                    <a:pt x="96" y="239"/>
                  </a:lnTo>
                  <a:lnTo>
                    <a:pt x="123" y="248"/>
                  </a:lnTo>
                  <a:lnTo>
                    <a:pt x="155" y="253"/>
                  </a:lnTo>
                  <a:lnTo>
                    <a:pt x="187" y="262"/>
                  </a:lnTo>
                  <a:lnTo>
                    <a:pt x="219" y="268"/>
                  </a:lnTo>
                  <a:lnTo>
                    <a:pt x="256" y="273"/>
                  </a:lnTo>
                  <a:lnTo>
                    <a:pt x="292" y="282"/>
                  </a:lnTo>
                  <a:lnTo>
                    <a:pt x="334" y="287"/>
                  </a:lnTo>
                  <a:lnTo>
                    <a:pt x="375" y="293"/>
                  </a:lnTo>
                  <a:lnTo>
                    <a:pt x="416" y="299"/>
                  </a:lnTo>
                  <a:lnTo>
                    <a:pt x="462" y="307"/>
                  </a:lnTo>
                  <a:lnTo>
                    <a:pt x="507" y="313"/>
                  </a:lnTo>
                  <a:lnTo>
                    <a:pt x="553" y="319"/>
                  </a:lnTo>
                  <a:lnTo>
                    <a:pt x="599" y="324"/>
                  </a:lnTo>
                  <a:lnTo>
                    <a:pt x="649" y="330"/>
                  </a:lnTo>
                  <a:lnTo>
                    <a:pt x="699" y="336"/>
                  </a:lnTo>
                  <a:lnTo>
                    <a:pt x="750" y="339"/>
                  </a:lnTo>
                  <a:lnTo>
                    <a:pt x="804" y="344"/>
                  </a:lnTo>
                  <a:lnTo>
                    <a:pt x="859" y="350"/>
                  </a:lnTo>
                  <a:lnTo>
                    <a:pt x="914" y="356"/>
                  </a:lnTo>
                  <a:lnTo>
                    <a:pt x="969" y="359"/>
                  </a:lnTo>
                  <a:lnTo>
                    <a:pt x="1028" y="364"/>
                  </a:lnTo>
                  <a:lnTo>
                    <a:pt x="1088" y="367"/>
                  </a:lnTo>
                  <a:lnTo>
                    <a:pt x="1147" y="373"/>
                  </a:lnTo>
                  <a:lnTo>
                    <a:pt x="1207" y="376"/>
                  </a:lnTo>
                  <a:lnTo>
                    <a:pt x="1266" y="379"/>
                  </a:lnTo>
                  <a:lnTo>
                    <a:pt x="1325" y="384"/>
                  </a:lnTo>
                  <a:lnTo>
                    <a:pt x="1394" y="390"/>
                  </a:lnTo>
                  <a:lnTo>
                    <a:pt x="1453" y="390"/>
                  </a:lnTo>
                  <a:lnTo>
                    <a:pt x="1513" y="393"/>
                  </a:lnTo>
                  <a:lnTo>
                    <a:pt x="1577" y="396"/>
                  </a:lnTo>
                  <a:lnTo>
                    <a:pt x="1645" y="399"/>
                  </a:lnTo>
                  <a:lnTo>
                    <a:pt x="1709" y="401"/>
                  </a:lnTo>
                  <a:lnTo>
                    <a:pt x="1773" y="401"/>
                  </a:lnTo>
                  <a:lnTo>
                    <a:pt x="1837" y="404"/>
                  </a:lnTo>
                  <a:lnTo>
                    <a:pt x="1906" y="407"/>
                  </a:lnTo>
                  <a:lnTo>
                    <a:pt x="1970" y="410"/>
                  </a:lnTo>
                  <a:lnTo>
                    <a:pt x="2034" y="410"/>
                  </a:lnTo>
                  <a:lnTo>
                    <a:pt x="2098" y="410"/>
                  </a:lnTo>
                  <a:lnTo>
                    <a:pt x="2166" y="413"/>
                  </a:lnTo>
                  <a:lnTo>
                    <a:pt x="2235" y="413"/>
                  </a:lnTo>
                  <a:lnTo>
                    <a:pt x="2299" y="413"/>
                  </a:lnTo>
                  <a:lnTo>
                    <a:pt x="2363" y="413"/>
                  </a:lnTo>
                  <a:lnTo>
                    <a:pt x="2431" y="413"/>
                  </a:lnTo>
                  <a:lnTo>
                    <a:pt x="2495" y="413"/>
                  </a:lnTo>
                  <a:lnTo>
                    <a:pt x="2559" y="413"/>
                  </a:lnTo>
                  <a:lnTo>
                    <a:pt x="2623" y="410"/>
                  </a:lnTo>
                  <a:lnTo>
                    <a:pt x="2692" y="410"/>
                  </a:lnTo>
                  <a:lnTo>
                    <a:pt x="2751" y="410"/>
                  </a:lnTo>
                  <a:lnTo>
                    <a:pt x="2820" y="407"/>
                  </a:lnTo>
                  <a:lnTo>
                    <a:pt x="2879" y="404"/>
                  </a:lnTo>
                  <a:lnTo>
                    <a:pt x="2943" y="404"/>
                  </a:lnTo>
                  <a:lnTo>
                    <a:pt x="3003" y="401"/>
                  </a:lnTo>
                  <a:lnTo>
                    <a:pt x="3067" y="401"/>
                  </a:lnTo>
                  <a:lnTo>
                    <a:pt x="3126" y="399"/>
                  </a:lnTo>
                  <a:lnTo>
                    <a:pt x="3185" y="396"/>
                  </a:lnTo>
                  <a:lnTo>
                    <a:pt x="3245" y="390"/>
                  </a:lnTo>
                  <a:lnTo>
                    <a:pt x="3304" y="390"/>
                  </a:lnTo>
                  <a:lnTo>
                    <a:pt x="3364" y="384"/>
                  </a:lnTo>
                  <a:lnTo>
                    <a:pt x="3423" y="381"/>
                  </a:lnTo>
                  <a:lnTo>
                    <a:pt x="3473" y="376"/>
                  </a:lnTo>
                  <a:lnTo>
                    <a:pt x="3528" y="373"/>
                  </a:lnTo>
                  <a:lnTo>
                    <a:pt x="3583" y="367"/>
                  </a:lnTo>
                  <a:lnTo>
                    <a:pt x="3638" y="364"/>
                  </a:lnTo>
                  <a:lnTo>
                    <a:pt x="3688" y="359"/>
                  </a:lnTo>
                  <a:lnTo>
                    <a:pt x="3743" y="353"/>
                  </a:lnTo>
                  <a:lnTo>
                    <a:pt x="3789" y="347"/>
                  </a:lnTo>
                  <a:lnTo>
                    <a:pt x="3843" y="344"/>
                  </a:lnTo>
                  <a:lnTo>
                    <a:pt x="3889" y="339"/>
                  </a:lnTo>
                  <a:lnTo>
                    <a:pt x="3944" y="333"/>
                  </a:lnTo>
                  <a:lnTo>
                    <a:pt x="3990" y="327"/>
                  </a:lnTo>
                  <a:lnTo>
                    <a:pt x="4040" y="324"/>
                  </a:lnTo>
                  <a:lnTo>
                    <a:pt x="4086" y="316"/>
                  </a:lnTo>
                  <a:lnTo>
                    <a:pt x="4136" y="313"/>
                  </a:lnTo>
                  <a:lnTo>
                    <a:pt x="4182" y="307"/>
                  </a:lnTo>
                  <a:lnTo>
                    <a:pt x="4232" y="302"/>
                  </a:lnTo>
                  <a:lnTo>
                    <a:pt x="4273" y="296"/>
                  </a:lnTo>
                  <a:lnTo>
                    <a:pt x="4319" y="287"/>
                  </a:lnTo>
                  <a:lnTo>
                    <a:pt x="4360" y="285"/>
                  </a:lnTo>
                  <a:lnTo>
                    <a:pt x="4406" y="279"/>
                  </a:lnTo>
                  <a:lnTo>
                    <a:pt x="4447" y="273"/>
                  </a:lnTo>
                  <a:lnTo>
                    <a:pt x="4488" y="265"/>
                  </a:lnTo>
                  <a:lnTo>
                    <a:pt x="4529" y="262"/>
                  </a:lnTo>
                  <a:lnTo>
                    <a:pt x="4570" y="256"/>
                  </a:lnTo>
                  <a:lnTo>
                    <a:pt x="4607" y="250"/>
                  </a:lnTo>
                  <a:lnTo>
                    <a:pt x="4643" y="239"/>
                  </a:lnTo>
                  <a:lnTo>
                    <a:pt x="4680" y="236"/>
                  </a:lnTo>
                  <a:lnTo>
                    <a:pt x="4721" y="231"/>
                  </a:lnTo>
                  <a:lnTo>
                    <a:pt x="4753" y="225"/>
                  </a:lnTo>
                  <a:lnTo>
                    <a:pt x="4789" y="219"/>
                  </a:lnTo>
                  <a:lnTo>
                    <a:pt x="4821" y="213"/>
                  </a:lnTo>
                  <a:lnTo>
                    <a:pt x="4858" y="208"/>
                  </a:lnTo>
                  <a:lnTo>
                    <a:pt x="4890" y="202"/>
                  </a:lnTo>
                  <a:lnTo>
                    <a:pt x="4922" y="196"/>
                  </a:lnTo>
                  <a:lnTo>
                    <a:pt x="4949" y="191"/>
                  </a:lnTo>
                  <a:lnTo>
                    <a:pt x="4981" y="185"/>
                  </a:lnTo>
                  <a:lnTo>
                    <a:pt x="5009" y="179"/>
                  </a:lnTo>
                  <a:lnTo>
                    <a:pt x="5041" y="174"/>
                  </a:lnTo>
                  <a:lnTo>
                    <a:pt x="5064" y="168"/>
                  </a:lnTo>
                  <a:lnTo>
                    <a:pt x="5091" y="165"/>
                  </a:lnTo>
                  <a:lnTo>
                    <a:pt x="5119" y="159"/>
                  </a:lnTo>
                  <a:lnTo>
                    <a:pt x="5141" y="154"/>
                  </a:lnTo>
                  <a:lnTo>
                    <a:pt x="5164" y="151"/>
                  </a:lnTo>
                  <a:lnTo>
                    <a:pt x="5187" y="148"/>
                  </a:lnTo>
                  <a:lnTo>
                    <a:pt x="5205" y="142"/>
                  </a:lnTo>
                  <a:lnTo>
                    <a:pt x="5228" y="139"/>
                  </a:lnTo>
                  <a:lnTo>
                    <a:pt x="5247" y="137"/>
                  </a:lnTo>
                  <a:lnTo>
                    <a:pt x="5265" y="131"/>
                  </a:lnTo>
                  <a:lnTo>
                    <a:pt x="5283" y="128"/>
                  </a:lnTo>
                  <a:lnTo>
                    <a:pt x="5297" y="122"/>
                  </a:lnTo>
                  <a:lnTo>
                    <a:pt x="5315" y="119"/>
                  </a:lnTo>
                  <a:lnTo>
                    <a:pt x="5329" y="117"/>
                  </a:lnTo>
                  <a:lnTo>
                    <a:pt x="5338" y="114"/>
                  </a:lnTo>
                  <a:lnTo>
                    <a:pt x="5352" y="111"/>
                  </a:lnTo>
                  <a:lnTo>
                    <a:pt x="5365" y="111"/>
                  </a:lnTo>
                  <a:lnTo>
                    <a:pt x="5374" y="108"/>
                  </a:lnTo>
                  <a:lnTo>
                    <a:pt x="5388" y="102"/>
                  </a:lnTo>
                  <a:lnTo>
                    <a:pt x="5402" y="102"/>
                  </a:lnTo>
                  <a:lnTo>
                    <a:pt x="5411" y="100"/>
                  </a:lnTo>
                  <a:lnTo>
                    <a:pt x="5265" y="0"/>
                  </a:lnTo>
                  <a:lnTo>
                    <a:pt x="5260" y="0"/>
                  </a:lnTo>
                  <a:lnTo>
                    <a:pt x="5251" y="3"/>
                  </a:lnTo>
                  <a:lnTo>
                    <a:pt x="5242" y="3"/>
                  </a:lnTo>
                  <a:lnTo>
                    <a:pt x="5233" y="3"/>
                  </a:lnTo>
                  <a:lnTo>
                    <a:pt x="5219" y="3"/>
                  </a:lnTo>
                  <a:lnTo>
                    <a:pt x="5210" y="8"/>
                  </a:lnTo>
                  <a:lnTo>
                    <a:pt x="5196" y="11"/>
                  </a:lnTo>
                  <a:lnTo>
                    <a:pt x="5178" y="14"/>
                  </a:lnTo>
                  <a:lnTo>
                    <a:pt x="5160" y="17"/>
                  </a:lnTo>
                  <a:lnTo>
                    <a:pt x="5141" y="20"/>
                  </a:lnTo>
                  <a:lnTo>
                    <a:pt x="5119" y="23"/>
                  </a:lnTo>
                  <a:lnTo>
                    <a:pt x="5100" y="25"/>
                  </a:lnTo>
                  <a:lnTo>
                    <a:pt x="5077" y="31"/>
                  </a:lnTo>
                  <a:lnTo>
                    <a:pt x="5055" y="37"/>
                  </a:lnTo>
                  <a:lnTo>
                    <a:pt x="5023" y="40"/>
                  </a:lnTo>
                  <a:lnTo>
                    <a:pt x="5000" y="43"/>
                  </a:lnTo>
                  <a:lnTo>
                    <a:pt x="4968" y="48"/>
                  </a:lnTo>
                  <a:lnTo>
                    <a:pt x="4940" y="51"/>
                  </a:lnTo>
                  <a:lnTo>
                    <a:pt x="4904" y="57"/>
                  </a:lnTo>
                  <a:lnTo>
                    <a:pt x="4872" y="60"/>
                  </a:lnTo>
                  <a:lnTo>
                    <a:pt x="4840" y="68"/>
                  </a:lnTo>
                  <a:lnTo>
                    <a:pt x="4808" y="71"/>
                  </a:lnTo>
                  <a:lnTo>
                    <a:pt x="4767" y="77"/>
                  </a:lnTo>
                  <a:lnTo>
                    <a:pt x="4730" y="82"/>
                  </a:lnTo>
                  <a:lnTo>
                    <a:pt x="4694" y="88"/>
                  </a:lnTo>
                  <a:lnTo>
                    <a:pt x="4652" y="91"/>
                  </a:lnTo>
                  <a:lnTo>
                    <a:pt x="4611" y="97"/>
                  </a:lnTo>
                  <a:lnTo>
                    <a:pt x="4570" y="102"/>
                  </a:lnTo>
                  <a:lnTo>
                    <a:pt x="4524" y="111"/>
                  </a:lnTo>
                  <a:lnTo>
                    <a:pt x="4488" y="117"/>
                  </a:lnTo>
                  <a:lnTo>
                    <a:pt x="4438" y="122"/>
                  </a:lnTo>
                  <a:lnTo>
                    <a:pt x="4392" y="128"/>
                  </a:lnTo>
                  <a:lnTo>
                    <a:pt x="4342" y="134"/>
                  </a:lnTo>
                  <a:lnTo>
                    <a:pt x="4296" y="139"/>
                  </a:lnTo>
                  <a:lnTo>
                    <a:pt x="4246" y="142"/>
                  </a:lnTo>
                  <a:lnTo>
                    <a:pt x="4200" y="151"/>
                  </a:lnTo>
                  <a:lnTo>
                    <a:pt x="4145" y="154"/>
                  </a:lnTo>
                  <a:lnTo>
                    <a:pt x="4095" y="162"/>
                  </a:lnTo>
                  <a:lnTo>
                    <a:pt x="4040" y="165"/>
                  </a:lnTo>
                  <a:lnTo>
                    <a:pt x="3990" y="174"/>
                  </a:lnTo>
                  <a:lnTo>
                    <a:pt x="3935" y="176"/>
                  </a:lnTo>
                  <a:lnTo>
                    <a:pt x="3885" y="185"/>
                  </a:lnTo>
                  <a:lnTo>
                    <a:pt x="3830" y="185"/>
                  </a:lnTo>
                  <a:lnTo>
                    <a:pt x="3770" y="193"/>
                  </a:lnTo>
                  <a:lnTo>
                    <a:pt x="3716" y="199"/>
                  </a:lnTo>
                  <a:lnTo>
                    <a:pt x="3661" y="205"/>
                  </a:lnTo>
                  <a:lnTo>
                    <a:pt x="3597" y="208"/>
                  </a:lnTo>
                  <a:lnTo>
                    <a:pt x="3542" y="213"/>
                  </a:lnTo>
                  <a:lnTo>
                    <a:pt x="3482" y="219"/>
                  </a:lnTo>
                  <a:lnTo>
                    <a:pt x="3423" y="225"/>
                  </a:lnTo>
                  <a:lnTo>
                    <a:pt x="3364" y="228"/>
                  </a:lnTo>
                  <a:lnTo>
                    <a:pt x="3304" y="231"/>
                  </a:lnTo>
                  <a:lnTo>
                    <a:pt x="3245" y="236"/>
                  </a:lnTo>
                  <a:lnTo>
                    <a:pt x="3181" y="239"/>
                  </a:lnTo>
                  <a:lnTo>
                    <a:pt x="3121" y="242"/>
                  </a:lnTo>
                  <a:lnTo>
                    <a:pt x="3057" y="248"/>
                  </a:lnTo>
                  <a:lnTo>
                    <a:pt x="2998" y="250"/>
                  </a:lnTo>
                  <a:lnTo>
                    <a:pt x="2934" y="253"/>
                  </a:lnTo>
                  <a:lnTo>
                    <a:pt x="2875" y="256"/>
                  </a:lnTo>
                  <a:lnTo>
                    <a:pt x="2806" y="259"/>
                  </a:lnTo>
                  <a:lnTo>
                    <a:pt x="2747" y="262"/>
                  </a:lnTo>
                  <a:lnTo>
                    <a:pt x="2683" y="265"/>
                  </a:lnTo>
                  <a:lnTo>
                    <a:pt x="2619" y="265"/>
                  </a:lnTo>
                  <a:lnTo>
                    <a:pt x="2555" y="268"/>
                  </a:lnTo>
                  <a:lnTo>
                    <a:pt x="2495" y="268"/>
                  </a:lnTo>
                  <a:lnTo>
                    <a:pt x="2431" y="270"/>
                  </a:lnTo>
                  <a:lnTo>
                    <a:pt x="2367" y="270"/>
                  </a:lnTo>
                  <a:lnTo>
                    <a:pt x="2308" y="270"/>
                  </a:lnTo>
                  <a:lnTo>
                    <a:pt x="2244" y="270"/>
                  </a:lnTo>
                  <a:lnTo>
                    <a:pt x="2185" y="270"/>
                  </a:lnTo>
                  <a:lnTo>
                    <a:pt x="2125" y="270"/>
                  </a:lnTo>
                  <a:lnTo>
                    <a:pt x="2070" y="268"/>
                  </a:lnTo>
                  <a:lnTo>
                    <a:pt x="2011" y="268"/>
                  </a:lnTo>
                  <a:lnTo>
                    <a:pt x="1951" y="268"/>
                  </a:lnTo>
                  <a:lnTo>
                    <a:pt x="1897" y="265"/>
                  </a:lnTo>
                  <a:lnTo>
                    <a:pt x="1842" y="265"/>
                  </a:lnTo>
                  <a:lnTo>
                    <a:pt x="1787" y="262"/>
                  </a:lnTo>
                  <a:lnTo>
                    <a:pt x="1732" y="262"/>
                  </a:lnTo>
                  <a:lnTo>
                    <a:pt x="1673" y="262"/>
                  </a:lnTo>
                  <a:lnTo>
                    <a:pt x="1622" y="259"/>
                  </a:lnTo>
                  <a:lnTo>
                    <a:pt x="1568" y="256"/>
                  </a:lnTo>
                  <a:lnTo>
                    <a:pt x="1517" y="253"/>
                  </a:lnTo>
                  <a:lnTo>
                    <a:pt x="1467" y="250"/>
                  </a:lnTo>
                  <a:lnTo>
                    <a:pt x="1417" y="250"/>
                  </a:lnTo>
                  <a:lnTo>
                    <a:pt x="1362" y="248"/>
                  </a:lnTo>
                  <a:lnTo>
                    <a:pt x="1321" y="245"/>
                  </a:lnTo>
                  <a:lnTo>
                    <a:pt x="1270" y="239"/>
                  </a:lnTo>
                  <a:lnTo>
                    <a:pt x="1220" y="239"/>
                  </a:lnTo>
                  <a:lnTo>
                    <a:pt x="1175" y="236"/>
                  </a:lnTo>
                  <a:lnTo>
                    <a:pt x="1129" y="233"/>
                  </a:lnTo>
                  <a:lnTo>
                    <a:pt x="1088" y="231"/>
                  </a:lnTo>
                  <a:lnTo>
                    <a:pt x="1042" y="228"/>
                  </a:lnTo>
                  <a:lnTo>
                    <a:pt x="1001" y="225"/>
                  </a:lnTo>
                  <a:lnTo>
                    <a:pt x="964" y="219"/>
                  </a:lnTo>
                  <a:lnTo>
                    <a:pt x="919" y="216"/>
                  </a:lnTo>
                  <a:lnTo>
                    <a:pt x="877" y="213"/>
                  </a:lnTo>
                  <a:lnTo>
                    <a:pt x="841" y="208"/>
                  </a:lnTo>
                  <a:lnTo>
                    <a:pt x="804" y="208"/>
                  </a:lnTo>
                  <a:lnTo>
                    <a:pt x="759" y="202"/>
                  </a:lnTo>
                  <a:lnTo>
                    <a:pt x="731" y="199"/>
                  </a:lnTo>
                  <a:lnTo>
                    <a:pt x="695" y="196"/>
                  </a:lnTo>
                  <a:lnTo>
                    <a:pt x="663" y="193"/>
                  </a:lnTo>
                  <a:lnTo>
                    <a:pt x="631" y="188"/>
                  </a:lnTo>
                  <a:lnTo>
                    <a:pt x="599" y="185"/>
                  </a:lnTo>
                  <a:lnTo>
                    <a:pt x="567" y="182"/>
                  </a:lnTo>
                  <a:lnTo>
                    <a:pt x="539" y="179"/>
                  </a:lnTo>
                  <a:lnTo>
                    <a:pt x="507" y="174"/>
                  </a:lnTo>
                  <a:lnTo>
                    <a:pt x="484" y="174"/>
                  </a:lnTo>
                  <a:lnTo>
                    <a:pt x="457" y="168"/>
                  </a:lnTo>
                  <a:lnTo>
                    <a:pt x="434" y="165"/>
                  </a:lnTo>
                  <a:lnTo>
                    <a:pt x="411" y="162"/>
                  </a:lnTo>
                  <a:lnTo>
                    <a:pt x="384" y="159"/>
                  </a:lnTo>
                  <a:lnTo>
                    <a:pt x="361" y="156"/>
                  </a:lnTo>
                  <a:lnTo>
                    <a:pt x="343" y="154"/>
                  </a:lnTo>
                  <a:lnTo>
                    <a:pt x="329" y="151"/>
                  </a:lnTo>
                  <a:lnTo>
                    <a:pt x="311" y="148"/>
                  </a:lnTo>
                  <a:lnTo>
                    <a:pt x="292" y="145"/>
                  </a:lnTo>
                  <a:lnTo>
                    <a:pt x="283" y="142"/>
                  </a:lnTo>
                  <a:lnTo>
                    <a:pt x="270" y="139"/>
                  </a:lnTo>
                  <a:lnTo>
                    <a:pt x="256" y="139"/>
                  </a:lnTo>
                  <a:lnTo>
                    <a:pt x="242" y="137"/>
                  </a:lnTo>
                  <a:lnTo>
                    <a:pt x="238" y="137"/>
                  </a:lnTo>
                  <a:lnTo>
                    <a:pt x="224" y="134"/>
                  </a:lnTo>
                  <a:lnTo>
                    <a:pt x="215" y="134"/>
                  </a:lnTo>
                  <a:lnTo>
                    <a:pt x="201" y="128"/>
                  </a:lnTo>
                  <a:lnTo>
                    <a:pt x="187" y="128"/>
                  </a:lnTo>
                  <a:lnTo>
                    <a:pt x="169" y="131"/>
                  </a:lnTo>
                  <a:lnTo>
                    <a:pt x="155" y="134"/>
                  </a:lnTo>
                  <a:lnTo>
                    <a:pt x="133" y="137"/>
                  </a:lnTo>
                  <a:lnTo>
                    <a:pt x="114" y="142"/>
                  </a:lnTo>
                  <a:lnTo>
                    <a:pt x="96" y="151"/>
                  </a:lnTo>
                  <a:lnTo>
                    <a:pt x="78" y="159"/>
                  </a:lnTo>
                  <a:lnTo>
                    <a:pt x="59" y="165"/>
                  </a:lnTo>
                  <a:lnTo>
                    <a:pt x="41" y="174"/>
                  </a:lnTo>
                  <a:lnTo>
                    <a:pt x="23" y="179"/>
                  </a:lnTo>
                  <a:lnTo>
                    <a:pt x="14" y="185"/>
                  </a:lnTo>
                  <a:lnTo>
                    <a:pt x="0" y="191"/>
                  </a:lnTo>
                  <a:lnTo>
                    <a:pt x="0" y="196"/>
                  </a:lnTo>
                  <a:lnTo>
                    <a:pt x="0" y="19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76" name="Freeform 68"/>
            <p:cNvSpPr>
              <a:spLocks/>
            </p:cNvSpPr>
            <p:nvPr>
              <p:custDataLst>
                <p:tags r:id="rId175"/>
              </p:custDataLst>
            </p:nvPr>
          </p:nvSpPr>
          <p:spPr bwMode="gray">
            <a:xfrm>
              <a:off x="932" y="1412"/>
              <a:ext cx="3823" cy="1413"/>
            </a:xfrm>
            <a:custGeom>
              <a:avLst/>
              <a:gdLst>
                <a:gd name="T0" fmla="*/ 223 w 3730"/>
                <a:gd name="T1" fmla="*/ 12 h 1546"/>
                <a:gd name="T2" fmla="*/ 202 w 3730"/>
                <a:gd name="T3" fmla="*/ 22 h 1546"/>
                <a:gd name="T4" fmla="*/ 181 w 3730"/>
                <a:gd name="T5" fmla="*/ 34 h 1546"/>
                <a:gd name="T6" fmla="*/ 145 w 3730"/>
                <a:gd name="T7" fmla="*/ 48 h 1546"/>
                <a:gd name="T8" fmla="*/ 116 w 3730"/>
                <a:gd name="T9" fmla="*/ 65 h 1546"/>
                <a:gd name="T10" fmla="*/ 75 w 3730"/>
                <a:gd name="T11" fmla="*/ 83 h 1546"/>
                <a:gd name="T12" fmla="*/ 54 w 3730"/>
                <a:gd name="T13" fmla="*/ 98 h 1546"/>
                <a:gd name="T14" fmla="*/ 14 w 3730"/>
                <a:gd name="T15" fmla="*/ 112 h 1546"/>
                <a:gd name="T16" fmla="*/ 5 w 3730"/>
                <a:gd name="T17" fmla="*/ 123 h 1546"/>
                <a:gd name="T18" fmla="*/ 0 w 3730"/>
                <a:gd name="T19" fmla="*/ 131 h 1546"/>
                <a:gd name="T20" fmla="*/ 5 w 3730"/>
                <a:gd name="T21" fmla="*/ 132 h 1546"/>
                <a:gd name="T22" fmla="*/ 123 w 3730"/>
                <a:gd name="T23" fmla="*/ 133 h 1546"/>
                <a:gd name="T24" fmla="*/ 271 w 3730"/>
                <a:gd name="T25" fmla="*/ 134 h 1546"/>
                <a:gd name="T26" fmla="*/ 461 w 3730"/>
                <a:gd name="T27" fmla="*/ 137 h 1546"/>
                <a:gd name="T28" fmla="*/ 696 w 3730"/>
                <a:gd name="T29" fmla="*/ 138 h 1546"/>
                <a:gd name="T30" fmla="*/ 963 w 3730"/>
                <a:gd name="T31" fmla="*/ 140 h 1546"/>
                <a:gd name="T32" fmla="*/ 1252 w 3730"/>
                <a:gd name="T33" fmla="*/ 142 h 1546"/>
                <a:gd name="T34" fmla="*/ 1571 w 3730"/>
                <a:gd name="T35" fmla="*/ 144 h 1546"/>
                <a:gd name="T36" fmla="*/ 1893 w 3730"/>
                <a:gd name="T37" fmla="*/ 144 h 1546"/>
                <a:gd name="T38" fmla="*/ 2211 w 3730"/>
                <a:gd name="T39" fmla="*/ 146 h 1546"/>
                <a:gd name="T40" fmla="*/ 2537 w 3730"/>
                <a:gd name="T41" fmla="*/ 148 h 1546"/>
                <a:gd name="T42" fmla="*/ 2881 w 3730"/>
                <a:gd name="T43" fmla="*/ 150 h 1546"/>
                <a:gd name="T44" fmla="*/ 3238 w 3730"/>
                <a:gd name="T45" fmla="*/ 150 h 1546"/>
                <a:gd name="T46" fmla="*/ 3611 w 3730"/>
                <a:gd name="T47" fmla="*/ 150 h 1546"/>
                <a:gd name="T48" fmla="*/ 3984 w 3730"/>
                <a:gd name="T49" fmla="*/ 149 h 1546"/>
                <a:gd name="T50" fmla="*/ 4362 w 3730"/>
                <a:gd name="T51" fmla="*/ 148 h 1546"/>
                <a:gd name="T52" fmla="*/ 4708 w 3730"/>
                <a:gd name="T53" fmla="*/ 147 h 1546"/>
                <a:gd name="T54" fmla="*/ 5047 w 3730"/>
                <a:gd name="T55" fmla="*/ 145 h 1546"/>
                <a:gd name="T56" fmla="*/ 5353 w 3730"/>
                <a:gd name="T57" fmla="*/ 144 h 1546"/>
                <a:gd name="T58" fmla="*/ 5623 w 3730"/>
                <a:gd name="T59" fmla="*/ 144 h 1546"/>
                <a:gd name="T60" fmla="*/ 5847 w 3730"/>
                <a:gd name="T61" fmla="*/ 143 h 1546"/>
                <a:gd name="T62" fmla="*/ 6025 w 3730"/>
                <a:gd name="T63" fmla="*/ 142 h 1546"/>
                <a:gd name="T64" fmla="*/ 6201 w 3730"/>
                <a:gd name="T65" fmla="*/ 140 h 1546"/>
                <a:gd name="T66" fmla="*/ 6364 w 3730"/>
                <a:gd name="T67" fmla="*/ 139 h 1546"/>
                <a:gd name="T68" fmla="*/ 6505 w 3730"/>
                <a:gd name="T69" fmla="*/ 138 h 1546"/>
                <a:gd name="T70" fmla="*/ 6640 w 3730"/>
                <a:gd name="T71" fmla="*/ 137 h 1546"/>
                <a:gd name="T72" fmla="*/ 6797 w 3730"/>
                <a:gd name="T73" fmla="*/ 134 h 1546"/>
                <a:gd name="T74" fmla="*/ 6978 w 3730"/>
                <a:gd name="T75" fmla="*/ 133 h 1546"/>
                <a:gd name="T76" fmla="*/ 7077 w 3730"/>
                <a:gd name="T77" fmla="*/ 132 h 1546"/>
                <a:gd name="T78" fmla="*/ 6496 w 3730"/>
                <a:gd name="T79" fmla="*/ 123 h 1546"/>
                <a:gd name="T80" fmla="*/ 6372 w 3730"/>
                <a:gd name="T81" fmla="*/ 124 h 1546"/>
                <a:gd name="T82" fmla="*/ 6209 w 3730"/>
                <a:gd name="T83" fmla="*/ 126 h 1546"/>
                <a:gd name="T84" fmla="*/ 6000 w 3730"/>
                <a:gd name="T85" fmla="*/ 126 h 1546"/>
                <a:gd name="T86" fmla="*/ 5736 w 3730"/>
                <a:gd name="T87" fmla="*/ 128 h 1546"/>
                <a:gd name="T88" fmla="*/ 5451 w 3730"/>
                <a:gd name="T89" fmla="*/ 130 h 1546"/>
                <a:gd name="T90" fmla="*/ 5131 w 3730"/>
                <a:gd name="T91" fmla="*/ 131 h 1546"/>
                <a:gd name="T92" fmla="*/ 4799 w 3730"/>
                <a:gd name="T93" fmla="*/ 132 h 1546"/>
                <a:gd name="T94" fmla="*/ 4451 w 3730"/>
                <a:gd name="T95" fmla="*/ 133 h 1546"/>
                <a:gd name="T96" fmla="*/ 4086 w 3730"/>
                <a:gd name="T97" fmla="*/ 134 h 1546"/>
                <a:gd name="T98" fmla="*/ 3726 w 3730"/>
                <a:gd name="T99" fmla="*/ 134 h 1546"/>
                <a:gd name="T100" fmla="*/ 3328 w 3730"/>
                <a:gd name="T101" fmla="*/ 134 h 1546"/>
                <a:gd name="T102" fmla="*/ 2911 w 3730"/>
                <a:gd name="T103" fmla="*/ 133 h 1546"/>
                <a:gd name="T104" fmla="*/ 2482 w 3730"/>
                <a:gd name="T105" fmla="*/ 132 h 1546"/>
                <a:gd name="T106" fmla="*/ 2061 w 3730"/>
                <a:gd name="T107" fmla="*/ 132 h 1546"/>
                <a:gd name="T108" fmla="*/ 1667 w 3730"/>
                <a:gd name="T109" fmla="*/ 130 h 1546"/>
                <a:gd name="T110" fmla="*/ 1301 w 3730"/>
                <a:gd name="T111" fmla="*/ 128 h 1546"/>
                <a:gd name="T112" fmla="*/ 987 w 3730"/>
                <a:gd name="T113" fmla="*/ 126 h 1546"/>
                <a:gd name="T114" fmla="*/ 747 w 3730"/>
                <a:gd name="T115" fmla="*/ 125 h 1546"/>
                <a:gd name="T116" fmla="*/ 584 w 3730"/>
                <a:gd name="T117" fmla="*/ 123 h 1546"/>
                <a:gd name="T118" fmla="*/ 589 w 3730"/>
                <a:gd name="T119" fmla="*/ 9 h 154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30"/>
                <a:gd name="T181" fmla="*/ 0 h 1546"/>
                <a:gd name="T182" fmla="*/ 3730 w 3730"/>
                <a:gd name="T183" fmla="*/ 1546 h 154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30" h="1546">
                  <a:moveTo>
                    <a:pt x="133" y="85"/>
                  </a:moveTo>
                  <a:lnTo>
                    <a:pt x="133" y="88"/>
                  </a:lnTo>
                  <a:lnTo>
                    <a:pt x="128" y="94"/>
                  </a:lnTo>
                  <a:lnTo>
                    <a:pt x="124" y="102"/>
                  </a:lnTo>
                  <a:lnTo>
                    <a:pt x="124" y="114"/>
                  </a:lnTo>
                  <a:lnTo>
                    <a:pt x="119" y="122"/>
                  </a:lnTo>
                  <a:lnTo>
                    <a:pt x="119" y="136"/>
                  </a:lnTo>
                  <a:lnTo>
                    <a:pt x="119" y="151"/>
                  </a:lnTo>
                  <a:lnTo>
                    <a:pt x="119" y="168"/>
                  </a:lnTo>
                  <a:lnTo>
                    <a:pt x="115" y="182"/>
                  </a:lnTo>
                  <a:lnTo>
                    <a:pt x="110" y="199"/>
                  </a:lnTo>
                  <a:lnTo>
                    <a:pt x="106" y="219"/>
                  </a:lnTo>
                  <a:lnTo>
                    <a:pt x="106" y="239"/>
                  </a:lnTo>
                  <a:lnTo>
                    <a:pt x="106" y="259"/>
                  </a:lnTo>
                  <a:lnTo>
                    <a:pt x="101" y="282"/>
                  </a:lnTo>
                  <a:lnTo>
                    <a:pt x="96" y="304"/>
                  </a:lnTo>
                  <a:lnTo>
                    <a:pt x="96" y="327"/>
                  </a:lnTo>
                  <a:lnTo>
                    <a:pt x="96" y="353"/>
                  </a:lnTo>
                  <a:lnTo>
                    <a:pt x="92" y="376"/>
                  </a:lnTo>
                  <a:lnTo>
                    <a:pt x="87" y="401"/>
                  </a:lnTo>
                  <a:lnTo>
                    <a:pt x="87" y="427"/>
                  </a:lnTo>
                  <a:lnTo>
                    <a:pt x="87" y="453"/>
                  </a:lnTo>
                  <a:lnTo>
                    <a:pt x="83" y="481"/>
                  </a:lnTo>
                  <a:lnTo>
                    <a:pt x="78" y="509"/>
                  </a:lnTo>
                  <a:lnTo>
                    <a:pt x="74" y="535"/>
                  </a:lnTo>
                  <a:lnTo>
                    <a:pt x="74" y="564"/>
                  </a:lnTo>
                  <a:lnTo>
                    <a:pt x="74" y="592"/>
                  </a:lnTo>
                  <a:lnTo>
                    <a:pt x="69" y="621"/>
                  </a:lnTo>
                  <a:lnTo>
                    <a:pt x="64" y="649"/>
                  </a:lnTo>
                  <a:lnTo>
                    <a:pt x="60" y="680"/>
                  </a:lnTo>
                  <a:lnTo>
                    <a:pt x="60" y="709"/>
                  </a:lnTo>
                  <a:lnTo>
                    <a:pt x="55" y="737"/>
                  </a:lnTo>
                  <a:lnTo>
                    <a:pt x="55" y="766"/>
                  </a:lnTo>
                  <a:lnTo>
                    <a:pt x="51" y="797"/>
                  </a:lnTo>
                  <a:lnTo>
                    <a:pt x="51" y="826"/>
                  </a:lnTo>
                  <a:lnTo>
                    <a:pt x="42" y="854"/>
                  </a:lnTo>
                  <a:lnTo>
                    <a:pt x="42" y="883"/>
                  </a:lnTo>
                  <a:lnTo>
                    <a:pt x="37" y="911"/>
                  </a:lnTo>
                  <a:lnTo>
                    <a:pt x="37" y="939"/>
                  </a:lnTo>
                  <a:lnTo>
                    <a:pt x="37" y="968"/>
                  </a:lnTo>
                  <a:lnTo>
                    <a:pt x="37" y="994"/>
                  </a:lnTo>
                  <a:lnTo>
                    <a:pt x="28" y="1019"/>
                  </a:lnTo>
                  <a:lnTo>
                    <a:pt x="28" y="1045"/>
                  </a:lnTo>
                  <a:lnTo>
                    <a:pt x="19" y="1073"/>
                  </a:lnTo>
                  <a:lnTo>
                    <a:pt x="19" y="1099"/>
                  </a:lnTo>
                  <a:lnTo>
                    <a:pt x="19" y="1122"/>
                  </a:lnTo>
                  <a:lnTo>
                    <a:pt x="19" y="1142"/>
                  </a:lnTo>
                  <a:lnTo>
                    <a:pt x="14" y="1167"/>
                  </a:lnTo>
                  <a:lnTo>
                    <a:pt x="14" y="1190"/>
                  </a:lnTo>
                  <a:lnTo>
                    <a:pt x="10" y="1210"/>
                  </a:lnTo>
                  <a:lnTo>
                    <a:pt x="10" y="1227"/>
                  </a:lnTo>
                  <a:lnTo>
                    <a:pt x="10" y="1247"/>
                  </a:lnTo>
                  <a:lnTo>
                    <a:pt x="5" y="1267"/>
                  </a:lnTo>
                  <a:lnTo>
                    <a:pt x="5" y="1281"/>
                  </a:lnTo>
                  <a:lnTo>
                    <a:pt x="0" y="1298"/>
                  </a:lnTo>
                  <a:lnTo>
                    <a:pt x="0" y="1312"/>
                  </a:lnTo>
                  <a:lnTo>
                    <a:pt x="0" y="1327"/>
                  </a:lnTo>
                  <a:lnTo>
                    <a:pt x="0" y="1338"/>
                  </a:lnTo>
                  <a:lnTo>
                    <a:pt x="0" y="1347"/>
                  </a:lnTo>
                  <a:lnTo>
                    <a:pt x="0" y="1355"/>
                  </a:lnTo>
                  <a:lnTo>
                    <a:pt x="0" y="1364"/>
                  </a:lnTo>
                  <a:lnTo>
                    <a:pt x="0" y="1372"/>
                  </a:lnTo>
                  <a:lnTo>
                    <a:pt x="0" y="1375"/>
                  </a:lnTo>
                  <a:lnTo>
                    <a:pt x="0" y="1378"/>
                  </a:lnTo>
                  <a:lnTo>
                    <a:pt x="5" y="1378"/>
                  </a:lnTo>
                  <a:lnTo>
                    <a:pt x="14" y="1378"/>
                  </a:lnTo>
                  <a:lnTo>
                    <a:pt x="28" y="1381"/>
                  </a:lnTo>
                  <a:lnTo>
                    <a:pt x="37" y="1381"/>
                  </a:lnTo>
                  <a:lnTo>
                    <a:pt x="42" y="1387"/>
                  </a:lnTo>
                  <a:lnTo>
                    <a:pt x="55" y="1387"/>
                  </a:lnTo>
                  <a:lnTo>
                    <a:pt x="64" y="1387"/>
                  </a:lnTo>
                  <a:lnTo>
                    <a:pt x="74" y="1387"/>
                  </a:lnTo>
                  <a:lnTo>
                    <a:pt x="87" y="1389"/>
                  </a:lnTo>
                  <a:lnTo>
                    <a:pt x="96" y="1392"/>
                  </a:lnTo>
                  <a:lnTo>
                    <a:pt x="115" y="1395"/>
                  </a:lnTo>
                  <a:lnTo>
                    <a:pt x="124" y="1398"/>
                  </a:lnTo>
                  <a:lnTo>
                    <a:pt x="142" y="1398"/>
                  </a:lnTo>
                  <a:lnTo>
                    <a:pt x="156" y="1398"/>
                  </a:lnTo>
                  <a:lnTo>
                    <a:pt x="174" y="1404"/>
                  </a:lnTo>
                  <a:lnTo>
                    <a:pt x="188" y="1406"/>
                  </a:lnTo>
                  <a:lnTo>
                    <a:pt x="206" y="1409"/>
                  </a:lnTo>
                  <a:lnTo>
                    <a:pt x="224" y="1409"/>
                  </a:lnTo>
                  <a:lnTo>
                    <a:pt x="243" y="1412"/>
                  </a:lnTo>
                  <a:lnTo>
                    <a:pt x="261" y="1415"/>
                  </a:lnTo>
                  <a:lnTo>
                    <a:pt x="279" y="1418"/>
                  </a:lnTo>
                  <a:lnTo>
                    <a:pt x="302" y="1421"/>
                  </a:lnTo>
                  <a:lnTo>
                    <a:pt x="325" y="1424"/>
                  </a:lnTo>
                  <a:lnTo>
                    <a:pt x="343" y="1426"/>
                  </a:lnTo>
                  <a:lnTo>
                    <a:pt x="366" y="1429"/>
                  </a:lnTo>
                  <a:lnTo>
                    <a:pt x="389" y="1432"/>
                  </a:lnTo>
                  <a:lnTo>
                    <a:pt x="416" y="1435"/>
                  </a:lnTo>
                  <a:lnTo>
                    <a:pt x="435" y="1441"/>
                  </a:lnTo>
                  <a:lnTo>
                    <a:pt x="457" y="1443"/>
                  </a:lnTo>
                  <a:lnTo>
                    <a:pt x="485" y="1443"/>
                  </a:lnTo>
                  <a:lnTo>
                    <a:pt x="508" y="1449"/>
                  </a:lnTo>
                  <a:lnTo>
                    <a:pt x="531" y="1452"/>
                  </a:lnTo>
                  <a:lnTo>
                    <a:pt x="558" y="1455"/>
                  </a:lnTo>
                  <a:lnTo>
                    <a:pt x="581" y="1458"/>
                  </a:lnTo>
                  <a:lnTo>
                    <a:pt x="608" y="1463"/>
                  </a:lnTo>
                  <a:lnTo>
                    <a:pt x="636" y="1463"/>
                  </a:lnTo>
                  <a:lnTo>
                    <a:pt x="659" y="1466"/>
                  </a:lnTo>
                  <a:lnTo>
                    <a:pt x="686" y="1469"/>
                  </a:lnTo>
                  <a:lnTo>
                    <a:pt x="713" y="1475"/>
                  </a:lnTo>
                  <a:lnTo>
                    <a:pt x="741" y="1478"/>
                  </a:lnTo>
                  <a:lnTo>
                    <a:pt x="768" y="1481"/>
                  </a:lnTo>
                  <a:lnTo>
                    <a:pt x="800" y="1486"/>
                  </a:lnTo>
                  <a:lnTo>
                    <a:pt x="828" y="1486"/>
                  </a:lnTo>
                  <a:lnTo>
                    <a:pt x="855" y="1489"/>
                  </a:lnTo>
                  <a:lnTo>
                    <a:pt x="882" y="1492"/>
                  </a:lnTo>
                  <a:lnTo>
                    <a:pt x="910" y="1495"/>
                  </a:lnTo>
                  <a:lnTo>
                    <a:pt x="937" y="1498"/>
                  </a:lnTo>
                  <a:lnTo>
                    <a:pt x="965" y="1500"/>
                  </a:lnTo>
                  <a:lnTo>
                    <a:pt x="997" y="1506"/>
                  </a:lnTo>
                  <a:lnTo>
                    <a:pt x="1020" y="1506"/>
                  </a:lnTo>
                  <a:lnTo>
                    <a:pt x="1052" y="1512"/>
                  </a:lnTo>
                  <a:lnTo>
                    <a:pt x="1079" y="1512"/>
                  </a:lnTo>
                  <a:lnTo>
                    <a:pt x="1106" y="1515"/>
                  </a:lnTo>
                  <a:lnTo>
                    <a:pt x="1138" y="1518"/>
                  </a:lnTo>
                  <a:lnTo>
                    <a:pt x="1166" y="1520"/>
                  </a:lnTo>
                  <a:lnTo>
                    <a:pt x="1193" y="1523"/>
                  </a:lnTo>
                  <a:lnTo>
                    <a:pt x="1225" y="1526"/>
                  </a:lnTo>
                  <a:lnTo>
                    <a:pt x="1253" y="1529"/>
                  </a:lnTo>
                  <a:lnTo>
                    <a:pt x="1285" y="1532"/>
                  </a:lnTo>
                  <a:lnTo>
                    <a:pt x="1308" y="1535"/>
                  </a:lnTo>
                  <a:lnTo>
                    <a:pt x="1335" y="1535"/>
                  </a:lnTo>
                  <a:lnTo>
                    <a:pt x="1362" y="1535"/>
                  </a:lnTo>
                  <a:lnTo>
                    <a:pt x="1394" y="1537"/>
                  </a:lnTo>
                  <a:lnTo>
                    <a:pt x="1422" y="1537"/>
                  </a:lnTo>
                  <a:lnTo>
                    <a:pt x="1454" y="1540"/>
                  </a:lnTo>
                  <a:lnTo>
                    <a:pt x="1486" y="1540"/>
                  </a:lnTo>
                  <a:lnTo>
                    <a:pt x="1518" y="1543"/>
                  </a:lnTo>
                  <a:lnTo>
                    <a:pt x="1545" y="1543"/>
                  </a:lnTo>
                  <a:lnTo>
                    <a:pt x="1577" y="1546"/>
                  </a:lnTo>
                  <a:lnTo>
                    <a:pt x="1609" y="1546"/>
                  </a:lnTo>
                  <a:lnTo>
                    <a:pt x="1641" y="1546"/>
                  </a:lnTo>
                  <a:lnTo>
                    <a:pt x="1673" y="1546"/>
                  </a:lnTo>
                  <a:lnTo>
                    <a:pt x="1705" y="1546"/>
                  </a:lnTo>
                  <a:lnTo>
                    <a:pt x="1742" y="1546"/>
                  </a:lnTo>
                  <a:lnTo>
                    <a:pt x="1774" y="1546"/>
                  </a:lnTo>
                  <a:lnTo>
                    <a:pt x="1806" y="1546"/>
                  </a:lnTo>
                  <a:lnTo>
                    <a:pt x="1838" y="1546"/>
                  </a:lnTo>
                  <a:lnTo>
                    <a:pt x="1865" y="1546"/>
                  </a:lnTo>
                  <a:lnTo>
                    <a:pt x="1902" y="1546"/>
                  </a:lnTo>
                  <a:lnTo>
                    <a:pt x="1929" y="1546"/>
                  </a:lnTo>
                  <a:lnTo>
                    <a:pt x="1966" y="1546"/>
                  </a:lnTo>
                  <a:lnTo>
                    <a:pt x="1998" y="1546"/>
                  </a:lnTo>
                  <a:lnTo>
                    <a:pt x="2034" y="1546"/>
                  </a:lnTo>
                  <a:lnTo>
                    <a:pt x="2066" y="1543"/>
                  </a:lnTo>
                  <a:lnTo>
                    <a:pt x="2098" y="1540"/>
                  </a:lnTo>
                  <a:lnTo>
                    <a:pt x="2130" y="1540"/>
                  </a:lnTo>
                  <a:lnTo>
                    <a:pt x="2167" y="1540"/>
                  </a:lnTo>
                  <a:lnTo>
                    <a:pt x="2199" y="1537"/>
                  </a:lnTo>
                  <a:lnTo>
                    <a:pt x="2235" y="1537"/>
                  </a:lnTo>
                  <a:lnTo>
                    <a:pt x="2263" y="1535"/>
                  </a:lnTo>
                  <a:lnTo>
                    <a:pt x="2299" y="1535"/>
                  </a:lnTo>
                  <a:lnTo>
                    <a:pt x="2327" y="1535"/>
                  </a:lnTo>
                  <a:lnTo>
                    <a:pt x="2359" y="1535"/>
                  </a:lnTo>
                  <a:lnTo>
                    <a:pt x="2391" y="1529"/>
                  </a:lnTo>
                  <a:lnTo>
                    <a:pt x="2423" y="1529"/>
                  </a:lnTo>
                  <a:lnTo>
                    <a:pt x="2455" y="1526"/>
                  </a:lnTo>
                  <a:lnTo>
                    <a:pt x="2482" y="1526"/>
                  </a:lnTo>
                  <a:lnTo>
                    <a:pt x="2514" y="1523"/>
                  </a:lnTo>
                  <a:lnTo>
                    <a:pt x="2546" y="1523"/>
                  </a:lnTo>
                  <a:lnTo>
                    <a:pt x="2573" y="1520"/>
                  </a:lnTo>
                  <a:lnTo>
                    <a:pt x="2601" y="1520"/>
                  </a:lnTo>
                  <a:lnTo>
                    <a:pt x="2633" y="1518"/>
                  </a:lnTo>
                  <a:lnTo>
                    <a:pt x="2660" y="1515"/>
                  </a:lnTo>
                  <a:lnTo>
                    <a:pt x="2688" y="1512"/>
                  </a:lnTo>
                  <a:lnTo>
                    <a:pt x="2715" y="1512"/>
                  </a:lnTo>
                  <a:lnTo>
                    <a:pt x="2743" y="1509"/>
                  </a:lnTo>
                  <a:lnTo>
                    <a:pt x="2775" y="1509"/>
                  </a:lnTo>
                  <a:lnTo>
                    <a:pt x="2797" y="1506"/>
                  </a:lnTo>
                  <a:lnTo>
                    <a:pt x="2820" y="1503"/>
                  </a:lnTo>
                  <a:lnTo>
                    <a:pt x="2848" y="1500"/>
                  </a:lnTo>
                  <a:lnTo>
                    <a:pt x="2875" y="1498"/>
                  </a:lnTo>
                  <a:lnTo>
                    <a:pt x="2893" y="1498"/>
                  </a:lnTo>
                  <a:lnTo>
                    <a:pt x="2921" y="1495"/>
                  </a:lnTo>
                  <a:lnTo>
                    <a:pt x="2944" y="1492"/>
                  </a:lnTo>
                  <a:lnTo>
                    <a:pt x="2962" y="1492"/>
                  </a:lnTo>
                  <a:lnTo>
                    <a:pt x="2989" y="1489"/>
                  </a:lnTo>
                  <a:lnTo>
                    <a:pt x="3008" y="1486"/>
                  </a:lnTo>
                  <a:lnTo>
                    <a:pt x="3026" y="1486"/>
                  </a:lnTo>
                  <a:lnTo>
                    <a:pt x="3049" y="1486"/>
                  </a:lnTo>
                  <a:lnTo>
                    <a:pt x="3067" y="1481"/>
                  </a:lnTo>
                  <a:lnTo>
                    <a:pt x="3081" y="1481"/>
                  </a:lnTo>
                  <a:lnTo>
                    <a:pt x="3099" y="1478"/>
                  </a:lnTo>
                  <a:lnTo>
                    <a:pt x="3117" y="1478"/>
                  </a:lnTo>
                  <a:lnTo>
                    <a:pt x="3131" y="1475"/>
                  </a:lnTo>
                  <a:lnTo>
                    <a:pt x="3145" y="1472"/>
                  </a:lnTo>
                  <a:lnTo>
                    <a:pt x="3163" y="1469"/>
                  </a:lnTo>
                  <a:lnTo>
                    <a:pt x="3177" y="1466"/>
                  </a:lnTo>
                  <a:lnTo>
                    <a:pt x="3190" y="1463"/>
                  </a:lnTo>
                  <a:lnTo>
                    <a:pt x="3209" y="1463"/>
                  </a:lnTo>
                  <a:lnTo>
                    <a:pt x="3222" y="1461"/>
                  </a:lnTo>
                  <a:lnTo>
                    <a:pt x="3241" y="1461"/>
                  </a:lnTo>
                  <a:lnTo>
                    <a:pt x="3254" y="1455"/>
                  </a:lnTo>
                  <a:lnTo>
                    <a:pt x="3268" y="1455"/>
                  </a:lnTo>
                  <a:lnTo>
                    <a:pt x="3282" y="1452"/>
                  </a:lnTo>
                  <a:lnTo>
                    <a:pt x="3296" y="1452"/>
                  </a:lnTo>
                  <a:lnTo>
                    <a:pt x="3309" y="1449"/>
                  </a:lnTo>
                  <a:lnTo>
                    <a:pt x="3323" y="1446"/>
                  </a:lnTo>
                  <a:lnTo>
                    <a:pt x="3341" y="1443"/>
                  </a:lnTo>
                  <a:lnTo>
                    <a:pt x="3355" y="1443"/>
                  </a:lnTo>
                  <a:lnTo>
                    <a:pt x="3364" y="1441"/>
                  </a:lnTo>
                  <a:lnTo>
                    <a:pt x="3378" y="1438"/>
                  </a:lnTo>
                  <a:lnTo>
                    <a:pt x="3391" y="1435"/>
                  </a:lnTo>
                  <a:lnTo>
                    <a:pt x="3405" y="1432"/>
                  </a:lnTo>
                  <a:lnTo>
                    <a:pt x="3419" y="1432"/>
                  </a:lnTo>
                  <a:lnTo>
                    <a:pt x="3428" y="1429"/>
                  </a:lnTo>
                  <a:lnTo>
                    <a:pt x="3442" y="1426"/>
                  </a:lnTo>
                  <a:lnTo>
                    <a:pt x="3455" y="1424"/>
                  </a:lnTo>
                  <a:lnTo>
                    <a:pt x="3465" y="1421"/>
                  </a:lnTo>
                  <a:lnTo>
                    <a:pt x="3478" y="1421"/>
                  </a:lnTo>
                  <a:lnTo>
                    <a:pt x="3492" y="1418"/>
                  </a:lnTo>
                  <a:lnTo>
                    <a:pt x="3501" y="1415"/>
                  </a:lnTo>
                  <a:lnTo>
                    <a:pt x="3515" y="1412"/>
                  </a:lnTo>
                  <a:lnTo>
                    <a:pt x="3529" y="1412"/>
                  </a:lnTo>
                  <a:lnTo>
                    <a:pt x="3538" y="1409"/>
                  </a:lnTo>
                  <a:lnTo>
                    <a:pt x="3547" y="1409"/>
                  </a:lnTo>
                  <a:lnTo>
                    <a:pt x="3565" y="1404"/>
                  </a:lnTo>
                  <a:lnTo>
                    <a:pt x="3583" y="1398"/>
                  </a:lnTo>
                  <a:lnTo>
                    <a:pt x="3602" y="1398"/>
                  </a:lnTo>
                  <a:lnTo>
                    <a:pt x="3620" y="1392"/>
                  </a:lnTo>
                  <a:lnTo>
                    <a:pt x="3634" y="1389"/>
                  </a:lnTo>
                  <a:lnTo>
                    <a:pt x="3652" y="1387"/>
                  </a:lnTo>
                  <a:lnTo>
                    <a:pt x="3666" y="1387"/>
                  </a:lnTo>
                  <a:lnTo>
                    <a:pt x="3679" y="1381"/>
                  </a:lnTo>
                  <a:lnTo>
                    <a:pt x="3689" y="1378"/>
                  </a:lnTo>
                  <a:lnTo>
                    <a:pt x="3698" y="1375"/>
                  </a:lnTo>
                  <a:lnTo>
                    <a:pt x="3707" y="1372"/>
                  </a:lnTo>
                  <a:lnTo>
                    <a:pt x="3711" y="1372"/>
                  </a:lnTo>
                  <a:lnTo>
                    <a:pt x="3725" y="1372"/>
                  </a:lnTo>
                  <a:lnTo>
                    <a:pt x="3730" y="1372"/>
                  </a:lnTo>
                  <a:lnTo>
                    <a:pt x="3538" y="0"/>
                  </a:lnTo>
                  <a:lnTo>
                    <a:pt x="3341" y="11"/>
                  </a:lnTo>
                  <a:lnTo>
                    <a:pt x="3442" y="1281"/>
                  </a:lnTo>
                  <a:lnTo>
                    <a:pt x="3433" y="1281"/>
                  </a:lnTo>
                  <a:lnTo>
                    <a:pt x="3423" y="1281"/>
                  </a:lnTo>
                  <a:lnTo>
                    <a:pt x="3410" y="1281"/>
                  </a:lnTo>
                  <a:lnTo>
                    <a:pt x="3401" y="1281"/>
                  </a:lnTo>
                  <a:lnTo>
                    <a:pt x="3391" y="1284"/>
                  </a:lnTo>
                  <a:lnTo>
                    <a:pt x="3378" y="1284"/>
                  </a:lnTo>
                  <a:lnTo>
                    <a:pt x="3369" y="1287"/>
                  </a:lnTo>
                  <a:lnTo>
                    <a:pt x="3359" y="1287"/>
                  </a:lnTo>
                  <a:lnTo>
                    <a:pt x="3346" y="1290"/>
                  </a:lnTo>
                  <a:lnTo>
                    <a:pt x="3332" y="1293"/>
                  </a:lnTo>
                  <a:lnTo>
                    <a:pt x="3323" y="1293"/>
                  </a:lnTo>
                  <a:lnTo>
                    <a:pt x="3305" y="1295"/>
                  </a:lnTo>
                  <a:lnTo>
                    <a:pt x="3291" y="1295"/>
                  </a:lnTo>
                  <a:lnTo>
                    <a:pt x="3273" y="1298"/>
                  </a:lnTo>
                  <a:lnTo>
                    <a:pt x="3254" y="1301"/>
                  </a:lnTo>
                  <a:lnTo>
                    <a:pt x="3236" y="1301"/>
                  </a:lnTo>
                  <a:lnTo>
                    <a:pt x="3218" y="1304"/>
                  </a:lnTo>
                  <a:lnTo>
                    <a:pt x="3200" y="1307"/>
                  </a:lnTo>
                  <a:lnTo>
                    <a:pt x="3181" y="1310"/>
                  </a:lnTo>
                  <a:lnTo>
                    <a:pt x="3163" y="1310"/>
                  </a:lnTo>
                  <a:lnTo>
                    <a:pt x="3140" y="1312"/>
                  </a:lnTo>
                  <a:lnTo>
                    <a:pt x="3117" y="1315"/>
                  </a:lnTo>
                  <a:lnTo>
                    <a:pt x="3099" y="1318"/>
                  </a:lnTo>
                  <a:lnTo>
                    <a:pt x="3072" y="1321"/>
                  </a:lnTo>
                  <a:lnTo>
                    <a:pt x="3049" y="1324"/>
                  </a:lnTo>
                  <a:lnTo>
                    <a:pt x="3026" y="1327"/>
                  </a:lnTo>
                  <a:lnTo>
                    <a:pt x="3003" y="1330"/>
                  </a:lnTo>
                  <a:lnTo>
                    <a:pt x="2980" y="1332"/>
                  </a:lnTo>
                  <a:lnTo>
                    <a:pt x="2953" y="1332"/>
                  </a:lnTo>
                  <a:lnTo>
                    <a:pt x="2925" y="1335"/>
                  </a:lnTo>
                  <a:lnTo>
                    <a:pt x="2898" y="1338"/>
                  </a:lnTo>
                  <a:lnTo>
                    <a:pt x="2875" y="1341"/>
                  </a:lnTo>
                  <a:lnTo>
                    <a:pt x="2848" y="1344"/>
                  </a:lnTo>
                  <a:lnTo>
                    <a:pt x="2820" y="1347"/>
                  </a:lnTo>
                  <a:lnTo>
                    <a:pt x="2793" y="1350"/>
                  </a:lnTo>
                  <a:lnTo>
                    <a:pt x="2765" y="1350"/>
                  </a:lnTo>
                  <a:lnTo>
                    <a:pt x="2733" y="1352"/>
                  </a:lnTo>
                  <a:lnTo>
                    <a:pt x="2706" y="1355"/>
                  </a:lnTo>
                  <a:lnTo>
                    <a:pt x="2679" y="1361"/>
                  </a:lnTo>
                  <a:lnTo>
                    <a:pt x="2651" y="1361"/>
                  </a:lnTo>
                  <a:lnTo>
                    <a:pt x="2619" y="1364"/>
                  </a:lnTo>
                  <a:lnTo>
                    <a:pt x="2587" y="1367"/>
                  </a:lnTo>
                  <a:lnTo>
                    <a:pt x="2560" y="1369"/>
                  </a:lnTo>
                  <a:lnTo>
                    <a:pt x="2528" y="1372"/>
                  </a:lnTo>
                  <a:lnTo>
                    <a:pt x="2500" y="1372"/>
                  </a:lnTo>
                  <a:lnTo>
                    <a:pt x="2468" y="1375"/>
                  </a:lnTo>
                  <a:lnTo>
                    <a:pt x="2436" y="1378"/>
                  </a:lnTo>
                  <a:lnTo>
                    <a:pt x="2404" y="1378"/>
                  </a:lnTo>
                  <a:lnTo>
                    <a:pt x="2377" y="1381"/>
                  </a:lnTo>
                  <a:lnTo>
                    <a:pt x="2345" y="1384"/>
                  </a:lnTo>
                  <a:lnTo>
                    <a:pt x="2313" y="1387"/>
                  </a:lnTo>
                  <a:lnTo>
                    <a:pt x="2281" y="1387"/>
                  </a:lnTo>
                  <a:lnTo>
                    <a:pt x="2254" y="1389"/>
                  </a:lnTo>
                  <a:lnTo>
                    <a:pt x="2217" y="1392"/>
                  </a:lnTo>
                  <a:lnTo>
                    <a:pt x="2190" y="1392"/>
                  </a:lnTo>
                  <a:lnTo>
                    <a:pt x="2153" y="1395"/>
                  </a:lnTo>
                  <a:lnTo>
                    <a:pt x="2126" y="1398"/>
                  </a:lnTo>
                  <a:lnTo>
                    <a:pt x="2094" y="1398"/>
                  </a:lnTo>
                  <a:lnTo>
                    <a:pt x="2066" y="1398"/>
                  </a:lnTo>
                  <a:lnTo>
                    <a:pt x="2034" y="1398"/>
                  </a:lnTo>
                  <a:lnTo>
                    <a:pt x="1998" y="1398"/>
                  </a:lnTo>
                  <a:lnTo>
                    <a:pt x="1966" y="1398"/>
                  </a:lnTo>
                  <a:lnTo>
                    <a:pt x="1929" y="1401"/>
                  </a:lnTo>
                  <a:lnTo>
                    <a:pt x="1897" y="1401"/>
                  </a:lnTo>
                  <a:lnTo>
                    <a:pt x="1860" y="1401"/>
                  </a:lnTo>
                  <a:lnTo>
                    <a:pt x="1829" y="1401"/>
                  </a:lnTo>
                  <a:lnTo>
                    <a:pt x="1792" y="1401"/>
                  </a:lnTo>
                  <a:lnTo>
                    <a:pt x="1755" y="1398"/>
                  </a:lnTo>
                  <a:lnTo>
                    <a:pt x="1723" y="1398"/>
                  </a:lnTo>
                  <a:lnTo>
                    <a:pt x="1682" y="1398"/>
                  </a:lnTo>
                  <a:lnTo>
                    <a:pt x="1646" y="1398"/>
                  </a:lnTo>
                  <a:lnTo>
                    <a:pt x="1609" y="1398"/>
                  </a:lnTo>
                  <a:lnTo>
                    <a:pt x="1573" y="1395"/>
                  </a:lnTo>
                  <a:lnTo>
                    <a:pt x="1536" y="1392"/>
                  </a:lnTo>
                  <a:lnTo>
                    <a:pt x="1499" y="1392"/>
                  </a:lnTo>
                  <a:lnTo>
                    <a:pt x="1458" y="1389"/>
                  </a:lnTo>
                  <a:lnTo>
                    <a:pt x="1422" y="1387"/>
                  </a:lnTo>
                  <a:lnTo>
                    <a:pt x="1385" y="1387"/>
                  </a:lnTo>
                  <a:lnTo>
                    <a:pt x="1344" y="1381"/>
                  </a:lnTo>
                  <a:lnTo>
                    <a:pt x="1308" y="1378"/>
                  </a:lnTo>
                  <a:lnTo>
                    <a:pt x="1271" y="1378"/>
                  </a:lnTo>
                  <a:lnTo>
                    <a:pt x="1234" y="1375"/>
                  </a:lnTo>
                  <a:lnTo>
                    <a:pt x="1198" y="1372"/>
                  </a:lnTo>
                  <a:lnTo>
                    <a:pt x="1161" y="1369"/>
                  </a:lnTo>
                  <a:lnTo>
                    <a:pt x="1125" y="1367"/>
                  </a:lnTo>
                  <a:lnTo>
                    <a:pt x="1088" y="1364"/>
                  </a:lnTo>
                  <a:lnTo>
                    <a:pt x="1052" y="1361"/>
                  </a:lnTo>
                  <a:lnTo>
                    <a:pt x="1020" y="1358"/>
                  </a:lnTo>
                  <a:lnTo>
                    <a:pt x="983" y="1355"/>
                  </a:lnTo>
                  <a:lnTo>
                    <a:pt x="946" y="1352"/>
                  </a:lnTo>
                  <a:lnTo>
                    <a:pt x="914" y="1350"/>
                  </a:lnTo>
                  <a:lnTo>
                    <a:pt x="878" y="1347"/>
                  </a:lnTo>
                  <a:lnTo>
                    <a:pt x="846" y="1344"/>
                  </a:lnTo>
                  <a:lnTo>
                    <a:pt x="809" y="1338"/>
                  </a:lnTo>
                  <a:lnTo>
                    <a:pt x="777" y="1335"/>
                  </a:lnTo>
                  <a:lnTo>
                    <a:pt x="745" y="1332"/>
                  </a:lnTo>
                  <a:lnTo>
                    <a:pt x="718" y="1330"/>
                  </a:lnTo>
                  <a:lnTo>
                    <a:pt x="686" y="1327"/>
                  </a:lnTo>
                  <a:lnTo>
                    <a:pt x="659" y="1324"/>
                  </a:lnTo>
                  <a:lnTo>
                    <a:pt x="627" y="1321"/>
                  </a:lnTo>
                  <a:lnTo>
                    <a:pt x="599" y="1315"/>
                  </a:lnTo>
                  <a:lnTo>
                    <a:pt x="576" y="1312"/>
                  </a:lnTo>
                  <a:lnTo>
                    <a:pt x="549" y="1310"/>
                  </a:lnTo>
                  <a:lnTo>
                    <a:pt x="521" y="1307"/>
                  </a:lnTo>
                  <a:lnTo>
                    <a:pt x="499" y="1304"/>
                  </a:lnTo>
                  <a:lnTo>
                    <a:pt x="476" y="1304"/>
                  </a:lnTo>
                  <a:lnTo>
                    <a:pt x="453" y="1301"/>
                  </a:lnTo>
                  <a:lnTo>
                    <a:pt x="430" y="1298"/>
                  </a:lnTo>
                  <a:lnTo>
                    <a:pt x="412" y="1295"/>
                  </a:lnTo>
                  <a:lnTo>
                    <a:pt x="393" y="1293"/>
                  </a:lnTo>
                  <a:lnTo>
                    <a:pt x="380" y="1293"/>
                  </a:lnTo>
                  <a:lnTo>
                    <a:pt x="361" y="1290"/>
                  </a:lnTo>
                  <a:lnTo>
                    <a:pt x="343" y="1287"/>
                  </a:lnTo>
                  <a:lnTo>
                    <a:pt x="330" y="1284"/>
                  </a:lnTo>
                  <a:lnTo>
                    <a:pt x="320" y="1284"/>
                  </a:lnTo>
                  <a:lnTo>
                    <a:pt x="307" y="1281"/>
                  </a:lnTo>
                  <a:lnTo>
                    <a:pt x="298" y="1281"/>
                  </a:lnTo>
                  <a:lnTo>
                    <a:pt x="288" y="1281"/>
                  </a:lnTo>
                  <a:lnTo>
                    <a:pt x="279" y="1281"/>
                  </a:lnTo>
                  <a:lnTo>
                    <a:pt x="275" y="1281"/>
                  </a:lnTo>
                  <a:lnTo>
                    <a:pt x="270" y="1281"/>
                  </a:lnTo>
                  <a:lnTo>
                    <a:pt x="311" y="91"/>
                  </a:lnTo>
                  <a:lnTo>
                    <a:pt x="133" y="85"/>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77" name="Freeform 69"/>
            <p:cNvSpPr>
              <a:spLocks/>
            </p:cNvSpPr>
            <p:nvPr>
              <p:custDataLst>
                <p:tags r:id="rId176"/>
              </p:custDataLst>
            </p:nvPr>
          </p:nvSpPr>
          <p:spPr bwMode="gray">
            <a:xfrm>
              <a:off x="2572" y="1972"/>
              <a:ext cx="800" cy="748"/>
            </a:xfrm>
            <a:custGeom>
              <a:avLst/>
              <a:gdLst>
                <a:gd name="T0" fmla="*/ 0 w 781"/>
                <a:gd name="T1" fmla="*/ 74 h 820"/>
                <a:gd name="T2" fmla="*/ 0 w 781"/>
                <a:gd name="T3" fmla="*/ 71 h 820"/>
                <a:gd name="T4" fmla="*/ 5 w 781"/>
                <a:gd name="T5" fmla="*/ 68 h 820"/>
                <a:gd name="T6" fmla="*/ 5 w 781"/>
                <a:gd name="T7" fmla="*/ 65 h 820"/>
                <a:gd name="T8" fmla="*/ 5 w 781"/>
                <a:gd name="T9" fmla="*/ 62 h 820"/>
                <a:gd name="T10" fmla="*/ 5 w 781"/>
                <a:gd name="T11" fmla="*/ 58 h 820"/>
                <a:gd name="T12" fmla="*/ 5 w 781"/>
                <a:gd name="T13" fmla="*/ 56 h 820"/>
                <a:gd name="T14" fmla="*/ 9 w 781"/>
                <a:gd name="T15" fmla="*/ 52 h 820"/>
                <a:gd name="T16" fmla="*/ 9 w 781"/>
                <a:gd name="T17" fmla="*/ 47 h 820"/>
                <a:gd name="T18" fmla="*/ 9 w 781"/>
                <a:gd name="T19" fmla="*/ 43 h 820"/>
                <a:gd name="T20" fmla="*/ 18 w 781"/>
                <a:gd name="T21" fmla="*/ 39 h 820"/>
                <a:gd name="T22" fmla="*/ 18 w 781"/>
                <a:gd name="T23" fmla="*/ 34 h 820"/>
                <a:gd name="T24" fmla="*/ 58 w 781"/>
                <a:gd name="T25" fmla="*/ 30 h 820"/>
                <a:gd name="T26" fmla="*/ 64 w 781"/>
                <a:gd name="T27" fmla="*/ 26 h 820"/>
                <a:gd name="T28" fmla="*/ 90 w 781"/>
                <a:gd name="T29" fmla="*/ 23 h 820"/>
                <a:gd name="T30" fmla="*/ 122 w 781"/>
                <a:gd name="T31" fmla="*/ 19 h 820"/>
                <a:gd name="T32" fmla="*/ 136 w 781"/>
                <a:gd name="T33" fmla="*/ 16 h 820"/>
                <a:gd name="T34" fmla="*/ 169 w 781"/>
                <a:gd name="T35" fmla="*/ 13 h 820"/>
                <a:gd name="T36" fmla="*/ 213 w 781"/>
                <a:gd name="T37" fmla="*/ 11 h 820"/>
                <a:gd name="T38" fmla="*/ 255 w 781"/>
                <a:gd name="T39" fmla="*/ 8 h 820"/>
                <a:gd name="T40" fmla="*/ 307 w 781"/>
                <a:gd name="T41" fmla="*/ 5 h 820"/>
                <a:gd name="T42" fmla="*/ 382 w 781"/>
                <a:gd name="T43" fmla="*/ 5 h 820"/>
                <a:gd name="T44" fmla="*/ 494 w 781"/>
                <a:gd name="T45" fmla="*/ 5 h 820"/>
                <a:gd name="T46" fmla="*/ 544 w 781"/>
                <a:gd name="T47" fmla="*/ 5 h 820"/>
                <a:gd name="T48" fmla="*/ 605 w 781"/>
                <a:gd name="T49" fmla="*/ 5 h 820"/>
                <a:gd name="T50" fmla="*/ 683 w 781"/>
                <a:gd name="T51" fmla="*/ 0 h 820"/>
                <a:gd name="T52" fmla="*/ 761 w 781"/>
                <a:gd name="T53" fmla="*/ 3 h 820"/>
                <a:gd name="T54" fmla="*/ 827 w 781"/>
                <a:gd name="T55" fmla="*/ 5 h 820"/>
                <a:gd name="T56" fmla="*/ 939 w 781"/>
                <a:gd name="T57" fmla="*/ 5 h 820"/>
                <a:gd name="T58" fmla="*/ 1033 w 781"/>
                <a:gd name="T59" fmla="*/ 5 h 820"/>
                <a:gd name="T60" fmla="*/ 1129 w 781"/>
                <a:gd name="T61" fmla="*/ 5 h 820"/>
                <a:gd name="T62" fmla="*/ 1222 w 781"/>
                <a:gd name="T63" fmla="*/ 8 h 820"/>
                <a:gd name="T64" fmla="*/ 1287 w 781"/>
                <a:gd name="T65" fmla="*/ 12 h 820"/>
                <a:gd name="T66" fmla="*/ 1341 w 781"/>
                <a:gd name="T67" fmla="*/ 15 h 820"/>
                <a:gd name="T68" fmla="*/ 1369 w 781"/>
                <a:gd name="T69" fmla="*/ 16 h 820"/>
                <a:gd name="T70" fmla="*/ 1381 w 781"/>
                <a:gd name="T71" fmla="*/ 19 h 820"/>
                <a:gd name="T72" fmla="*/ 1390 w 781"/>
                <a:gd name="T73" fmla="*/ 21 h 820"/>
                <a:gd name="T74" fmla="*/ 1408 w 781"/>
                <a:gd name="T75" fmla="*/ 23 h 820"/>
                <a:gd name="T76" fmla="*/ 1416 w 781"/>
                <a:gd name="T77" fmla="*/ 27 h 820"/>
                <a:gd name="T78" fmla="*/ 1424 w 781"/>
                <a:gd name="T79" fmla="*/ 30 h 820"/>
                <a:gd name="T80" fmla="*/ 1437 w 781"/>
                <a:gd name="T81" fmla="*/ 33 h 820"/>
                <a:gd name="T82" fmla="*/ 1442 w 781"/>
                <a:gd name="T83" fmla="*/ 36 h 820"/>
                <a:gd name="T84" fmla="*/ 1450 w 781"/>
                <a:gd name="T85" fmla="*/ 40 h 820"/>
                <a:gd name="T86" fmla="*/ 1450 w 781"/>
                <a:gd name="T87" fmla="*/ 44 h 820"/>
                <a:gd name="T88" fmla="*/ 1458 w 781"/>
                <a:gd name="T89" fmla="*/ 47 h 820"/>
                <a:gd name="T90" fmla="*/ 1458 w 781"/>
                <a:gd name="T91" fmla="*/ 52 h 820"/>
                <a:gd name="T92" fmla="*/ 1458 w 781"/>
                <a:gd name="T93" fmla="*/ 56 h 820"/>
                <a:gd name="T94" fmla="*/ 1458 w 781"/>
                <a:gd name="T95" fmla="*/ 58 h 820"/>
                <a:gd name="T96" fmla="*/ 1458 w 781"/>
                <a:gd name="T97" fmla="*/ 62 h 820"/>
                <a:gd name="T98" fmla="*/ 1458 w 781"/>
                <a:gd name="T99" fmla="*/ 64 h 820"/>
                <a:gd name="T100" fmla="*/ 1458 w 781"/>
                <a:gd name="T101" fmla="*/ 67 h 820"/>
                <a:gd name="T102" fmla="*/ 1458 w 781"/>
                <a:gd name="T103" fmla="*/ 68 h 820"/>
                <a:gd name="T104" fmla="*/ 1458 w 781"/>
                <a:gd name="T105" fmla="*/ 70 h 820"/>
                <a:gd name="T106" fmla="*/ 1458 w 781"/>
                <a:gd name="T107" fmla="*/ 73 h 820"/>
                <a:gd name="T108" fmla="*/ 0 w 781"/>
                <a:gd name="T109" fmla="*/ 75 h 82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1"/>
                <a:gd name="T166" fmla="*/ 0 h 820"/>
                <a:gd name="T167" fmla="*/ 781 w 781"/>
                <a:gd name="T168" fmla="*/ 820 h 82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1" h="820">
                  <a:moveTo>
                    <a:pt x="0" y="820"/>
                  </a:moveTo>
                  <a:lnTo>
                    <a:pt x="0" y="812"/>
                  </a:lnTo>
                  <a:lnTo>
                    <a:pt x="0" y="806"/>
                  </a:lnTo>
                  <a:lnTo>
                    <a:pt x="0" y="797"/>
                  </a:lnTo>
                  <a:lnTo>
                    <a:pt x="0" y="786"/>
                  </a:lnTo>
                  <a:lnTo>
                    <a:pt x="0" y="777"/>
                  </a:lnTo>
                  <a:lnTo>
                    <a:pt x="0" y="766"/>
                  </a:lnTo>
                  <a:lnTo>
                    <a:pt x="0" y="757"/>
                  </a:lnTo>
                  <a:lnTo>
                    <a:pt x="5" y="749"/>
                  </a:lnTo>
                  <a:lnTo>
                    <a:pt x="5" y="738"/>
                  </a:lnTo>
                  <a:lnTo>
                    <a:pt x="5" y="726"/>
                  </a:lnTo>
                  <a:lnTo>
                    <a:pt x="5" y="712"/>
                  </a:lnTo>
                  <a:lnTo>
                    <a:pt x="5" y="700"/>
                  </a:lnTo>
                  <a:lnTo>
                    <a:pt x="5" y="689"/>
                  </a:lnTo>
                  <a:lnTo>
                    <a:pt x="5" y="675"/>
                  </a:lnTo>
                  <a:lnTo>
                    <a:pt x="5" y="663"/>
                  </a:lnTo>
                  <a:lnTo>
                    <a:pt x="5" y="649"/>
                  </a:lnTo>
                  <a:lnTo>
                    <a:pt x="5" y="638"/>
                  </a:lnTo>
                  <a:lnTo>
                    <a:pt x="5" y="624"/>
                  </a:lnTo>
                  <a:lnTo>
                    <a:pt x="5" y="609"/>
                  </a:lnTo>
                  <a:lnTo>
                    <a:pt x="5" y="595"/>
                  </a:lnTo>
                  <a:lnTo>
                    <a:pt x="5" y="578"/>
                  </a:lnTo>
                  <a:lnTo>
                    <a:pt x="9" y="564"/>
                  </a:lnTo>
                  <a:lnTo>
                    <a:pt x="9" y="552"/>
                  </a:lnTo>
                  <a:lnTo>
                    <a:pt x="9" y="538"/>
                  </a:lnTo>
                  <a:lnTo>
                    <a:pt x="9" y="521"/>
                  </a:lnTo>
                  <a:lnTo>
                    <a:pt x="9" y="510"/>
                  </a:lnTo>
                  <a:lnTo>
                    <a:pt x="9" y="493"/>
                  </a:lnTo>
                  <a:lnTo>
                    <a:pt x="9" y="478"/>
                  </a:lnTo>
                  <a:lnTo>
                    <a:pt x="9" y="464"/>
                  </a:lnTo>
                  <a:lnTo>
                    <a:pt x="14" y="450"/>
                  </a:lnTo>
                  <a:lnTo>
                    <a:pt x="14" y="433"/>
                  </a:lnTo>
                  <a:lnTo>
                    <a:pt x="18" y="419"/>
                  </a:lnTo>
                  <a:lnTo>
                    <a:pt x="18" y="404"/>
                  </a:lnTo>
                  <a:lnTo>
                    <a:pt x="18" y="387"/>
                  </a:lnTo>
                  <a:lnTo>
                    <a:pt x="18" y="373"/>
                  </a:lnTo>
                  <a:lnTo>
                    <a:pt x="23" y="359"/>
                  </a:lnTo>
                  <a:lnTo>
                    <a:pt x="27" y="345"/>
                  </a:lnTo>
                  <a:lnTo>
                    <a:pt x="32" y="330"/>
                  </a:lnTo>
                  <a:lnTo>
                    <a:pt x="32" y="316"/>
                  </a:lnTo>
                  <a:lnTo>
                    <a:pt x="37" y="302"/>
                  </a:lnTo>
                  <a:lnTo>
                    <a:pt x="37" y="285"/>
                  </a:lnTo>
                  <a:lnTo>
                    <a:pt x="46" y="273"/>
                  </a:lnTo>
                  <a:lnTo>
                    <a:pt x="46" y="259"/>
                  </a:lnTo>
                  <a:lnTo>
                    <a:pt x="50" y="245"/>
                  </a:lnTo>
                  <a:lnTo>
                    <a:pt x="55" y="231"/>
                  </a:lnTo>
                  <a:lnTo>
                    <a:pt x="55" y="219"/>
                  </a:lnTo>
                  <a:lnTo>
                    <a:pt x="64" y="208"/>
                  </a:lnTo>
                  <a:lnTo>
                    <a:pt x="69" y="196"/>
                  </a:lnTo>
                  <a:lnTo>
                    <a:pt x="73" y="182"/>
                  </a:lnTo>
                  <a:lnTo>
                    <a:pt x="73" y="171"/>
                  </a:lnTo>
                  <a:lnTo>
                    <a:pt x="82" y="159"/>
                  </a:lnTo>
                  <a:lnTo>
                    <a:pt x="87" y="148"/>
                  </a:lnTo>
                  <a:lnTo>
                    <a:pt x="91" y="137"/>
                  </a:lnTo>
                  <a:lnTo>
                    <a:pt x="96" y="125"/>
                  </a:lnTo>
                  <a:lnTo>
                    <a:pt x="110" y="117"/>
                  </a:lnTo>
                  <a:lnTo>
                    <a:pt x="114" y="108"/>
                  </a:lnTo>
                  <a:lnTo>
                    <a:pt x="123" y="97"/>
                  </a:lnTo>
                  <a:lnTo>
                    <a:pt x="128" y="91"/>
                  </a:lnTo>
                  <a:lnTo>
                    <a:pt x="137" y="83"/>
                  </a:lnTo>
                  <a:lnTo>
                    <a:pt x="146" y="74"/>
                  </a:lnTo>
                  <a:lnTo>
                    <a:pt x="155" y="68"/>
                  </a:lnTo>
                  <a:lnTo>
                    <a:pt x="165" y="60"/>
                  </a:lnTo>
                  <a:lnTo>
                    <a:pt x="174" y="54"/>
                  </a:lnTo>
                  <a:lnTo>
                    <a:pt x="187" y="48"/>
                  </a:lnTo>
                  <a:lnTo>
                    <a:pt x="206" y="40"/>
                  </a:lnTo>
                  <a:lnTo>
                    <a:pt x="224" y="31"/>
                  </a:lnTo>
                  <a:lnTo>
                    <a:pt x="242" y="23"/>
                  </a:lnTo>
                  <a:lnTo>
                    <a:pt x="265" y="17"/>
                  </a:lnTo>
                  <a:lnTo>
                    <a:pt x="274" y="14"/>
                  </a:lnTo>
                  <a:lnTo>
                    <a:pt x="283" y="11"/>
                  </a:lnTo>
                  <a:lnTo>
                    <a:pt x="292" y="9"/>
                  </a:lnTo>
                  <a:lnTo>
                    <a:pt x="306" y="6"/>
                  </a:lnTo>
                  <a:lnTo>
                    <a:pt x="311" y="6"/>
                  </a:lnTo>
                  <a:lnTo>
                    <a:pt x="324" y="6"/>
                  </a:lnTo>
                  <a:lnTo>
                    <a:pt x="334" y="3"/>
                  </a:lnTo>
                  <a:lnTo>
                    <a:pt x="347" y="3"/>
                  </a:lnTo>
                  <a:lnTo>
                    <a:pt x="366" y="0"/>
                  </a:lnTo>
                  <a:lnTo>
                    <a:pt x="384" y="3"/>
                  </a:lnTo>
                  <a:lnTo>
                    <a:pt x="398" y="3"/>
                  </a:lnTo>
                  <a:lnTo>
                    <a:pt x="407" y="3"/>
                  </a:lnTo>
                  <a:lnTo>
                    <a:pt x="416" y="3"/>
                  </a:lnTo>
                  <a:lnTo>
                    <a:pt x="425" y="6"/>
                  </a:lnTo>
                  <a:lnTo>
                    <a:pt x="443" y="6"/>
                  </a:lnTo>
                  <a:lnTo>
                    <a:pt x="466" y="9"/>
                  </a:lnTo>
                  <a:lnTo>
                    <a:pt x="484" y="14"/>
                  </a:lnTo>
                  <a:lnTo>
                    <a:pt x="503" y="20"/>
                  </a:lnTo>
                  <a:lnTo>
                    <a:pt x="521" y="23"/>
                  </a:lnTo>
                  <a:lnTo>
                    <a:pt x="539" y="28"/>
                  </a:lnTo>
                  <a:lnTo>
                    <a:pt x="553" y="37"/>
                  </a:lnTo>
                  <a:lnTo>
                    <a:pt x="576" y="43"/>
                  </a:lnTo>
                  <a:lnTo>
                    <a:pt x="590" y="48"/>
                  </a:lnTo>
                  <a:lnTo>
                    <a:pt x="603" y="60"/>
                  </a:lnTo>
                  <a:lnTo>
                    <a:pt x="622" y="68"/>
                  </a:lnTo>
                  <a:lnTo>
                    <a:pt x="635" y="77"/>
                  </a:lnTo>
                  <a:lnTo>
                    <a:pt x="654" y="85"/>
                  </a:lnTo>
                  <a:lnTo>
                    <a:pt x="663" y="97"/>
                  </a:lnTo>
                  <a:lnTo>
                    <a:pt x="672" y="108"/>
                  </a:lnTo>
                  <a:lnTo>
                    <a:pt x="690" y="120"/>
                  </a:lnTo>
                  <a:lnTo>
                    <a:pt x="699" y="131"/>
                  </a:lnTo>
                  <a:lnTo>
                    <a:pt x="708" y="142"/>
                  </a:lnTo>
                  <a:lnTo>
                    <a:pt x="718" y="154"/>
                  </a:lnTo>
                  <a:lnTo>
                    <a:pt x="727" y="165"/>
                  </a:lnTo>
                  <a:lnTo>
                    <a:pt x="727" y="171"/>
                  </a:lnTo>
                  <a:lnTo>
                    <a:pt x="731" y="177"/>
                  </a:lnTo>
                  <a:lnTo>
                    <a:pt x="736" y="185"/>
                  </a:lnTo>
                  <a:lnTo>
                    <a:pt x="736" y="194"/>
                  </a:lnTo>
                  <a:lnTo>
                    <a:pt x="740" y="199"/>
                  </a:lnTo>
                  <a:lnTo>
                    <a:pt x="745" y="208"/>
                  </a:lnTo>
                  <a:lnTo>
                    <a:pt x="745" y="216"/>
                  </a:lnTo>
                  <a:lnTo>
                    <a:pt x="745" y="228"/>
                  </a:lnTo>
                  <a:lnTo>
                    <a:pt x="745" y="236"/>
                  </a:lnTo>
                  <a:lnTo>
                    <a:pt x="754" y="245"/>
                  </a:lnTo>
                  <a:lnTo>
                    <a:pt x="754" y="256"/>
                  </a:lnTo>
                  <a:lnTo>
                    <a:pt x="754" y="268"/>
                  </a:lnTo>
                  <a:lnTo>
                    <a:pt x="759" y="279"/>
                  </a:lnTo>
                  <a:lnTo>
                    <a:pt x="759" y="290"/>
                  </a:lnTo>
                  <a:lnTo>
                    <a:pt x="759" y="302"/>
                  </a:lnTo>
                  <a:lnTo>
                    <a:pt x="763" y="313"/>
                  </a:lnTo>
                  <a:lnTo>
                    <a:pt x="763" y="327"/>
                  </a:lnTo>
                  <a:lnTo>
                    <a:pt x="763" y="336"/>
                  </a:lnTo>
                  <a:lnTo>
                    <a:pt x="763" y="347"/>
                  </a:lnTo>
                  <a:lnTo>
                    <a:pt x="768" y="362"/>
                  </a:lnTo>
                  <a:lnTo>
                    <a:pt x="768" y="379"/>
                  </a:lnTo>
                  <a:lnTo>
                    <a:pt x="772" y="390"/>
                  </a:lnTo>
                  <a:lnTo>
                    <a:pt x="772" y="401"/>
                  </a:lnTo>
                  <a:lnTo>
                    <a:pt x="777" y="416"/>
                  </a:lnTo>
                  <a:lnTo>
                    <a:pt x="777" y="430"/>
                  </a:lnTo>
                  <a:lnTo>
                    <a:pt x="777" y="444"/>
                  </a:lnTo>
                  <a:lnTo>
                    <a:pt x="777" y="456"/>
                  </a:lnTo>
                  <a:lnTo>
                    <a:pt x="777" y="470"/>
                  </a:lnTo>
                  <a:lnTo>
                    <a:pt x="777" y="484"/>
                  </a:lnTo>
                  <a:lnTo>
                    <a:pt x="777" y="498"/>
                  </a:lnTo>
                  <a:lnTo>
                    <a:pt x="777" y="510"/>
                  </a:lnTo>
                  <a:lnTo>
                    <a:pt x="781" y="524"/>
                  </a:lnTo>
                  <a:lnTo>
                    <a:pt x="781" y="538"/>
                  </a:lnTo>
                  <a:lnTo>
                    <a:pt x="781" y="552"/>
                  </a:lnTo>
                  <a:lnTo>
                    <a:pt x="781" y="561"/>
                  </a:lnTo>
                  <a:lnTo>
                    <a:pt x="781" y="575"/>
                  </a:lnTo>
                  <a:lnTo>
                    <a:pt x="781" y="587"/>
                  </a:lnTo>
                  <a:lnTo>
                    <a:pt x="781" y="601"/>
                  </a:lnTo>
                  <a:lnTo>
                    <a:pt x="781" y="612"/>
                  </a:lnTo>
                  <a:lnTo>
                    <a:pt x="781" y="626"/>
                  </a:lnTo>
                  <a:lnTo>
                    <a:pt x="781" y="635"/>
                  </a:lnTo>
                  <a:lnTo>
                    <a:pt x="781" y="649"/>
                  </a:lnTo>
                  <a:lnTo>
                    <a:pt x="781" y="658"/>
                  </a:lnTo>
                  <a:lnTo>
                    <a:pt x="781" y="669"/>
                  </a:lnTo>
                  <a:lnTo>
                    <a:pt x="781" y="681"/>
                  </a:lnTo>
                  <a:lnTo>
                    <a:pt x="781" y="692"/>
                  </a:lnTo>
                  <a:lnTo>
                    <a:pt x="781" y="700"/>
                  </a:lnTo>
                  <a:lnTo>
                    <a:pt x="781" y="712"/>
                  </a:lnTo>
                  <a:lnTo>
                    <a:pt x="781" y="720"/>
                  </a:lnTo>
                  <a:lnTo>
                    <a:pt x="781" y="726"/>
                  </a:lnTo>
                  <a:lnTo>
                    <a:pt x="781" y="735"/>
                  </a:lnTo>
                  <a:lnTo>
                    <a:pt x="781" y="743"/>
                  </a:lnTo>
                  <a:lnTo>
                    <a:pt x="781" y="749"/>
                  </a:lnTo>
                  <a:lnTo>
                    <a:pt x="781" y="757"/>
                  </a:lnTo>
                  <a:lnTo>
                    <a:pt x="781" y="763"/>
                  </a:lnTo>
                  <a:lnTo>
                    <a:pt x="781" y="769"/>
                  </a:lnTo>
                  <a:lnTo>
                    <a:pt x="781" y="777"/>
                  </a:lnTo>
                  <a:lnTo>
                    <a:pt x="781" y="786"/>
                  </a:lnTo>
                  <a:lnTo>
                    <a:pt x="781" y="789"/>
                  </a:lnTo>
                  <a:lnTo>
                    <a:pt x="781" y="792"/>
                  </a:lnTo>
                  <a:lnTo>
                    <a:pt x="0" y="82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78" name="Freeform 70"/>
            <p:cNvSpPr>
              <a:spLocks/>
            </p:cNvSpPr>
            <p:nvPr>
              <p:custDataLst>
                <p:tags r:id="rId177"/>
              </p:custDataLst>
            </p:nvPr>
          </p:nvSpPr>
          <p:spPr bwMode="gray">
            <a:xfrm>
              <a:off x="1134" y="2045"/>
              <a:ext cx="1339" cy="362"/>
            </a:xfrm>
            <a:custGeom>
              <a:avLst/>
              <a:gdLst>
                <a:gd name="T0" fmla="*/ 90 w 1307"/>
                <a:gd name="T1" fmla="*/ 5 h 396"/>
                <a:gd name="T2" fmla="*/ 207 w 1307"/>
                <a:gd name="T3" fmla="*/ 5 h 396"/>
                <a:gd name="T4" fmla="*/ 326 w 1307"/>
                <a:gd name="T5" fmla="*/ 5 h 396"/>
                <a:gd name="T6" fmla="*/ 446 w 1307"/>
                <a:gd name="T7" fmla="*/ 5 h 396"/>
                <a:gd name="T8" fmla="*/ 591 w 1307"/>
                <a:gd name="T9" fmla="*/ 5 h 396"/>
                <a:gd name="T10" fmla="*/ 739 w 1307"/>
                <a:gd name="T11" fmla="*/ 5 h 396"/>
                <a:gd name="T12" fmla="*/ 884 w 1307"/>
                <a:gd name="T13" fmla="*/ 5 h 396"/>
                <a:gd name="T14" fmla="*/ 1038 w 1307"/>
                <a:gd name="T15" fmla="*/ 6 h 396"/>
                <a:gd name="T16" fmla="*/ 1190 w 1307"/>
                <a:gd name="T17" fmla="*/ 7 h 396"/>
                <a:gd name="T18" fmla="*/ 1336 w 1307"/>
                <a:gd name="T19" fmla="*/ 7 h 396"/>
                <a:gd name="T20" fmla="*/ 1490 w 1307"/>
                <a:gd name="T21" fmla="*/ 8 h 396"/>
                <a:gd name="T22" fmla="*/ 1637 w 1307"/>
                <a:gd name="T23" fmla="*/ 8 h 396"/>
                <a:gd name="T24" fmla="*/ 1775 w 1307"/>
                <a:gd name="T25" fmla="*/ 8 h 396"/>
                <a:gd name="T26" fmla="*/ 1900 w 1307"/>
                <a:gd name="T27" fmla="*/ 9 h 396"/>
                <a:gd name="T28" fmla="*/ 2023 w 1307"/>
                <a:gd name="T29" fmla="*/ 10 h 396"/>
                <a:gd name="T30" fmla="*/ 2125 w 1307"/>
                <a:gd name="T31" fmla="*/ 10 h 396"/>
                <a:gd name="T32" fmla="*/ 2223 w 1307"/>
                <a:gd name="T33" fmla="*/ 10 h 396"/>
                <a:gd name="T34" fmla="*/ 2303 w 1307"/>
                <a:gd name="T35" fmla="*/ 10 h 396"/>
                <a:gd name="T36" fmla="*/ 2377 w 1307"/>
                <a:gd name="T37" fmla="*/ 10 h 396"/>
                <a:gd name="T38" fmla="*/ 2445 w 1307"/>
                <a:gd name="T39" fmla="*/ 10 h 396"/>
                <a:gd name="T40" fmla="*/ 2416 w 1307"/>
                <a:gd name="T41" fmla="*/ 37 h 396"/>
                <a:gd name="T42" fmla="*/ 2356 w 1307"/>
                <a:gd name="T43" fmla="*/ 37 h 396"/>
                <a:gd name="T44" fmla="*/ 2296 w 1307"/>
                <a:gd name="T45" fmla="*/ 37 h 396"/>
                <a:gd name="T46" fmla="*/ 2223 w 1307"/>
                <a:gd name="T47" fmla="*/ 37 h 396"/>
                <a:gd name="T48" fmla="*/ 2125 w 1307"/>
                <a:gd name="T49" fmla="*/ 37 h 396"/>
                <a:gd name="T50" fmla="*/ 2016 w 1307"/>
                <a:gd name="T51" fmla="*/ 37 h 396"/>
                <a:gd name="T52" fmla="*/ 1956 w 1307"/>
                <a:gd name="T53" fmla="*/ 37 h 396"/>
                <a:gd name="T54" fmla="*/ 1894 w 1307"/>
                <a:gd name="T55" fmla="*/ 37 h 396"/>
                <a:gd name="T56" fmla="*/ 1818 w 1307"/>
                <a:gd name="T57" fmla="*/ 37 h 396"/>
                <a:gd name="T58" fmla="*/ 1749 w 1307"/>
                <a:gd name="T59" fmla="*/ 37 h 396"/>
                <a:gd name="T60" fmla="*/ 1670 w 1307"/>
                <a:gd name="T61" fmla="*/ 37 h 396"/>
                <a:gd name="T62" fmla="*/ 1585 w 1307"/>
                <a:gd name="T63" fmla="*/ 37 h 396"/>
                <a:gd name="T64" fmla="*/ 1508 w 1307"/>
                <a:gd name="T65" fmla="*/ 37 h 396"/>
                <a:gd name="T66" fmla="*/ 1423 w 1307"/>
                <a:gd name="T67" fmla="*/ 37 h 396"/>
                <a:gd name="T68" fmla="*/ 1330 w 1307"/>
                <a:gd name="T69" fmla="*/ 37 h 396"/>
                <a:gd name="T70" fmla="*/ 1237 w 1307"/>
                <a:gd name="T71" fmla="*/ 37 h 396"/>
                <a:gd name="T72" fmla="*/ 1140 w 1307"/>
                <a:gd name="T73" fmla="*/ 36 h 396"/>
                <a:gd name="T74" fmla="*/ 1047 w 1307"/>
                <a:gd name="T75" fmla="*/ 36 h 396"/>
                <a:gd name="T76" fmla="*/ 951 w 1307"/>
                <a:gd name="T77" fmla="*/ 34 h 396"/>
                <a:gd name="T78" fmla="*/ 857 w 1307"/>
                <a:gd name="T79" fmla="*/ 34 h 396"/>
                <a:gd name="T80" fmla="*/ 763 w 1307"/>
                <a:gd name="T81" fmla="*/ 34 h 396"/>
                <a:gd name="T82" fmla="*/ 687 w 1307"/>
                <a:gd name="T83" fmla="*/ 34 h 396"/>
                <a:gd name="T84" fmla="*/ 591 w 1307"/>
                <a:gd name="T85" fmla="*/ 34 h 396"/>
                <a:gd name="T86" fmla="*/ 514 w 1307"/>
                <a:gd name="T87" fmla="*/ 34 h 396"/>
                <a:gd name="T88" fmla="*/ 436 w 1307"/>
                <a:gd name="T89" fmla="*/ 34 h 396"/>
                <a:gd name="T90" fmla="*/ 360 w 1307"/>
                <a:gd name="T91" fmla="*/ 33 h 396"/>
                <a:gd name="T92" fmla="*/ 299 w 1307"/>
                <a:gd name="T93" fmla="*/ 31 h 396"/>
                <a:gd name="T94" fmla="*/ 229 w 1307"/>
                <a:gd name="T95" fmla="*/ 31 h 396"/>
                <a:gd name="T96" fmla="*/ 151 w 1307"/>
                <a:gd name="T97" fmla="*/ 31 h 396"/>
                <a:gd name="T98" fmla="*/ 64 w 1307"/>
                <a:gd name="T99" fmla="*/ 31 h 396"/>
                <a:gd name="T100" fmla="*/ 5 w 1307"/>
                <a:gd name="T101" fmla="*/ 31 h 396"/>
                <a:gd name="T102" fmla="*/ 18 w 1307"/>
                <a:gd name="T103" fmla="*/ 0 h 39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07"/>
                <a:gd name="T157" fmla="*/ 0 h 396"/>
                <a:gd name="T158" fmla="*/ 1307 w 1307"/>
                <a:gd name="T159" fmla="*/ 396 h 39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07" h="396">
                  <a:moveTo>
                    <a:pt x="18" y="0"/>
                  </a:moveTo>
                  <a:lnTo>
                    <a:pt x="32" y="3"/>
                  </a:lnTo>
                  <a:lnTo>
                    <a:pt x="50" y="5"/>
                  </a:lnTo>
                  <a:lnTo>
                    <a:pt x="69" y="11"/>
                  </a:lnTo>
                  <a:lnTo>
                    <a:pt x="91" y="14"/>
                  </a:lnTo>
                  <a:lnTo>
                    <a:pt x="110" y="17"/>
                  </a:lnTo>
                  <a:lnTo>
                    <a:pt x="128" y="22"/>
                  </a:lnTo>
                  <a:lnTo>
                    <a:pt x="151" y="25"/>
                  </a:lnTo>
                  <a:lnTo>
                    <a:pt x="174" y="28"/>
                  </a:lnTo>
                  <a:lnTo>
                    <a:pt x="196" y="31"/>
                  </a:lnTo>
                  <a:lnTo>
                    <a:pt x="219" y="34"/>
                  </a:lnTo>
                  <a:lnTo>
                    <a:pt x="238" y="40"/>
                  </a:lnTo>
                  <a:lnTo>
                    <a:pt x="270" y="40"/>
                  </a:lnTo>
                  <a:lnTo>
                    <a:pt x="288" y="42"/>
                  </a:lnTo>
                  <a:lnTo>
                    <a:pt x="315" y="45"/>
                  </a:lnTo>
                  <a:lnTo>
                    <a:pt x="338" y="51"/>
                  </a:lnTo>
                  <a:lnTo>
                    <a:pt x="366" y="51"/>
                  </a:lnTo>
                  <a:lnTo>
                    <a:pt x="393" y="54"/>
                  </a:lnTo>
                  <a:lnTo>
                    <a:pt x="420" y="57"/>
                  </a:lnTo>
                  <a:lnTo>
                    <a:pt x="443" y="60"/>
                  </a:lnTo>
                  <a:lnTo>
                    <a:pt x="471" y="62"/>
                  </a:lnTo>
                  <a:lnTo>
                    <a:pt x="498" y="62"/>
                  </a:lnTo>
                  <a:lnTo>
                    <a:pt x="526" y="65"/>
                  </a:lnTo>
                  <a:lnTo>
                    <a:pt x="553" y="68"/>
                  </a:lnTo>
                  <a:lnTo>
                    <a:pt x="580" y="71"/>
                  </a:lnTo>
                  <a:lnTo>
                    <a:pt x="608" y="71"/>
                  </a:lnTo>
                  <a:lnTo>
                    <a:pt x="635" y="74"/>
                  </a:lnTo>
                  <a:lnTo>
                    <a:pt x="658" y="74"/>
                  </a:lnTo>
                  <a:lnTo>
                    <a:pt x="685" y="74"/>
                  </a:lnTo>
                  <a:lnTo>
                    <a:pt x="713" y="77"/>
                  </a:lnTo>
                  <a:lnTo>
                    <a:pt x="740" y="79"/>
                  </a:lnTo>
                  <a:lnTo>
                    <a:pt x="768" y="79"/>
                  </a:lnTo>
                  <a:lnTo>
                    <a:pt x="795" y="82"/>
                  </a:lnTo>
                  <a:lnTo>
                    <a:pt x="823" y="82"/>
                  </a:lnTo>
                  <a:lnTo>
                    <a:pt x="845" y="85"/>
                  </a:lnTo>
                  <a:lnTo>
                    <a:pt x="873" y="85"/>
                  </a:lnTo>
                  <a:lnTo>
                    <a:pt x="896" y="85"/>
                  </a:lnTo>
                  <a:lnTo>
                    <a:pt x="919" y="85"/>
                  </a:lnTo>
                  <a:lnTo>
                    <a:pt x="946" y="85"/>
                  </a:lnTo>
                  <a:lnTo>
                    <a:pt x="969" y="88"/>
                  </a:lnTo>
                  <a:lnTo>
                    <a:pt x="992" y="91"/>
                  </a:lnTo>
                  <a:lnTo>
                    <a:pt x="1015" y="91"/>
                  </a:lnTo>
                  <a:lnTo>
                    <a:pt x="1037" y="91"/>
                  </a:lnTo>
                  <a:lnTo>
                    <a:pt x="1056" y="91"/>
                  </a:lnTo>
                  <a:lnTo>
                    <a:pt x="1079" y="94"/>
                  </a:lnTo>
                  <a:lnTo>
                    <a:pt x="1097" y="94"/>
                  </a:lnTo>
                  <a:lnTo>
                    <a:pt x="1115" y="94"/>
                  </a:lnTo>
                  <a:lnTo>
                    <a:pt x="1133" y="94"/>
                  </a:lnTo>
                  <a:lnTo>
                    <a:pt x="1156" y="94"/>
                  </a:lnTo>
                  <a:lnTo>
                    <a:pt x="1165" y="94"/>
                  </a:lnTo>
                  <a:lnTo>
                    <a:pt x="1184" y="94"/>
                  </a:lnTo>
                  <a:lnTo>
                    <a:pt x="1202" y="94"/>
                  </a:lnTo>
                  <a:lnTo>
                    <a:pt x="1216" y="94"/>
                  </a:lnTo>
                  <a:lnTo>
                    <a:pt x="1229" y="94"/>
                  </a:lnTo>
                  <a:lnTo>
                    <a:pt x="1243" y="94"/>
                  </a:lnTo>
                  <a:lnTo>
                    <a:pt x="1252" y="94"/>
                  </a:lnTo>
                  <a:lnTo>
                    <a:pt x="1266" y="97"/>
                  </a:lnTo>
                  <a:lnTo>
                    <a:pt x="1280" y="97"/>
                  </a:lnTo>
                  <a:lnTo>
                    <a:pt x="1298" y="97"/>
                  </a:lnTo>
                  <a:lnTo>
                    <a:pt x="1302" y="97"/>
                  </a:lnTo>
                  <a:lnTo>
                    <a:pt x="1307" y="97"/>
                  </a:lnTo>
                  <a:lnTo>
                    <a:pt x="1293" y="396"/>
                  </a:lnTo>
                  <a:lnTo>
                    <a:pt x="1289" y="396"/>
                  </a:lnTo>
                  <a:lnTo>
                    <a:pt x="1284" y="396"/>
                  </a:lnTo>
                  <a:lnTo>
                    <a:pt x="1270" y="396"/>
                  </a:lnTo>
                  <a:lnTo>
                    <a:pt x="1257" y="396"/>
                  </a:lnTo>
                  <a:lnTo>
                    <a:pt x="1248" y="396"/>
                  </a:lnTo>
                  <a:lnTo>
                    <a:pt x="1234" y="396"/>
                  </a:lnTo>
                  <a:lnTo>
                    <a:pt x="1225" y="396"/>
                  </a:lnTo>
                  <a:lnTo>
                    <a:pt x="1216" y="396"/>
                  </a:lnTo>
                  <a:lnTo>
                    <a:pt x="1197" y="396"/>
                  </a:lnTo>
                  <a:lnTo>
                    <a:pt x="1184" y="396"/>
                  </a:lnTo>
                  <a:lnTo>
                    <a:pt x="1165" y="396"/>
                  </a:lnTo>
                  <a:lnTo>
                    <a:pt x="1156" y="396"/>
                  </a:lnTo>
                  <a:lnTo>
                    <a:pt x="1133" y="396"/>
                  </a:lnTo>
                  <a:lnTo>
                    <a:pt x="1115" y="396"/>
                  </a:lnTo>
                  <a:lnTo>
                    <a:pt x="1097" y="396"/>
                  </a:lnTo>
                  <a:lnTo>
                    <a:pt x="1074" y="396"/>
                  </a:lnTo>
                  <a:lnTo>
                    <a:pt x="1065" y="396"/>
                  </a:lnTo>
                  <a:lnTo>
                    <a:pt x="1056" y="396"/>
                  </a:lnTo>
                  <a:lnTo>
                    <a:pt x="1042" y="396"/>
                  </a:lnTo>
                  <a:lnTo>
                    <a:pt x="1033" y="396"/>
                  </a:lnTo>
                  <a:lnTo>
                    <a:pt x="1019" y="396"/>
                  </a:lnTo>
                  <a:lnTo>
                    <a:pt x="1010" y="396"/>
                  </a:lnTo>
                  <a:lnTo>
                    <a:pt x="996" y="396"/>
                  </a:lnTo>
                  <a:lnTo>
                    <a:pt x="987" y="396"/>
                  </a:lnTo>
                  <a:lnTo>
                    <a:pt x="969" y="393"/>
                  </a:lnTo>
                  <a:lnTo>
                    <a:pt x="960" y="393"/>
                  </a:lnTo>
                  <a:lnTo>
                    <a:pt x="946" y="393"/>
                  </a:lnTo>
                  <a:lnTo>
                    <a:pt x="932" y="393"/>
                  </a:lnTo>
                  <a:lnTo>
                    <a:pt x="919" y="390"/>
                  </a:lnTo>
                  <a:lnTo>
                    <a:pt x="905" y="390"/>
                  </a:lnTo>
                  <a:lnTo>
                    <a:pt x="891" y="387"/>
                  </a:lnTo>
                  <a:lnTo>
                    <a:pt x="877" y="387"/>
                  </a:lnTo>
                  <a:lnTo>
                    <a:pt x="864" y="387"/>
                  </a:lnTo>
                  <a:lnTo>
                    <a:pt x="845" y="387"/>
                  </a:lnTo>
                  <a:lnTo>
                    <a:pt x="836" y="387"/>
                  </a:lnTo>
                  <a:lnTo>
                    <a:pt x="823" y="387"/>
                  </a:lnTo>
                  <a:lnTo>
                    <a:pt x="804" y="387"/>
                  </a:lnTo>
                  <a:lnTo>
                    <a:pt x="786" y="387"/>
                  </a:lnTo>
                  <a:lnTo>
                    <a:pt x="772" y="384"/>
                  </a:lnTo>
                  <a:lnTo>
                    <a:pt x="759" y="384"/>
                  </a:lnTo>
                  <a:lnTo>
                    <a:pt x="740" y="381"/>
                  </a:lnTo>
                  <a:lnTo>
                    <a:pt x="722" y="381"/>
                  </a:lnTo>
                  <a:lnTo>
                    <a:pt x="708" y="381"/>
                  </a:lnTo>
                  <a:lnTo>
                    <a:pt x="695" y="378"/>
                  </a:lnTo>
                  <a:lnTo>
                    <a:pt x="676" y="376"/>
                  </a:lnTo>
                  <a:lnTo>
                    <a:pt x="658" y="376"/>
                  </a:lnTo>
                  <a:lnTo>
                    <a:pt x="640" y="376"/>
                  </a:lnTo>
                  <a:lnTo>
                    <a:pt x="622" y="376"/>
                  </a:lnTo>
                  <a:lnTo>
                    <a:pt x="608" y="370"/>
                  </a:lnTo>
                  <a:lnTo>
                    <a:pt x="590" y="370"/>
                  </a:lnTo>
                  <a:lnTo>
                    <a:pt x="571" y="370"/>
                  </a:lnTo>
                  <a:lnTo>
                    <a:pt x="558" y="370"/>
                  </a:lnTo>
                  <a:lnTo>
                    <a:pt x="539" y="367"/>
                  </a:lnTo>
                  <a:lnTo>
                    <a:pt x="526" y="367"/>
                  </a:lnTo>
                  <a:lnTo>
                    <a:pt x="507" y="364"/>
                  </a:lnTo>
                  <a:lnTo>
                    <a:pt x="489" y="364"/>
                  </a:lnTo>
                  <a:lnTo>
                    <a:pt x="475" y="361"/>
                  </a:lnTo>
                  <a:lnTo>
                    <a:pt x="457" y="359"/>
                  </a:lnTo>
                  <a:lnTo>
                    <a:pt x="439" y="359"/>
                  </a:lnTo>
                  <a:lnTo>
                    <a:pt x="425" y="359"/>
                  </a:lnTo>
                  <a:lnTo>
                    <a:pt x="407" y="356"/>
                  </a:lnTo>
                  <a:lnTo>
                    <a:pt x="393" y="356"/>
                  </a:lnTo>
                  <a:lnTo>
                    <a:pt x="379" y="353"/>
                  </a:lnTo>
                  <a:lnTo>
                    <a:pt x="366" y="353"/>
                  </a:lnTo>
                  <a:lnTo>
                    <a:pt x="347" y="353"/>
                  </a:lnTo>
                  <a:lnTo>
                    <a:pt x="334" y="350"/>
                  </a:lnTo>
                  <a:lnTo>
                    <a:pt x="315" y="350"/>
                  </a:lnTo>
                  <a:lnTo>
                    <a:pt x="302" y="347"/>
                  </a:lnTo>
                  <a:lnTo>
                    <a:pt x="288" y="344"/>
                  </a:lnTo>
                  <a:lnTo>
                    <a:pt x="274" y="344"/>
                  </a:lnTo>
                  <a:lnTo>
                    <a:pt x="256" y="341"/>
                  </a:lnTo>
                  <a:lnTo>
                    <a:pt x="247" y="341"/>
                  </a:lnTo>
                  <a:lnTo>
                    <a:pt x="233" y="341"/>
                  </a:lnTo>
                  <a:lnTo>
                    <a:pt x="219" y="339"/>
                  </a:lnTo>
                  <a:lnTo>
                    <a:pt x="201" y="339"/>
                  </a:lnTo>
                  <a:lnTo>
                    <a:pt x="192" y="339"/>
                  </a:lnTo>
                  <a:lnTo>
                    <a:pt x="183" y="336"/>
                  </a:lnTo>
                  <a:lnTo>
                    <a:pt x="169" y="336"/>
                  </a:lnTo>
                  <a:lnTo>
                    <a:pt x="160" y="333"/>
                  </a:lnTo>
                  <a:lnTo>
                    <a:pt x="146" y="333"/>
                  </a:lnTo>
                  <a:lnTo>
                    <a:pt x="133" y="330"/>
                  </a:lnTo>
                  <a:lnTo>
                    <a:pt x="123" y="330"/>
                  </a:lnTo>
                  <a:lnTo>
                    <a:pt x="114" y="327"/>
                  </a:lnTo>
                  <a:lnTo>
                    <a:pt x="101" y="327"/>
                  </a:lnTo>
                  <a:lnTo>
                    <a:pt x="82" y="327"/>
                  </a:lnTo>
                  <a:lnTo>
                    <a:pt x="69" y="324"/>
                  </a:lnTo>
                  <a:lnTo>
                    <a:pt x="50" y="321"/>
                  </a:lnTo>
                  <a:lnTo>
                    <a:pt x="37" y="321"/>
                  </a:lnTo>
                  <a:lnTo>
                    <a:pt x="23" y="319"/>
                  </a:lnTo>
                  <a:lnTo>
                    <a:pt x="18" y="319"/>
                  </a:lnTo>
                  <a:lnTo>
                    <a:pt x="5" y="319"/>
                  </a:lnTo>
                  <a:lnTo>
                    <a:pt x="0" y="319"/>
                  </a:lnTo>
                  <a:lnTo>
                    <a:pt x="18"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79" name="Freeform 71"/>
            <p:cNvSpPr>
              <a:spLocks/>
            </p:cNvSpPr>
            <p:nvPr>
              <p:custDataLst>
                <p:tags r:id="rId178"/>
              </p:custDataLst>
            </p:nvPr>
          </p:nvSpPr>
          <p:spPr bwMode="gray">
            <a:xfrm>
              <a:off x="3527" y="2060"/>
              <a:ext cx="1022" cy="403"/>
            </a:xfrm>
            <a:custGeom>
              <a:avLst/>
              <a:gdLst>
                <a:gd name="T0" fmla="*/ 84 w 997"/>
                <a:gd name="T1" fmla="*/ 5 h 441"/>
                <a:gd name="T2" fmla="*/ 210 w 997"/>
                <a:gd name="T3" fmla="*/ 5 h 441"/>
                <a:gd name="T4" fmla="*/ 340 w 997"/>
                <a:gd name="T5" fmla="*/ 5 h 441"/>
                <a:gd name="T6" fmla="*/ 463 w 997"/>
                <a:gd name="T7" fmla="*/ 5 h 441"/>
                <a:gd name="T8" fmla="*/ 585 w 997"/>
                <a:gd name="T9" fmla="*/ 5 h 441"/>
                <a:gd name="T10" fmla="*/ 696 w 997"/>
                <a:gd name="T11" fmla="*/ 5 h 441"/>
                <a:gd name="T12" fmla="*/ 820 w 997"/>
                <a:gd name="T13" fmla="*/ 5 h 441"/>
                <a:gd name="T14" fmla="*/ 922 w 997"/>
                <a:gd name="T15" fmla="*/ 5 h 441"/>
                <a:gd name="T16" fmla="*/ 1034 w 997"/>
                <a:gd name="T17" fmla="*/ 5 h 441"/>
                <a:gd name="T18" fmla="*/ 1140 w 997"/>
                <a:gd name="T19" fmla="*/ 5 h 441"/>
                <a:gd name="T20" fmla="*/ 1234 w 997"/>
                <a:gd name="T21" fmla="*/ 5 h 441"/>
                <a:gd name="T22" fmla="*/ 1323 w 997"/>
                <a:gd name="T23" fmla="*/ 5 h 441"/>
                <a:gd name="T24" fmla="*/ 1398 w 997"/>
                <a:gd name="T25" fmla="*/ 5 h 441"/>
                <a:gd name="T26" fmla="*/ 1478 w 997"/>
                <a:gd name="T27" fmla="*/ 5 h 441"/>
                <a:gd name="T28" fmla="*/ 1550 w 997"/>
                <a:gd name="T29" fmla="*/ 5 h 441"/>
                <a:gd name="T30" fmla="*/ 1612 w 997"/>
                <a:gd name="T31" fmla="*/ 5 h 441"/>
                <a:gd name="T32" fmla="*/ 1686 w 997"/>
                <a:gd name="T33" fmla="*/ 5 h 441"/>
                <a:gd name="T34" fmla="*/ 1765 w 997"/>
                <a:gd name="T35" fmla="*/ 0 h 441"/>
                <a:gd name="T36" fmla="*/ 1774 w 997"/>
                <a:gd name="T37" fmla="*/ 5 h 441"/>
                <a:gd name="T38" fmla="*/ 1795 w 997"/>
                <a:gd name="T39" fmla="*/ 5 h 441"/>
                <a:gd name="T40" fmla="*/ 1802 w 997"/>
                <a:gd name="T41" fmla="*/ 5 h 441"/>
                <a:gd name="T42" fmla="*/ 1809 w 997"/>
                <a:gd name="T43" fmla="*/ 6 h 441"/>
                <a:gd name="T44" fmla="*/ 1832 w 997"/>
                <a:gd name="T45" fmla="*/ 9 h 441"/>
                <a:gd name="T46" fmla="*/ 1838 w 997"/>
                <a:gd name="T47" fmla="*/ 11 h 441"/>
                <a:gd name="T48" fmla="*/ 1838 w 997"/>
                <a:gd name="T49" fmla="*/ 14 h 441"/>
                <a:gd name="T50" fmla="*/ 1853 w 997"/>
                <a:gd name="T51" fmla="*/ 15 h 441"/>
                <a:gd name="T52" fmla="*/ 1859 w 997"/>
                <a:gd name="T53" fmla="*/ 18 h 441"/>
                <a:gd name="T54" fmla="*/ 1877 w 997"/>
                <a:gd name="T55" fmla="*/ 20 h 441"/>
                <a:gd name="T56" fmla="*/ 1881 w 997"/>
                <a:gd name="T57" fmla="*/ 23 h 441"/>
                <a:gd name="T58" fmla="*/ 1897 w 997"/>
                <a:gd name="T59" fmla="*/ 25 h 441"/>
                <a:gd name="T60" fmla="*/ 1897 w 997"/>
                <a:gd name="T61" fmla="*/ 27 h 441"/>
                <a:gd name="T62" fmla="*/ 1897 w 997"/>
                <a:gd name="T63" fmla="*/ 28 h 441"/>
                <a:gd name="T64" fmla="*/ 1897 w 997"/>
                <a:gd name="T65" fmla="*/ 31 h 441"/>
                <a:gd name="T66" fmla="*/ 1890 w 997"/>
                <a:gd name="T67" fmla="*/ 34 h 441"/>
                <a:gd name="T68" fmla="*/ 1859 w 997"/>
                <a:gd name="T69" fmla="*/ 34 h 441"/>
                <a:gd name="T70" fmla="*/ 1774 w 997"/>
                <a:gd name="T71" fmla="*/ 34 h 441"/>
                <a:gd name="T72" fmla="*/ 1716 w 997"/>
                <a:gd name="T73" fmla="*/ 34 h 441"/>
                <a:gd name="T74" fmla="*/ 1644 w 997"/>
                <a:gd name="T75" fmla="*/ 34 h 441"/>
                <a:gd name="T76" fmla="*/ 1559 w 997"/>
                <a:gd name="T77" fmla="*/ 34 h 441"/>
                <a:gd name="T78" fmla="*/ 1469 w 997"/>
                <a:gd name="T79" fmla="*/ 36 h 441"/>
                <a:gd name="T80" fmla="*/ 1378 w 997"/>
                <a:gd name="T81" fmla="*/ 37 h 441"/>
                <a:gd name="T82" fmla="*/ 1273 w 997"/>
                <a:gd name="T83" fmla="*/ 37 h 441"/>
                <a:gd name="T84" fmla="*/ 1159 w 997"/>
                <a:gd name="T85" fmla="*/ 37 h 441"/>
                <a:gd name="T86" fmla="*/ 1045 w 997"/>
                <a:gd name="T87" fmla="*/ 37 h 441"/>
                <a:gd name="T88" fmla="*/ 922 w 997"/>
                <a:gd name="T89" fmla="*/ 37 h 441"/>
                <a:gd name="T90" fmla="*/ 820 w 997"/>
                <a:gd name="T91" fmla="*/ 39 h 441"/>
                <a:gd name="T92" fmla="*/ 696 w 997"/>
                <a:gd name="T93" fmla="*/ 40 h 441"/>
                <a:gd name="T94" fmla="*/ 594 w 997"/>
                <a:gd name="T95" fmla="*/ 40 h 441"/>
                <a:gd name="T96" fmla="*/ 488 w 997"/>
                <a:gd name="T97" fmla="*/ 40 h 441"/>
                <a:gd name="T98" fmla="*/ 391 w 997"/>
                <a:gd name="T99" fmla="*/ 40 h 441"/>
                <a:gd name="T100" fmla="*/ 297 w 997"/>
                <a:gd name="T101" fmla="*/ 40 h 441"/>
                <a:gd name="T102" fmla="*/ 226 w 997"/>
                <a:gd name="T103" fmla="*/ 40 h 441"/>
                <a:gd name="T104" fmla="*/ 146 w 997"/>
                <a:gd name="T105" fmla="*/ 41 h 441"/>
                <a:gd name="T106" fmla="*/ 58 w 997"/>
                <a:gd name="T107" fmla="*/ 43 h 44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97"/>
                <a:gd name="T163" fmla="*/ 0 h 441"/>
                <a:gd name="T164" fmla="*/ 997 w 997"/>
                <a:gd name="T165" fmla="*/ 441 h 44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97" h="441">
                  <a:moveTo>
                    <a:pt x="0" y="57"/>
                  </a:moveTo>
                  <a:lnTo>
                    <a:pt x="23" y="57"/>
                  </a:lnTo>
                  <a:lnTo>
                    <a:pt x="46" y="57"/>
                  </a:lnTo>
                  <a:lnTo>
                    <a:pt x="69" y="57"/>
                  </a:lnTo>
                  <a:lnTo>
                    <a:pt x="87" y="57"/>
                  </a:lnTo>
                  <a:lnTo>
                    <a:pt x="110" y="57"/>
                  </a:lnTo>
                  <a:lnTo>
                    <a:pt x="137" y="57"/>
                  </a:lnTo>
                  <a:lnTo>
                    <a:pt x="156" y="57"/>
                  </a:lnTo>
                  <a:lnTo>
                    <a:pt x="179" y="57"/>
                  </a:lnTo>
                  <a:lnTo>
                    <a:pt x="201" y="57"/>
                  </a:lnTo>
                  <a:lnTo>
                    <a:pt x="224" y="54"/>
                  </a:lnTo>
                  <a:lnTo>
                    <a:pt x="243" y="54"/>
                  </a:lnTo>
                  <a:lnTo>
                    <a:pt x="265" y="54"/>
                  </a:lnTo>
                  <a:lnTo>
                    <a:pt x="288" y="51"/>
                  </a:lnTo>
                  <a:lnTo>
                    <a:pt x="307" y="51"/>
                  </a:lnTo>
                  <a:lnTo>
                    <a:pt x="325" y="51"/>
                  </a:lnTo>
                  <a:lnTo>
                    <a:pt x="348" y="51"/>
                  </a:lnTo>
                  <a:lnTo>
                    <a:pt x="366" y="48"/>
                  </a:lnTo>
                  <a:lnTo>
                    <a:pt x="389" y="48"/>
                  </a:lnTo>
                  <a:lnTo>
                    <a:pt x="412" y="45"/>
                  </a:lnTo>
                  <a:lnTo>
                    <a:pt x="430" y="45"/>
                  </a:lnTo>
                  <a:lnTo>
                    <a:pt x="448" y="45"/>
                  </a:lnTo>
                  <a:lnTo>
                    <a:pt x="466" y="45"/>
                  </a:lnTo>
                  <a:lnTo>
                    <a:pt x="485" y="43"/>
                  </a:lnTo>
                  <a:lnTo>
                    <a:pt x="508" y="43"/>
                  </a:lnTo>
                  <a:lnTo>
                    <a:pt x="521" y="40"/>
                  </a:lnTo>
                  <a:lnTo>
                    <a:pt x="544" y="37"/>
                  </a:lnTo>
                  <a:lnTo>
                    <a:pt x="562" y="37"/>
                  </a:lnTo>
                  <a:lnTo>
                    <a:pt x="581" y="34"/>
                  </a:lnTo>
                  <a:lnTo>
                    <a:pt x="599" y="34"/>
                  </a:lnTo>
                  <a:lnTo>
                    <a:pt x="613" y="34"/>
                  </a:lnTo>
                  <a:lnTo>
                    <a:pt x="631" y="31"/>
                  </a:lnTo>
                  <a:lnTo>
                    <a:pt x="649" y="31"/>
                  </a:lnTo>
                  <a:lnTo>
                    <a:pt x="668" y="28"/>
                  </a:lnTo>
                  <a:lnTo>
                    <a:pt x="677" y="28"/>
                  </a:lnTo>
                  <a:lnTo>
                    <a:pt x="695" y="25"/>
                  </a:lnTo>
                  <a:lnTo>
                    <a:pt x="709" y="23"/>
                  </a:lnTo>
                  <a:lnTo>
                    <a:pt x="722" y="23"/>
                  </a:lnTo>
                  <a:lnTo>
                    <a:pt x="736" y="23"/>
                  </a:lnTo>
                  <a:lnTo>
                    <a:pt x="750" y="20"/>
                  </a:lnTo>
                  <a:lnTo>
                    <a:pt x="768" y="20"/>
                  </a:lnTo>
                  <a:lnTo>
                    <a:pt x="777" y="17"/>
                  </a:lnTo>
                  <a:lnTo>
                    <a:pt x="791" y="14"/>
                  </a:lnTo>
                  <a:lnTo>
                    <a:pt x="800" y="14"/>
                  </a:lnTo>
                  <a:lnTo>
                    <a:pt x="814" y="14"/>
                  </a:lnTo>
                  <a:lnTo>
                    <a:pt x="823" y="11"/>
                  </a:lnTo>
                  <a:lnTo>
                    <a:pt x="832" y="11"/>
                  </a:lnTo>
                  <a:lnTo>
                    <a:pt x="846" y="11"/>
                  </a:lnTo>
                  <a:lnTo>
                    <a:pt x="855" y="11"/>
                  </a:lnTo>
                  <a:lnTo>
                    <a:pt x="869" y="8"/>
                  </a:lnTo>
                  <a:lnTo>
                    <a:pt x="887" y="5"/>
                  </a:lnTo>
                  <a:lnTo>
                    <a:pt x="901" y="3"/>
                  </a:lnTo>
                  <a:lnTo>
                    <a:pt x="910" y="3"/>
                  </a:lnTo>
                  <a:lnTo>
                    <a:pt x="928" y="0"/>
                  </a:lnTo>
                  <a:lnTo>
                    <a:pt x="933" y="0"/>
                  </a:lnTo>
                  <a:lnTo>
                    <a:pt x="933" y="5"/>
                  </a:lnTo>
                  <a:lnTo>
                    <a:pt x="933" y="8"/>
                  </a:lnTo>
                  <a:lnTo>
                    <a:pt x="937" y="14"/>
                  </a:lnTo>
                  <a:lnTo>
                    <a:pt x="937" y="23"/>
                  </a:lnTo>
                  <a:lnTo>
                    <a:pt x="942" y="34"/>
                  </a:lnTo>
                  <a:lnTo>
                    <a:pt x="942" y="37"/>
                  </a:lnTo>
                  <a:lnTo>
                    <a:pt x="942" y="43"/>
                  </a:lnTo>
                  <a:lnTo>
                    <a:pt x="946" y="48"/>
                  </a:lnTo>
                  <a:lnTo>
                    <a:pt x="946" y="57"/>
                  </a:lnTo>
                  <a:lnTo>
                    <a:pt x="946" y="62"/>
                  </a:lnTo>
                  <a:lnTo>
                    <a:pt x="951" y="68"/>
                  </a:lnTo>
                  <a:lnTo>
                    <a:pt x="951" y="77"/>
                  </a:lnTo>
                  <a:lnTo>
                    <a:pt x="955" y="82"/>
                  </a:lnTo>
                  <a:lnTo>
                    <a:pt x="960" y="91"/>
                  </a:lnTo>
                  <a:lnTo>
                    <a:pt x="960" y="97"/>
                  </a:lnTo>
                  <a:lnTo>
                    <a:pt x="960" y="105"/>
                  </a:lnTo>
                  <a:lnTo>
                    <a:pt x="965" y="111"/>
                  </a:lnTo>
                  <a:lnTo>
                    <a:pt x="965" y="119"/>
                  </a:lnTo>
                  <a:lnTo>
                    <a:pt x="965" y="128"/>
                  </a:lnTo>
                  <a:lnTo>
                    <a:pt x="965" y="136"/>
                  </a:lnTo>
                  <a:lnTo>
                    <a:pt x="969" y="145"/>
                  </a:lnTo>
                  <a:lnTo>
                    <a:pt x="969" y="154"/>
                  </a:lnTo>
                  <a:lnTo>
                    <a:pt x="974" y="162"/>
                  </a:lnTo>
                  <a:lnTo>
                    <a:pt x="978" y="171"/>
                  </a:lnTo>
                  <a:lnTo>
                    <a:pt x="978" y="179"/>
                  </a:lnTo>
                  <a:lnTo>
                    <a:pt x="978" y="188"/>
                  </a:lnTo>
                  <a:lnTo>
                    <a:pt x="978" y="196"/>
                  </a:lnTo>
                  <a:lnTo>
                    <a:pt x="983" y="202"/>
                  </a:lnTo>
                  <a:lnTo>
                    <a:pt x="983" y="211"/>
                  </a:lnTo>
                  <a:lnTo>
                    <a:pt x="983" y="219"/>
                  </a:lnTo>
                  <a:lnTo>
                    <a:pt x="987" y="228"/>
                  </a:lnTo>
                  <a:lnTo>
                    <a:pt x="987" y="236"/>
                  </a:lnTo>
                  <a:lnTo>
                    <a:pt x="992" y="245"/>
                  </a:lnTo>
                  <a:lnTo>
                    <a:pt x="992" y="250"/>
                  </a:lnTo>
                  <a:lnTo>
                    <a:pt x="997" y="259"/>
                  </a:lnTo>
                  <a:lnTo>
                    <a:pt x="997" y="265"/>
                  </a:lnTo>
                  <a:lnTo>
                    <a:pt x="997" y="273"/>
                  </a:lnTo>
                  <a:lnTo>
                    <a:pt x="997" y="282"/>
                  </a:lnTo>
                  <a:lnTo>
                    <a:pt x="997" y="287"/>
                  </a:lnTo>
                  <a:lnTo>
                    <a:pt x="997" y="293"/>
                  </a:lnTo>
                  <a:lnTo>
                    <a:pt x="997" y="302"/>
                  </a:lnTo>
                  <a:lnTo>
                    <a:pt x="997" y="310"/>
                  </a:lnTo>
                  <a:lnTo>
                    <a:pt x="997" y="322"/>
                  </a:lnTo>
                  <a:lnTo>
                    <a:pt x="997" y="330"/>
                  </a:lnTo>
                  <a:lnTo>
                    <a:pt x="997" y="339"/>
                  </a:lnTo>
                  <a:lnTo>
                    <a:pt x="997" y="344"/>
                  </a:lnTo>
                  <a:lnTo>
                    <a:pt x="992" y="350"/>
                  </a:lnTo>
                  <a:lnTo>
                    <a:pt x="987" y="353"/>
                  </a:lnTo>
                  <a:lnTo>
                    <a:pt x="978" y="353"/>
                  </a:lnTo>
                  <a:lnTo>
                    <a:pt x="965" y="353"/>
                  </a:lnTo>
                  <a:lnTo>
                    <a:pt x="951" y="353"/>
                  </a:lnTo>
                  <a:lnTo>
                    <a:pt x="933" y="356"/>
                  </a:lnTo>
                  <a:lnTo>
                    <a:pt x="923" y="356"/>
                  </a:lnTo>
                  <a:lnTo>
                    <a:pt x="910" y="356"/>
                  </a:lnTo>
                  <a:lnTo>
                    <a:pt x="901" y="359"/>
                  </a:lnTo>
                  <a:lnTo>
                    <a:pt x="891" y="359"/>
                  </a:lnTo>
                  <a:lnTo>
                    <a:pt x="878" y="359"/>
                  </a:lnTo>
                  <a:lnTo>
                    <a:pt x="864" y="361"/>
                  </a:lnTo>
                  <a:lnTo>
                    <a:pt x="850" y="361"/>
                  </a:lnTo>
                  <a:lnTo>
                    <a:pt x="837" y="364"/>
                  </a:lnTo>
                  <a:lnTo>
                    <a:pt x="818" y="364"/>
                  </a:lnTo>
                  <a:lnTo>
                    <a:pt x="805" y="367"/>
                  </a:lnTo>
                  <a:lnTo>
                    <a:pt x="791" y="367"/>
                  </a:lnTo>
                  <a:lnTo>
                    <a:pt x="773" y="370"/>
                  </a:lnTo>
                  <a:lnTo>
                    <a:pt x="754" y="370"/>
                  </a:lnTo>
                  <a:lnTo>
                    <a:pt x="736" y="373"/>
                  </a:lnTo>
                  <a:lnTo>
                    <a:pt x="722" y="376"/>
                  </a:lnTo>
                  <a:lnTo>
                    <a:pt x="704" y="379"/>
                  </a:lnTo>
                  <a:lnTo>
                    <a:pt x="681" y="379"/>
                  </a:lnTo>
                  <a:lnTo>
                    <a:pt x="668" y="379"/>
                  </a:lnTo>
                  <a:lnTo>
                    <a:pt x="645" y="381"/>
                  </a:lnTo>
                  <a:lnTo>
                    <a:pt x="626" y="384"/>
                  </a:lnTo>
                  <a:lnTo>
                    <a:pt x="608" y="387"/>
                  </a:lnTo>
                  <a:lnTo>
                    <a:pt x="590" y="390"/>
                  </a:lnTo>
                  <a:lnTo>
                    <a:pt x="567" y="390"/>
                  </a:lnTo>
                  <a:lnTo>
                    <a:pt x="549" y="393"/>
                  </a:lnTo>
                  <a:lnTo>
                    <a:pt x="526" y="396"/>
                  </a:lnTo>
                  <a:lnTo>
                    <a:pt x="508" y="398"/>
                  </a:lnTo>
                  <a:lnTo>
                    <a:pt x="485" y="398"/>
                  </a:lnTo>
                  <a:lnTo>
                    <a:pt x="466" y="401"/>
                  </a:lnTo>
                  <a:lnTo>
                    <a:pt x="448" y="401"/>
                  </a:lnTo>
                  <a:lnTo>
                    <a:pt x="430" y="404"/>
                  </a:lnTo>
                  <a:lnTo>
                    <a:pt x="412" y="407"/>
                  </a:lnTo>
                  <a:lnTo>
                    <a:pt x="389" y="410"/>
                  </a:lnTo>
                  <a:lnTo>
                    <a:pt x="366" y="413"/>
                  </a:lnTo>
                  <a:lnTo>
                    <a:pt x="348" y="413"/>
                  </a:lnTo>
                  <a:lnTo>
                    <a:pt x="329" y="413"/>
                  </a:lnTo>
                  <a:lnTo>
                    <a:pt x="311" y="416"/>
                  </a:lnTo>
                  <a:lnTo>
                    <a:pt x="293" y="418"/>
                  </a:lnTo>
                  <a:lnTo>
                    <a:pt x="275" y="418"/>
                  </a:lnTo>
                  <a:lnTo>
                    <a:pt x="256" y="421"/>
                  </a:lnTo>
                  <a:lnTo>
                    <a:pt x="243" y="424"/>
                  </a:lnTo>
                  <a:lnTo>
                    <a:pt x="224" y="424"/>
                  </a:lnTo>
                  <a:lnTo>
                    <a:pt x="206" y="424"/>
                  </a:lnTo>
                  <a:lnTo>
                    <a:pt x="188" y="427"/>
                  </a:lnTo>
                  <a:lnTo>
                    <a:pt x="174" y="430"/>
                  </a:lnTo>
                  <a:lnTo>
                    <a:pt x="156" y="430"/>
                  </a:lnTo>
                  <a:lnTo>
                    <a:pt x="142" y="433"/>
                  </a:lnTo>
                  <a:lnTo>
                    <a:pt x="128" y="433"/>
                  </a:lnTo>
                  <a:lnTo>
                    <a:pt x="119" y="433"/>
                  </a:lnTo>
                  <a:lnTo>
                    <a:pt x="101" y="433"/>
                  </a:lnTo>
                  <a:lnTo>
                    <a:pt x="87" y="435"/>
                  </a:lnTo>
                  <a:lnTo>
                    <a:pt x="78" y="435"/>
                  </a:lnTo>
                  <a:lnTo>
                    <a:pt x="69" y="435"/>
                  </a:lnTo>
                  <a:lnTo>
                    <a:pt x="46" y="438"/>
                  </a:lnTo>
                  <a:lnTo>
                    <a:pt x="32" y="441"/>
                  </a:lnTo>
                  <a:lnTo>
                    <a:pt x="0" y="57"/>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80" name="Freeform 72"/>
            <p:cNvSpPr>
              <a:spLocks/>
            </p:cNvSpPr>
            <p:nvPr>
              <p:custDataLst>
                <p:tags r:id="rId179"/>
              </p:custDataLst>
            </p:nvPr>
          </p:nvSpPr>
          <p:spPr bwMode="gray">
            <a:xfrm>
              <a:off x="1134" y="1621"/>
              <a:ext cx="3424" cy="421"/>
            </a:xfrm>
            <a:custGeom>
              <a:avLst/>
              <a:gdLst>
                <a:gd name="T0" fmla="*/ 0 w 3341"/>
                <a:gd name="T1" fmla="*/ 5 h 461"/>
                <a:gd name="T2" fmla="*/ 9 w 3341"/>
                <a:gd name="T3" fmla="*/ 11 h 461"/>
                <a:gd name="T4" fmla="*/ 14 w 3341"/>
                <a:gd name="T5" fmla="*/ 16 h 461"/>
                <a:gd name="T6" fmla="*/ 18 w 3341"/>
                <a:gd name="T7" fmla="*/ 22 h 461"/>
                <a:gd name="T8" fmla="*/ 18 w 3341"/>
                <a:gd name="T9" fmla="*/ 26 h 461"/>
                <a:gd name="T10" fmla="*/ 49 w 3341"/>
                <a:gd name="T11" fmla="*/ 31 h 461"/>
                <a:gd name="T12" fmla="*/ 49 w 3341"/>
                <a:gd name="T13" fmla="*/ 37 h 461"/>
                <a:gd name="T14" fmla="*/ 145 w 3341"/>
                <a:gd name="T15" fmla="*/ 37 h 461"/>
                <a:gd name="T16" fmla="*/ 347 w 3341"/>
                <a:gd name="T17" fmla="*/ 37 h 461"/>
                <a:gd name="T18" fmla="*/ 614 w 3341"/>
                <a:gd name="T19" fmla="*/ 38 h 461"/>
                <a:gd name="T20" fmla="*/ 937 w 3341"/>
                <a:gd name="T21" fmla="*/ 40 h 461"/>
                <a:gd name="T22" fmla="*/ 1263 w 3341"/>
                <a:gd name="T23" fmla="*/ 40 h 461"/>
                <a:gd name="T24" fmla="*/ 1583 w 3341"/>
                <a:gd name="T25" fmla="*/ 42 h 461"/>
                <a:gd name="T26" fmla="*/ 1867 w 3341"/>
                <a:gd name="T27" fmla="*/ 42 h 461"/>
                <a:gd name="T28" fmla="*/ 2095 w 3341"/>
                <a:gd name="T29" fmla="*/ 43 h 461"/>
                <a:gd name="T30" fmla="*/ 2230 w 3341"/>
                <a:gd name="T31" fmla="*/ 43 h 461"/>
                <a:gd name="T32" fmla="*/ 2370 w 3341"/>
                <a:gd name="T33" fmla="*/ 43 h 461"/>
                <a:gd name="T34" fmla="*/ 2540 w 3341"/>
                <a:gd name="T35" fmla="*/ 43 h 461"/>
                <a:gd name="T36" fmla="*/ 2584 w 3341"/>
                <a:gd name="T37" fmla="*/ 40 h 461"/>
                <a:gd name="T38" fmla="*/ 2714 w 3341"/>
                <a:gd name="T39" fmla="*/ 35 h 461"/>
                <a:gd name="T40" fmla="*/ 2921 w 3341"/>
                <a:gd name="T41" fmla="*/ 31 h 461"/>
                <a:gd name="T42" fmla="*/ 3078 w 3341"/>
                <a:gd name="T43" fmla="*/ 28 h 461"/>
                <a:gd name="T44" fmla="*/ 3247 w 3341"/>
                <a:gd name="T45" fmla="*/ 27 h 461"/>
                <a:gd name="T46" fmla="*/ 3390 w 3341"/>
                <a:gd name="T47" fmla="*/ 26 h 461"/>
                <a:gd name="T48" fmla="*/ 3596 w 3341"/>
                <a:gd name="T49" fmla="*/ 26 h 461"/>
                <a:gd name="T50" fmla="*/ 3814 w 3341"/>
                <a:gd name="T51" fmla="*/ 28 h 461"/>
                <a:gd name="T52" fmla="*/ 3978 w 3341"/>
                <a:gd name="T53" fmla="*/ 31 h 461"/>
                <a:gd name="T54" fmla="*/ 4168 w 3341"/>
                <a:gd name="T55" fmla="*/ 36 h 461"/>
                <a:gd name="T56" fmla="*/ 4316 w 3341"/>
                <a:gd name="T57" fmla="*/ 41 h 461"/>
                <a:gd name="T58" fmla="*/ 4396 w 3341"/>
                <a:gd name="T59" fmla="*/ 44 h 461"/>
                <a:gd name="T60" fmla="*/ 4579 w 3341"/>
                <a:gd name="T61" fmla="*/ 43 h 461"/>
                <a:gd name="T62" fmla="*/ 4817 w 3341"/>
                <a:gd name="T63" fmla="*/ 42 h 461"/>
                <a:gd name="T64" fmla="*/ 5108 w 3341"/>
                <a:gd name="T65" fmla="*/ 40 h 461"/>
                <a:gd name="T66" fmla="*/ 5406 w 3341"/>
                <a:gd name="T67" fmla="*/ 40 h 461"/>
                <a:gd name="T68" fmla="*/ 5720 w 3341"/>
                <a:gd name="T69" fmla="*/ 39 h 461"/>
                <a:gd name="T70" fmla="*/ 5988 w 3341"/>
                <a:gd name="T71" fmla="*/ 38 h 461"/>
                <a:gd name="T72" fmla="*/ 6188 w 3341"/>
                <a:gd name="T73" fmla="*/ 37 h 461"/>
                <a:gd name="T74" fmla="*/ 6264 w 3341"/>
                <a:gd name="T75" fmla="*/ 0 h 461"/>
                <a:gd name="T76" fmla="*/ 6107 w 3341"/>
                <a:gd name="T77" fmla="*/ 5 h 461"/>
                <a:gd name="T78" fmla="*/ 5881 w 3341"/>
                <a:gd name="T79" fmla="*/ 5 h 461"/>
                <a:gd name="T80" fmla="*/ 5552 w 3341"/>
                <a:gd name="T81" fmla="*/ 5 h 461"/>
                <a:gd name="T82" fmla="*/ 5175 w 3341"/>
                <a:gd name="T83" fmla="*/ 5 h 461"/>
                <a:gd name="T84" fmla="*/ 4704 w 3341"/>
                <a:gd name="T85" fmla="*/ 7 h 461"/>
                <a:gd name="T86" fmla="*/ 4205 w 3341"/>
                <a:gd name="T87" fmla="*/ 9 h 461"/>
                <a:gd name="T88" fmla="*/ 3656 w 3341"/>
                <a:gd name="T89" fmla="*/ 11 h 461"/>
                <a:gd name="T90" fmla="*/ 3105 w 3341"/>
                <a:gd name="T91" fmla="*/ 12 h 461"/>
                <a:gd name="T92" fmla="*/ 2546 w 3341"/>
                <a:gd name="T93" fmla="*/ 12 h 461"/>
                <a:gd name="T94" fmla="*/ 2023 w 3341"/>
                <a:gd name="T95" fmla="*/ 11 h 461"/>
                <a:gd name="T96" fmla="*/ 1557 w 3341"/>
                <a:gd name="T97" fmla="*/ 10 h 461"/>
                <a:gd name="T98" fmla="*/ 1149 w 3341"/>
                <a:gd name="T99" fmla="*/ 8 h 461"/>
                <a:gd name="T100" fmla="*/ 794 w 3341"/>
                <a:gd name="T101" fmla="*/ 6 h 461"/>
                <a:gd name="T102" fmla="*/ 492 w 3341"/>
                <a:gd name="T103" fmla="*/ 5 h 461"/>
                <a:gd name="T104" fmla="*/ 271 w 3341"/>
                <a:gd name="T105" fmla="*/ 5 h 461"/>
                <a:gd name="T106" fmla="*/ 101 w 3341"/>
                <a:gd name="T107" fmla="*/ 5 h 46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41"/>
                <a:gd name="T163" fmla="*/ 0 h 461"/>
                <a:gd name="T164" fmla="*/ 3341 w 3341"/>
                <a:gd name="T165" fmla="*/ 461 h 46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41" h="461">
                  <a:moveTo>
                    <a:pt x="0" y="14"/>
                  </a:moveTo>
                  <a:lnTo>
                    <a:pt x="0" y="22"/>
                  </a:lnTo>
                  <a:lnTo>
                    <a:pt x="0" y="31"/>
                  </a:lnTo>
                  <a:lnTo>
                    <a:pt x="0" y="42"/>
                  </a:lnTo>
                  <a:lnTo>
                    <a:pt x="0" y="54"/>
                  </a:lnTo>
                  <a:lnTo>
                    <a:pt x="0" y="57"/>
                  </a:lnTo>
                  <a:lnTo>
                    <a:pt x="0" y="65"/>
                  </a:lnTo>
                  <a:lnTo>
                    <a:pt x="0" y="71"/>
                  </a:lnTo>
                  <a:lnTo>
                    <a:pt x="5" y="76"/>
                  </a:lnTo>
                  <a:lnTo>
                    <a:pt x="5" y="82"/>
                  </a:lnTo>
                  <a:lnTo>
                    <a:pt x="5" y="88"/>
                  </a:lnTo>
                  <a:lnTo>
                    <a:pt x="5" y="96"/>
                  </a:lnTo>
                  <a:lnTo>
                    <a:pt x="9" y="105"/>
                  </a:lnTo>
                  <a:lnTo>
                    <a:pt x="9" y="113"/>
                  </a:lnTo>
                  <a:lnTo>
                    <a:pt x="9" y="119"/>
                  </a:lnTo>
                  <a:lnTo>
                    <a:pt x="9" y="128"/>
                  </a:lnTo>
                  <a:lnTo>
                    <a:pt x="14" y="136"/>
                  </a:lnTo>
                  <a:lnTo>
                    <a:pt x="14" y="142"/>
                  </a:lnTo>
                  <a:lnTo>
                    <a:pt x="14" y="153"/>
                  </a:lnTo>
                  <a:lnTo>
                    <a:pt x="14" y="159"/>
                  </a:lnTo>
                  <a:lnTo>
                    <a:pt x="14" y="168"/>
                  </a:lnTo>
                  <a:lnTo>
                    <a:pt x="14" y="173"/>
                  </a:lnTo>
                  <a:lnTo>
                    <a:pt x="14" y="182"/>
                  </a:lnTo>
                  <a:lnTo>
                    <a:pt x="14" y="190"/>
                  </a:lnTo>
                  <a:lnTo>
                    <a:pt x="18" y="199"/>
                  </a:lnTo>
                  <a:lnTo>
                    <a:pt x="18" y="205"/>
                  </a:lnTo>
                  <a:lnTo>
                    <a:pt x="18" y="216"/>
                  </a:lnTo>
                  <a:lnTo>
                    <a:pt x="18" y="225"/>
                  </a:lnTo>
                  <a:lnTo>
                    <a:pt x="18" y="230"/>
                  </a:lnTo>
                  <a:lnTo>
                    <a:pt x="18" y="239"/>
                  </a:lnTo>
                  <a:lnTo>
                    <a:pt x="18" y="244"/>
                  </a:lnTo>
                  <a:lnTo>
                    <a:pt x="18" y="253"/>
                  </a:lnTo>
                  <a:lnTo>
                    <a:pt x="18" y="262"/>
                  </a:lnTo>
                  <a:lnTo>
                    <a:pt x="18" y="267"/>
                  </a:lnTo>
                  <a:lnTo>
                    <a:pt x="18" y="273"/>
                  </a:lnTo>
                  <a:lnTo>
                    <a:pt x="18" y="281"/>
                  </a:lnTo>
                  <a:lnTo>
                    <a:pt x="23" y="290"/>
                  </a:lnTo>
                  <a:lnTo>
                    <a:pt x="23" y="296"/>
                  </a:lnTo>
                  <a:lnTo>
                    <a:pt x="23" y="304"/>
                  </a:lnTo>
                  <a:lnTo>
                    <a:pt x="23" y="310"/>
                  </a:lnTo>
                  <a:lnTo>
                    <a:pt x="23" y="316"/>
                  </a:lnTo>
                  <a:lnTo>
                    <a:pt x="23" y="327"/>
                  </a:lnTo>
                  <a:lnTo>
                    <a:pt x="23" y="341"/>
                  </a:lnTo>
                  <a:lnTo>
                    <a:pt x="23" y="350"/>
                  </a:lnTo>
                  <a:lnTo>
                    <a:pt x="23" y="361"/>
                  </a:lnTo>
                  <a:lnTo>
                    <a:pt x="23" y="367"/>
                  </a:lnTo>
                  <a:lnTo>
                    <a:pt x="23" y="375"/>
                  </a:lnTo>
                  <a:lnTo>
                    <a:pt x="23" y="381"/>
                  </a:lnTo>
                  <a:lnTo>
                    <a:pt x="23" y="387"/>
                  </a:lnTo>
                  <a:lnTo>
                    <a:pt x="23" y="390"/>
                  </a:lnTo>
                  <a:lnTo>
                    <a:pt x="27" y="390"/>
                  </a:lnTo>
                  <a:lnTo>
                    <a:pt x="37" y="390"/>
                  </a:lnTo>
                  <a:lnTo>
                    <a:pt x="50" y="390"/>
                  </a:lnTo>
                  <a:lnTo>
                    <a:pt x="69" y="390"/>
                  </a:lnTo>
                  <a:lnTo>
                    <a:pt x="78" y="390"/>
                  </a:lnTo>
                  <a:lnTo>
                    <a:pt x="91" y="390"/>
                  </a:lnTo>
                  <a:lnTo>
                    <a:pt x="101" y="393"/>
                  </a:lnTo>
                  <a:lnTo>
                    <a:pt x="114" y="393"/>
                  </a:lnTo>
                  <a:lnTo>
                    <a:pt x="133" y="395"/>
                  </a:lnTo>
                  <a:lnTo>
                    <a:pt x="146" y="398"/>
                  </a:lnTo>
                  <a:lnTo>
                    <a:pt x="164" y="398"/>
                  </a:lnTo>
                  <a:lnTo>
                    <a:pt x="183" y="398"/>
                  </a:lnTo>
                  <a:lnTo>
                    <a:pt x="201" y="398"/>
                  </a:lnTo>
                  <a:lnTo>
                    <a:pt x="219" y="401"/>
                  </a:lnTo>
                  <a:lnTo>
                    <a:pt x="238" y="401"/>
                  </a:lnTo>
                  <a:lnTo>
                    <a:pt x="260" y="404"/>
                  </a:lnTo>
                  <a:lnTo>
                    <a:pt x="279" y="404"/>
                  </a:lnTo>
                  <a:lnTo>
                    <a:pt x="306" y="407"/>
                  </a:lnTo>
                  <a:lnTo>
                    <a:pt x="324" y="410"/>
                  </a:lnTo>
                  <a:lnTo>
                    <a:pt x="352" y="410"/>
                  </a:lnTo>
                  <a:lnTo>
                    <a:pt x="375" y="412"/>
                  </a:lnTo>
                  <a:lnTo>
                    <a:pt x="398" y="412"/>
                  </a:lnTo>
                  <a:lnTo>
                    <a:pt x="420" y="415"/>
                  </a:lnTo>
                  <a:lnTo>
                    <a:pt x="443" y="418"/>
                  </a:lnTo>
                  <a:lnTo>
                    <a:pt x="466" y="421"/>
                  </a:lnTo>
                  <a:lnTo>
                    <a:pt x="494" y="421"/>
                  </a:lnTo>
                  <a:lnTo>
                    <a:pt x="521" y="421"/>
                  </a:lnTo>
                  <a:lnTo>
                    <a:pt x="544" y="424"/>
                  </a:lnTo>
                  <a:lnTo>
                    <a:pt x="567" y="424"/>
                  </a:lnTo>
                  <a:lnTo>
                    <a:pt x="594" y="427"/>
                  </a:lnTo>
                  <a:lnTo>
                    <a:pt x="617" y="427"/>
                  </a:lnTo>
                  <a:lnTo>
                    <a:pt x="644" y="432"/>
                  </a:lnTo>
                  <a:lnTo>
                    <a:pt x="667" y="432"/>
                  </a:lnTo>
                  <a:lnTo>
                    <a:pt x="695" y="432"/>
                  </a:lnTo>
                  <a:lnTo>
                    <a:pt x="717" y="432"/>
                  </a:lnTo>
                  <a:lnTo>
                    <a:pt x="745" y="435"/>
                  </a:lnTo>
                  <a:lnTo>
                    <a:pt x="768" y="435"/>
                  </a:lnTo>
                  <a:lnTo>
                    <a:pt x="791" y="438"/>
                  </a:lnTo>
                  <a:lnTo>
                    <a:pt x="813" y="438"/>
                  </a:lnTo>
                  <a:lnTo>
                    <a:pt x="836" y="441"/>
                  </a:lnTo>
                  <a:lnTo>
                    <a:pt x="859" y="441"/>
                  </a:lnTo>
                  <a:lnTo>
                    <a:pt x="882" y="444"/>
                  </a:lnTo>
                  <a:lnTo>
                    <a:pt x="905" y="444"/>
                  </a:lnTo>
                  <a:lnTo>
                    <a:pt x="928" y="444"/>
                  </a:lnTo>
                  <a:lnTo>
                    <a:pt x="946" y="444"/>
                  </a:lnTo>
                  <a:lnTo>
                    <a:pt x="969" y="444"/>
                  </a:lnTo>
                  <a:lnTo>
                    <a:pt x="987" y="444"/>
                  </a:lnTo>
                  <a:lnTo>
                    <a:pt x="1005" y="447"/>
                  </a:lnTo>
                  <a:lnTo>
                    <a:pt x="1024" y="447"/>
                  </a:lnTo>
                  <a:lnTo>
                    <a:pt x="1042" y="449"/>
                  </a:lnTo>
                  <a:lnTo>
                    <a:pt x="1060" y="449"/>
                  </a:lnTo>
                  <a:lnTo>
                    <a:pt x="1074" y="452"/>
                  </a:lnTo>
                  <a:lnTo>
                    <a:pt x="1092" y="452"/>
                  </a:lnTo>
                  <a:lnTo>
                    <a:pt x="1106" y="452"/>
                  </a:lnTo>
                  <a:lnTo>
                    <a:pt x="1115" y="452"/>
                  </a:lnTo>
                  <a:lnTo>
                    <a:pt x="1129" y="452"/>
                  </a:lnTo>
                  <a:lnTo>
                    <a:pt x="1138" y="452"/>
                  </a:lnTo>
                  <a:lnTo>
                    <a:pt x="1147" y="452"/>
                  </a:lnTo>
                  <a:lnTo>
                    <a:pt x="1156" y="452"/>
                  </a:lnTo>
                  <a:lnTo>
                    <a:pt x="1165" y="452"/>
                  </a:lnTo>
                  <a:lnTo>
                    <a:pt x="1179" y="452"/>
                  </a:lnTo>
                  <a:lnTo>
                    <a:pt x="1188" y="452"/>
                  </a:lnTo>
                  <a:lnTo>
                    <a:pt x="1202" y="452"/>
                  </a:lnTo>
                  <a:lnTo>
                    <a:pt x="1211" y="452"/>
                  </a:lnTo>
                  <a:lnTo>
                    <a:pt x="1220" y="452"/>
                  </a:lnTo>
                  <a:lnTo>
                    <a:pt x="1234" y="452"/>
                  </a:lnTo>
                  <a:lnTo>
                    <a:pt x="1238" y="452"/>
                  </a:lnTo>
                  <a:lnTo>
                    <a:pt x="1252" y="452"/>
                  </a:lnTo>
                  <a:lnTo>
                    <a:pt x="1266" y="452"/>
                  </a:lnTo>
                  <a:lnTo>
                    <a:pt x="1280" y="452"/>
                  </a:lnTo>
                  <a:lnTo>
                    <a:pt x="1289" y="452"/>
                  </a:lnTo>
                  <a:lnTo>
                    <a:pt x="1302" y="452"/>
                  </a:lnTo>
                  <a:lnTo>
                    <a:pt x="1321" y="455"/>
                  </a:lnTo>
                  <a:lnTo>
                    <a:pt x="1334" y="455"/>
                  </a:lnTo>
                  <a:lnTo>
                    <a:pt x="1339" y="455"/>
                  </a:lnTo>
                  <a:lnTo>
                    <a:pt x="1344" y="458"/>
                  </a:lnTo>
                  <a:lnTo>
                    <a:pt x="1344" y="455"/>
                  </a:lnTo>
                  <a:lnTo>
                    <a:pt x="1344" y="452"/>
                  </a:lnTo>
                  <a:lnTo>
                    <a:pt x="1348" y="449"/>
                  </a:lnTo>
                  <a:lnTo>
                    <a:pt x="1353" y="444"/>
                  </a:lnTo>
                  <a:lnTo>
                    <a:pt x="1353" y="432"/>
                  </a:lnTo>
                  <a:lnTo>
                    <a:pt x="1366" y="424"/>
                  </a:lnTo>
                  <a:lnTo>
                    <a:pt x="1371" y="415"/>
                  </a:lnTo>
                  <a:lnTo>
                    <a:pt x="1389" y="404"/>
                  </a:lnTo>
                  <a:lnTo>
                    <a:pt x="1394" y="398"/>
                  </a:lnTo>
                  <a:lnTo>
                    <a:pt x="1403" y="393"/>
                  </a:lnTo>
                  <a:lnTo>
                    <a:pt x="1412" y="387"/>
                  </a:lnTo>
                  <a:lnTo>
                    <a:pt x="1421" y="381"/>
                  </a:lnTo>
                  <a:lnTo>
                    <a:pt x="1435" y="375"/>
                  </a:lnTo>
                  <a:lnTo>
                    <a:pt x="1449" y="367"/>
                  </a:lnTo>
                  <a:lnTo>
                    <a:pt x="1458" y="361"/>
                  </a:lnTo>
                  <a:lnTo>
                    <a:pt x="1476" y="356"/>
                  </a:lnTo>
                  <a:lnTo>
                    <a:pt x="1490" y="350"/>
                  </a:lnTo>
                  <a:lnTo>
                    <a:pt x="1508" y="341"/>
                  </a:lnTo>
                  <a:lnTo>
                    <a:pt x="1526" y="336"/>
                  </a:lnTo>
                  <a:lnTo>
                    <a:pt x="1545" y="327"/>
                  </a:lnTo>
                  <a:lnTo>
                    <a:pt x="1554" y="324"/>
                  </a:lnTo>
                  <a:lnTo>
                    <a:pt x="1568" y="321"/>
                  </a:lnTo>
                  <a:lnTo>
                    <a:pt x="1577" y="318"/>
                  </a:lnTo>
                  <a:lnTo>
                    <a:pt x="1590" y="316"/>
                  </a:lnTo>
                  <a:lnTo>
                    <a:pt x="1600" y="313"/>
                  </a:lnTo>
                  <a:lnTo>
                    <a:pt x="1613" y="310"/>
                  </a:lnTo>
                  <a:lnTo>
                    <a:pt x="1627" y="304"/>
                  </a:lnTo>
                  <a:lnTo>
                    <a:pt x="1641" y="304"/>
                  </a:lnTo>
                  <a:lnTo>
                    <a:pt x="1650" y="301"/>
                  </a:lnTo>
                  <a:lnTo>
                    <a:pt x="1663" y="296"/>
                  </a:lnTo>
                  <a:lnTo>
                    <a:pt x="1677" y="293"/>
                  </a:lnTo>
                  <a:lnTo>
                    <a:pt x="1686" y="293"/>
                  </a:lnTo>
                  <a:lnTo>
                    <a:pt x="1700" y="290"/>
                  </a:lnTo>
                  <a:lnTo>
                    <a:pt x="1714" y="287"/>
                  </a:lnTo>
                  <a:lnTo>
                    <a:pt x="1723" y="284"/>
                  </a:lnTo>
                  <a:lnTo>
                    <a:pt x="1732" y="284"/>
                  </a:lnTo>
                  <a:lnTo>
                    <a:pt x="1746" y="284"/>
                  </a:lnTo>
                  <a:lnTo>
                    <a:pt x="1755" y="281"/>
                  </a:lnTo>
                  <a:lnTo>
                    <a:pt x="1769" y="279"/>
                  </a:lnTo>
                  <a:lnTo>
                    <a:pt x="1782" y="279"/>
                  </a:lnTo>
                  <a:lnTo>
                    <a:pt x="1791" y="279"/>
                  </a:lnTo>
                  <a:lnTo>
                    <a:pt x="1801" y="279"/>
                  </a:lnTo>
                  <a:lnTo>
                    <a:pt x="1814" y="279"/>
                  </a:lnTo>
                  <a:lnTo>
                    <a:pt x="1823" y="279"/>
                  </a:lnTo>
                  <a:lnTo>
                    <a:pt x="1842" y="279"/>
                  </a:lnTo>
                  <a:lnTo>
                    <a:pt x="1860" y="279"/>
                  </a:lnTo>
                  <a:lnTo>
                    <a:pt x="1878" y="279"/>
                  </a:lnTo>
                  <a:lnTo>
                    <a:pt x="1901" y="281"/>
                  </a:lnTo>
                  <a:lnTo>
                    <a:pt x="1915" y="281"/>
                  </a:lnTo>
                  <a:lnTo>
                    <a:pt x="1933" y="284"/>
                  </a:lnTo>
                  <a:lnTo>
                    <a:pt x="1951" y="284"/>
                  </a:lnTo>
                  <a:lnTo>
                    <a:pt x="1970" y="290"/>
                  </a:lnTo>
                  <a:lnTo>
                    <a:pt x="1988" y="293"/>
                  </a:lnTo>
                  <a:lnTo>
                    <a:pt x="2002" y="296"/>
                  </a:lnTo>
                  <a:lnTo>
                    <a:pt x="2015" y="301"/>
                  </a:lnTo>
                  <a:lnTo>
                    <a:pt x="2034" y="304"/>
                  </a:lnTo>
                  <a:lnTo>
                    <a:pt x="2043" y="307"/>
                  </a:lnTo>
                  <a:lnTo>
                    <a:pt x="2057" y="313"/>
                  </a:lnTo>
                  <a:lnTo>
                    <a:pt x="2070" y="316"/>
                  </a:lnTo>
                  <a:lnTo>
                    <a:pt x="2084" y="321"/>
                  </a:lnTo>
                  <a:lnTo>
                    <a:pt x="2093" y="324"/>
                  </a:lnTo>
                  <a:lnTo>
                    <a:pt x="2102" y="330"/>
                  </a:lnTo>
                  <a:lnTo>
                    <a:pt x="2111" y="336"/>
                  </a:lnTo>
                  <a:lnTo>
                    <a:pt x="2125" y="338"/>
                  </a:lnTo>
                  <a:lnTo>
                    <a:pt x="2148" y="347"/>
                  </a:lnTo>
                  <a:lnTo>
                    <a:pt x="2162" y="356"/>
                  </a:lnTo>
                  <a:lnTo>
                    <a:pt x="2180" y="364"/>
                  </a:lnTo>
                  <a:lnTo>
                    <a:pt x="2189" y="373"/>
                  </a:lnTo>
                  <a:lnTo>
                    <a:pt x="2203" y="378"/>
                  </a:lnTo>
                  <a:lnTo>
                    <a:pt x="2216" y="390"/>
                  </a:lnTo>
                  <a:lnTo>
                    <a:pt x="2230" y="398"/>
                  </a:lnTo>
                  <a:lnTo>
                    <a:pt x="2239" y="404"/>
                  </a:lnTo>
                  <a:lnTo>
                    <a:pt x="2253" y="412"/>
                  </a:lnTo>
                  <a:lnTo>
                    <a:pt x="2262" y="424"/>
                  </a:lnTo>
                  <a:lnTo>
                    <a:pt x="2271" y="432"/>
                  </a:lnTo>
                  <a:lnTo>
                    <a:pt x="2280" y="438"/>
                  </a:lnTo>
                  <a:lnTo>
                    <a:pt x="2285" y="444"/>
                  </a:lnTo>
                  <a:lnTo>
                    <a:pt x="2290" y="449"/>
                  </a:lnTo>
                  <a:lnTo>
                    <a:pt x="2299" y="458"/>
                  </a:lnTo>
                  <a:lnTo>
                    <a:pt x="2299" y="461"/>
                  </a:lnTo>
                  <a:lnTo>
                    <a:pt x="2303" y="461"/>
                  </a:lnTo>
                  <a:lnTo>
                    <a:pt x="2312" y="461"/>
                  </a:lnTo>
                  <a:lnTo>
                    <a:pt x="2322" y="461"/>
                  </a:lnTo>
                  <a:lnTo>
                    <a:pt x="2340" y="458"/>
                  </a:lnTo>
                  <a:lnTo>
                    <a:pt x="2349" y="455"/>
                  </a:lnTo>
                  <a:lnTo>
                    <a:pt x="2363" y="455"/>
                  </a:lnTo>
                  <a:lnTo>
                    <a:pt x="2372" y="455"/>
                  </a:lnTo>
                  <a:lnTo>
                    <a:pt x="2386" y="455"/>
                  </a:lnTo>
                  <a:lnTo>
                    <a:pt x="2404" y="452"/>
                  </a:lnTo>
                  <a:lnTo>
                    <a:pt x="2418" y="452"/>
                  </a:lnTo>
                  <a:lnTo>
                    <a:pt x="2436" y="452"/>
                  </a:lnTo>
                  <a:lnTo>
                    <a:pt x="2454" y="452"/>
                  </a:lnTo>
                  <a:lnTo>
                    <a:pt x="2472" y="449"/>
                  </a:lnTo>
                  <a:lnTo>
                    <a:pt x="2486" y="447"/>
                  </a:lnTo>
                  <a:lnTo>
                    <a:pt x="2504" y="444"/>
                  </a:lnTo>
                  <a:lnTo>
                    <a:pt x="2523" y="444"/>
                  </a:lnTo>
                  <a:lnTo>
                    <a:pt x="2546" y="444"/>
                  </a:lnTo>
                  <a:lnTo>
                    <a:pt x="2564" y="444"/>
                  </a:lnTo>
                  <a:lnTo>
                    <a:pt x="2587" y="441"/>
                  </a:lnTo>
                  <a:lnTo>
                    <a:pt x="2610" y="441"/>
                  </a:lnTo>
                  <a:lnTo>
                    <a:pt x="2628" y="438"/>
                  </a:lnTo>
                  <a:lnTo>
                    <a:pt x="2651" y="438"/>
                  </a:lnTo>
                  <a:lnTo>
                    <a:pt x="2678" y="432"/>
                  </a:lnTo>
                  <a:lnTo>
                    <a:pt x="2696" y="432"/>
                  </a:lnTo>
                  <a:lnTo>
                    <a:pt x="2719" y="432"/>
                  </a:lnTo>
                  <a:lnTo>
                    <a:pt x="2747" y="432"/>
                  </a:lnTo>
                  <a:lnTo>
                    <a:pt x="2765" y="430"/>
                  </a:lnTo>
                  <a:lnTo>
                    <a:pt x="2792" y="430"/>
                  </a:lnTo>
                  <a:lnTo>
                    <a:pt x="2815" y="427"/>
                  </a:lnTo>
                  <a:lnTo>
                    <a:pt x="2838" y="424"/>
                  </a:lnTo>
                  <a:lnTo>
                    <a:pt x="2856" y="424"/>
                  </a:lnTo>
                  <a:lnTo>
                    <a:pt x="2884" y="421"/>
                  </a:lnTo>
                  <a:lnTo>
                    <a:pt x="2907" y="421"/>
                  </a:lnTo>
                  <a:lnTo>
                    <a:pt x="2929" y="421"/>
                  </a:lnTo>
                  <a:lnTo>
                    <a:pt x="2952" y="418"/>
                  </a:lnTo>
                  <a:lnTo>
                    <a:pt x="2980" y="415"/>
                  </a:lnTo>
                  <a:lnTo>
                    <a:pt x="2998" y="412"/>
                  </a:lnTo>
                  <a:lnTo>
                    <a:pt x="3021" y="412"/>
                  </a:lnTo>
                  <a:lnTo>
                    <a:pt x="3039" y="412"/>
                  </a:lnTo>
                  <a:lnTo>
                    <a:pt x="3062" y="410"/>
                  </a:lnTo>
                  <a:lnTo>
                    <a:pt x="3085" y="410"/>
                  </a:lnTo>
                  <a:lnTo>
                    <a:pt x="3103" y="410"/>
                  </a:lnTo>
                  <a:lnTo>
                    <a:pt x="3126" y="404"/>
                  </a:lnTo>
                  <a:lnTo>
                    <a:pt x="3144" y="404"/>
                  </a:lnTo>
                  <a:lnTo>
                    <a:pt x="3162" y="404"/>
                  </a:lnTo>
                  <a:lnTo>
                    <a:pt x="3181" y="401"/>
                  </a:lnTo>
                  <a:lnTo>
                    <a:pt x="3199" y="401"/>
                  </a:lnTo>
                  <a:lnTo>
                    <a:pt x="3213" y="401"/>
                  </a:lnTo>
                  <a:lnTo>
                    <a:pt x="3231" y="398"/>
                  </a:lnTo>
                  <a:lnTo>
                    <a:pt x="3245" y="398"/>
                  </a:lnTo>
                  <a:lnTo>
                    <a:pt x="3258" y="398"/>
                  </a:lnTo>
                  <a:lnTo>
                    <a:pt x="3272" y="398"/>
                  </a:lnTo>
                  <a:lnTo>
                    <a:pt x="3281" y="398"/>
                  </a:lnTo>
                  <a:lnTo>
                    <a:pt x="3295" y="398"/>
                  </a:lnTo>
                  <a:lnTo>
                    <a:pt x="3304" y="398"/>
                  </a:lnTo>
                  <a:lnTo>
                    <a:pt x="3313" y="398"/>
                  </a:lnTo>
                  <a:lnTo>
                    <a:pt x="3332" y="398"/>
                  </a:lnTo>
                  <a:lnTo>
                    <a:pt x="3341" y="398"/>
                  </a:lnTo>
                  <a:lnTo>
                    <a:pt x="3309" y="0"/>
                  </a:lnTo>
                  <a:lnTo>
                    <a:pt x="3304" y="0"/>
                  </a:lnTo>
                  <a:lnTo>
                    <a:pt x="3295" y="0"/>
                  </a:lnTo>
                  <a:lnTo>
                    <a:pt x="3281" y="0"/>
                  </a:lnTo>
                  <a:lnTo>
                    <a:pt x="3263" y="2"/>
                  </a:lnTo>
                  <a:lnTo>
                    <a:pt x="3254" y="2"/>
                  </a:lnTo>
                  <a:lnTo>
                    <a:pt x="3245" y="5"/>
                  </a:lnTo>
                  <a:lnTo>
                    <a:pt x="3226" y="8"/>
                  </a:lnTo>
                  <a:lnTo>
                    <a:pt x="3213" y="8"/>
                  </a:lnTo>
                  <a:lnTo>
                    <a:pt x="3199" y="11"/>
                  </a:lnTo>
                  <a:lnTo>
                    <a:pt x="3181" y="14"/>
                  </a:lnTo>
                  <a:lnTo>
                    <a:pt x="3162" y="14"/>
                  </a:lnTo>
                  <a:lnTo>
                    <a:pt x="3144" y="17"/>
                  </a:lnTo>
                  <a:lnTo>
                    <a:pt x="3126" y="19"/>
                  </a:lnTo>
                  <a:lnTo>
                    <a:pt x="3108" y="19"/>
                  </a:lnTo>
                  <a:lnTo>
                    <a:pt x="3085" y="22"/>
                  </a:lnTo>
                  <a:lnTo>
                    <a:pt x="3062" y="25"/>
                  </a:lnTo>
                  <a:lnTo>
                    <a:pt x="3039" y="25"/>
                  </a:lnTo>
                  <a:lnTo>
                    <a:pt x="3012" y="31"/>
                  </a:lnTo>
                  <a:lnTo>
                    <a:pt x="2989" y="34"/>
                  </a:lnTo>
                  <a:lnTo>
                    <a:pt x="2966" y="34"/>
                  </a:lnTo>
                  <a:lnTo>
                    <a:pt x="2934" y="37"/>
                  </a:lnTo>
                  <a:lnTo>
                    <a:pt x="2907" y="42"/>
                  </a:lnTo>
                  <a:lnTo>
                    <a:pt x="2879" y="45"/>
                  </a:lnTo>
                  <a:lnTo>
                    <a:pt x="2852" y="48"/>
                  </a:lnTo>
                  <a:lnTo>
                    <a:pt x="2820" y="48"/>
                  </a:lnTo>
                  <a:lnTo>
                    <a:pt x="2792" y="54"/>
                  </a:lnTo>
                  <a:lnTo>
                    <a:pt x="2760" y="57"/>
                  </a:lnTo>
                  <a:lnTo>
                    <a:pt x="2733" y="59"/>
                  </a:lnTo>
                  <a:lnTo>
                    <a:pt x="2696" y="62"/>
                  </a:lnTo>
                  <a:lnTo>
                    <a:pt x="2660" y="65"/>
                  </a:lnTo>
                  <a:lnTo>
                    <a:pt x="2628" y="68"/>
                  </a:lnTo>
                  <a:lnTo>
                    <a:pt x="2591" y="68"/>
                  </a:lnTo>
                  <a:lnTo>
                    <a:pt x="2559" y="71"/>
                  </a:lnTo>
                  <a:lnTo>
                    <a:pt x="2523" y="76"/>
                  </a:lnTo>
                  <a:lnTo>
                    <a:pt x="2486" y="76"/>
                  </a:lnTo>
                  <a:lnTo>
                    <a:pt x="2450" y="79"/>
                  </a:lnTo>
                  <a:lnTo>
                    <a:pt x="2413" y="79"/>
                  </a:lnTo>
                  <a:lnTo>
                    <a:pt x="2376" y="85"/>
                  </a:lnTo>
                  <a:lnTo>
                    <a:pt x="2335" y="85"/>
                  </a:lnTo>
                  <a:lnTo>
                    <a:pt x="2299" y="88"/>
                  </a:lnTo>
                  <a:lnTo>
                    <a:pt x="2258" y="88"/>
                  </a:lnTo>
                  <a:lnTo>
                    <a:pt x="2221" y="94"/>
                  </a:lnTo>
                  <a:lnTo>
                    <a:pt x="2180" y="96"/>
                  </a:lnTo>
                  <a:lnTo>
                    <a:pt x="2143" y="99"/>
                  </a:lnTo>
                  <a:lnTo>
                    <a:pt x="2098" y="99"/>
                  </a:lnTo>
                  <a:lnTo>
                    <a:pt x="2057" y="102"/>
                  </a:lnTo>
                  <a:lnTo>
                    <a:pt x="2015" y="102"/>
                  </a:lnTo>
                  <a:lnTo>
                    <a:pt x="1979" y="105"/>
                  </a:lnTo>
                  <a:lnTo>
                    <a:pt x="1933" y="108"/>
                  </a:lnTo>
                  <a:lnTo>
                    <a:pt x="1892" y="111"/>
                  </a:lnTo>
                  <a:lnTo>
                    <a:pt x="1855" y="111"/>
                  </a:lnTo>
                  <a:lnTo>
                    <a:pt x="1810" y="113"/>
                  </a:lnTo>
                  <a:lnTo>
                    <a:pt x="1769" y="113"/>
                  </a:lnTo>
                  <a:lnTo>
                    <a:pt x="1723" y="113"/>
                  </a:lnTo>
                  <a:lnTo>
                    <a:pt x="1682" y="113"/>
                  </a:lnTo>
                  <a:lnTo>
                    <a:pt x="1641" y="116"/>
                  </a:lnTo>
                  <a:lnTo>
                    <a:pt x="1595" y="116"/>
                  </a:lnTo>
                  <a:lnTo>
                    <a:pt x="1558" y="119"/>
                  </a:lnTo>
                  <a:lnTo>
                    <a:pt x="1513" y="119"/>
                  </a:lnTo>
                  <a:lnTo>
                    <a:pt x="1472" y="119"/>
                  </a:lnTo>
                  <a:lnTo>
                    <a:pt x="1426" y="119"/>
                  </a:lnTo>
                  <a:lnTo>
                    <a:pt x="1389" y="119"/>
                  </a:lnTo>
                  <a:lnTo>
                    <a:pt x="1344" y="116"/>
                  </a:lnTo>
                  <a:lnTo>
                    <a:pt x="1302" y="116"/>
                  </a:lnTo>
                  <a:lnTo>
                    <a:pt x="1266" y="113"/>
                  </a:lnTo>
                  <a:lnTo>
                    <a:pt x="1225" y="113"/>
                  </a:lnTo>
                  <a:lnTo>
                    <a:pt x="1184" y="113"/>
                  </a:lnTo>
                  <a:lnTo>
                    <a:pt x="1147" y="113"/>
                  </a:lnTo>
                  <a:lnTo>
                    <a:pt x="1111" y="111"/>
                  </a:lnTo>
                  <a:lnTo>
                    <a:pt x="1069" y="111"/>
                  </a:lnTo>
                  <a:lnTo>
                    <a:pt x="1033" y="108"/>
                  </a:lnTo>
                  <a:lnTo>
                    <a:pt x="996" y="108"/>
                  </a:lnTo>
                  <a:lnTo>
                    <a:pt x="964" y="102"/>
                  </a:lnTo>
                  <a:lnTo>
                    <a:pt x="928" y="102"/>
                  </a:lnTo>
                  <a:lnTo>
                    <a:pt x="891" y="102"/>
                  </a:lnTo>
                  <a:lnTo>
                    <a:pt x="855" y="102"/>
                  </a:lnTo>
                  <a:lnTo>
                    <a:pt x="823" y="99"/>
                  </a:lnTo>
                  <a:lnTo>
                    <a:pt x="791" y="96"/>
                  </a:lnTo>
                  <a:lnTo>
                    <a:pt x="759" y="94"/>
                  </a:lnTo>
                  <a:lnTo>
                    <a:pt x="727" y="91"/>
                  </a:lnTo>
                  <a:lnTo>
                    <a:pt x="695" y="88"/>
                  </a:lnTo>
                  <a:lnTo>
                    <a:pt x="667" y="88"/>
                  </a:lnTo>
                  <a:lnTo>
                    <a:pt x="635" y="85"/>
                  </a:lnTo>
                  <a:lnTo>
                    <a:pt x="608" y="85"/>
                  </a:lnTo>
                  <a:lnTo>
                    <a:pt x="580" y="79"/>
                  </a:lnTo>
                  <a:lnTo>
                    <a:pt x="544" y="76"/>
                  </a:lnTo>
                  <a:lnTo>
                    <a:pt x="521" y="76"/>
                  </a:lnTo>
                  <a:lnTo>
                    <a:pt x="494" y="76"/>
                  </a:lnTo>
                  <a:lnTo>
                    <a:pt x="466" y="71"/>
                  </a:lnTo>
                  <a:lnTo>
                    <a:pt x="443" y="68"/>
                  </a:lnTo>
                  <a:lnTo>
                    <a:pt x="420" y="68"/>
                  </a:lnTo>
                  <a:lnTo>
                    <a:pt x="398" y="68"/>
                  </a:lnTo>
                  <a:lnTo>
                    <a:pt x="366" y="65"/>
                  </a:lnTo>
                  <a:lnTo>
                    <a:pt x="347" y="59"/>
                  </a:lnTo>
                  <a:lnTo>
                    <a:pt x="324" y="57"/>
                  </a:lnTo>
                  <a:lnTo>
                    <a:pt x="306" y="57"/>
                  </a:lnTo>
                  <a:lnTo>
                    <a:pt x="279" y="54"/>
                  </a:lnTo>
                  <a:lnTo>
                    <a:pt x="260" y="51"/>
                  </a:lnTo>
                  <a:lnTo>
                    <a:pt x="238" y="48"/>
                  </a:lnTo>
                  <a:lnTo>
                    <a:pt x="224" y="45"/>
                  </a:lnTo>
                  <a:lnTo>
                    <a:pt x="201" y="42"/>
                  </a:lnTo>
                  <a:lnTo>
                    <a:pt x="187" y="42"/>
                  </a:lnTo>
                  <a:lnTo>
                    <a:pt x="169" y="37"/>
                  </a:lnTo>
                  <a:lnTo>
                    <a:pt x="160" y="37"/>
                  </a:lnTo>
                  <a:lnTo>
                    <a:pt x="142" y="34"/>
                  </a:lnTo>
                  <a:lnTo>
                    <a:pt x="128" y="34"/>
                  </a:lnTo>
                  <a:lnTo>
                    <a:pt x="114" y="31"/>
                  </a:lnTo>
                  <a:lnTo>
                    <a:pt x="101" y="31"/>
                  </a:lnTo>
                  <a:lnTo>
                    <a:pt x="87" y="25"/>
                  </a:lnTo>
                  <a:lnTo>
                    <a:pt x="78" y="25"/>
                  </a:lnTo>
                  <a:lnTo>
                    <a:pt x="64" y="25"/>
                  </a:lnTo>
                  <a:lnTo>
                    <a:pt x="55" y="22"/>
                  </a:lnTo>
                  <a:lnTo>
                    <a:pt x="37" y="19"/>
                  </a:lnTo>
                  <a:lnTo>
                    <a:pt x="23" y="19"/>
                  </a:lnTo>
                  <a:lnTo>
                    <a:pt x="14" y="14"/>
                  </a:lnTo>
                  <a:lnTo>
                    <a:pt x="0" y="1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81" name="Freeform 73"/>
            <p:cNvSpPr>
              <a:spLocks/>
            </p:cNvSpPr>
            <p:nvPr>
              <p:custDataLst>
                <p:tags r:id="rId180"/>
              </p:custDataLst>
            </p:nvPr>
          </p:nvSpPr>
          <p:spPr bwMode="gray">
            <a:xfrm>
              <a:off x="904" y="576"/>
              <a:ext cx="3795" cy="815"/>
            </a:xfrm>
            <a:custGeom>
              <a:avLst/>
              <a:gdLst>
                <a:gd name="T0" fmla="*/ 2847 w 3702"/>
                <a:gd name="T1" fmla="*/ 7 h 892"/>
                <a:gd name="T2" fmla="*/ 2498 w 3702"/>
                <a:gd name="T3" fmla="*/ 14 h 892"/>
                <a:gd name="T4" fmla="*/ 2150 w 3702"/>
                <a:gd name="T5" fmla="*/ 22 h 892"/>
                <a:gd name="T6" fmla="*/ 1810 w 3702"/>
                <a:gd name="T7" fmla="*/ 29 h 892"/>
                <a:gd name="T8" fmla="*/ 1483 w 3702"/>
                <a:gd name="T9" fmla="*/ 37 h 892"/>
                <a:gd name="T10" fmla="*/ 1167 w 3702"/>
                <a:gd name="T11" fmla="*/ 44 h 892"/>
                <a:gd name="T12" fmla="*/ 883 w 3702"/>
                <a:gd name="T13" fmla="*/ 53 h 892"/>
                <a:gd name="T14" fmla="*/ 618 w 3702"/>
                <a:gd name="T15" fmla="*/ 58 h 892"/>
                <a:gd name="T16" fmla="*/ 391 w 3702"/>
                <a:gd name="T17" fmla="*/ 65 h 892"/>
                <a:gd name="T18" fmla="*/ 216 w 3702"/>
                <a:gd name="T19" fmla="*/ 70 h 892"/>
                <a:gd name="T20" fmla="*/ 84 w 3702"/>
                <a:gd name="T21" fmla="*/ 77 h 892"/>
                <a:gd name="T22" fmla="*/ 0 w 3702"/>
                <a:gd name="T23" fmla="*/ 79 h 892"/>
                <a:gd name="T24" fmla="*/ 74 w 3702"/>
                <a:gd name="T25" fmla="*/ 80 h 892"/>
                <a:gd name="T26" fmla="*/ 201 w 3702"/>
                <a:gd name="T27" fmla="*/ 80 h 892"/>
                <a:gd name="T28" fmla="*/ 391 w 3702"/>
                <a:gd name="T29" fmla="*/ 82 h 892"/>
                <a:gd name="T30" fmla="*/ 618 w 3702"/>
                <a:gd name="T31" fmla="*/ 82 h 892"/>
                <a:gd name="T32" fmla="*/ 883 w 3702"/>
                <a:gd name="T33" fmla="*/ 84 h 892"/>
                <a:gd name="T34" fmla="*/ 1195 w 3702"/>
                <a:gd name="T35" fmla="*/ 84 h 892"/>
                <a:gd name="T36" fmla="*/ 1525 w 3702"/>
                <a:gd name="T37" fmla="*/ 84 h 892"/>
                <a:gd name="T38" fmla="*/ 1882 w 3702"/>
                <a:gd name="T39" fmla="*/ 84 h 892"/>
                <a:gd name="T40" fmla="*/ 2255 w 3702"/>
                <a:gd name="T41" fmla="*/ 84 h 892"/>
                <a:gd name="T42" fmla="*/ 2640 w 3702"/>
                <a:gd name="T43" fmla="*/ 84 h 892"/>
                <a:gd name="T44" fmla="*/ 3030 w 3702"/>
                <a:gd name="T45" fmla="*/ 84 h 892"/>
                <a:gd name="T46" fmla="*/ 3417 w 3702"/>
                <a:gd name="T47" fmla="*/ 84 h 892"/>
                <a:gd name="T48" fmla="*/ 3798 w 3702"/>
                <a:gd name="T49" fmla="*/ 84 h 892"/>
                <a:gd name="T50" fmla="*/ 4189 w 3702"/>
                <a:gd name="T51" fmla="*/ 82 h 892"/>
                <a:gd name="T52" fmla="*/ 4579 w 3702"/>
                <a:gd name="T53" fmla="*/ 81 h 892"/>
                <a:gd name="T54" fmla="*/ 4965 w 3702"/>
                <a:gd name="T55" fmla="*/ 79 h 892"/>
                <a:gd name="T56" fmla="*/ 5320 w 3702"/>
                <a:gd name="T57" fmla="*/ 77 h 892"/>
                <a:gd name="T58" fmla="*/ 5681 w 3702"/>
                <a:gd name="T59" fmla="*/ 77 h 892"/>
                <a:gd name="T60" fmla="*/ 6009 w 3702"/>
                <a:gd name="T61" fmla="*/ 77 h 892"/>
                <a:gd name="T62" fmla="*/ 6297 w 3702"/>
                <a:gd name="T63" fmla="*/ 73 h 892"/>
                <a:gd name="T64" fmla="*/ 6551 w 3702"/>
                <a:gd name="T65" fmla="*/ 72 h 892"/>
                <a:gd name="T66" fmla="*/ 6759 w 3702"/>
                <a:gd name="T67" fmla="*/ 70 h 892"/>
                <a:gd name="T68" fmla="*/ 6915 w 3702"/>
                <a:gd name="T69" fmla="*/ 70 h 892"/>
                <a:gd name="T70" fmla="*/ 7030 w 3702"/>
                <a:gd name="T71" fmla="*/ 70 h 892"/>
                <a:gd name="T72" fmla="*/ 6993 w 3702"/>
                <a:gd name="T73" fmla="*/ 67 h 892"/>
                <a:gd name="T74" fmla="*/ 6863 w 3702"/>
                <a:gd name="T75" fmla="*/ 64 h 892"/>
                <a:gd name="T76" fmla="*/ 6674 w 3702"/>
                <a:gd name="T77" fmla="*/ 60 h 892"/>
                <a:gd name="T78" fmla="*/ 6435 w 3702"/>
                <a:gd name="T79" fmla="*/ 56 h 892"/>
                <a:gd name="T80" fmla="*/ 6166 w 3702"/>
                <a:gd name="T81" fmla="*/ 49 h 892"/>
                <a:gd name="T82" fmla="*/ 5862 w 3702"/>
                <a:gd name="T83" fmla="*/ 44 h 892"/>
                <a:gd name="T84" fmla="*/ 5558 w 3702"/>
                <a:gd name="T85" fmla="*/ 37 h 892"/>
                <a:gd name="T86" fmla="*/ 5235 w 3702"/>
                <a:gd name="T87" fmla="*/ 31 h 892"/>
                <a:gd name="T88" fmla="*/ 4937 w 3702"/>
                <a:gd name="T89" fmla="*/ 25 h 892"/>
                <a:gd name="T90" fmla="*/ 4654 w 3702"/>
                <a:gd name="T91" fmla="*/ 18 h 892"/>
                <a:gd name="T92" fmla="*/ 4398 w 3702"/>
                <a:gd name="T93" fmla="*/ 14 h 892"/>
                <a:gd name="T94" fmla="*/ 4199 w 3702"/>
                <a:gd name="T95" fmla="*/ 10 h 892"/>
                <a:gd name="T96" fmla="*/ 4050 w 3702"/>
                <a:gd name="T97" fmla="*/ 5 h 892"/>
                <a:gd name="T98" fmla="*/ 3928 w 3702"/>
                <a:gd name="T99" fmla="*/ 5 h 892"/>
                <a:gd name="T100" fmla="*/ 3824 w 3702"/>
                <a:gd name="T101" fmla="*/ 5 h 892"/>
                <a:gd name="T102" fmla="*/ 3711 w 3702"/>
                <a:gd name="T103" fmla="*/ 5 h 892"/>
                <a:gd name="T104" fmla="*/ 3607 w 3702"/>
                <a:gd name="T105" fmla="*/ 5 h 892"/>
                <a:gd name="T106" fmla="*/ 3422 w 3702"/>
                <a:gd name="T107" fmla="*/ 0 h 892"/>
                <a:gd name="T108" fmla="*/ 3273 w 3702"/>
                <a:gd name="T109" fmla="*/ 5 h 892"/>
                <a:gd name="T110" fmla="*/ 3154 w 3702"/>
                <a:gd name="T111" fmla="*/ 5 h 8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702"/>
                <a:gd name="T169" fmla="*/ 0 h 892"/>
                <a:gd name="T170" fmla="*/ 3702 w 3702"/>
                <a:gd name="T171" fmla="*/ 892 h 8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702" h="892">
                  <a:moveTo>
                    <a:pt x="1632" y="26"/>
                  </a:moveTo>
                  <a:lnTo>
                    <a:pt x="1595" y="35"/>
                  </a:lnTo>
                  <a:lnTo>
                    <a:pt x="1563" y="49"/>
                  </a:lnTo>
                  <a:lnTo>
                    <a:pt x="1526" y="63"/>
                  </a:lnTo>
                  <a:lnTo>
                    <a:pt x="1494" y="77"/>
                  </a:lnTo>
                  <a:lnTo>
                    <a:pt x="1453" y="89"/>
                  </a:lnTo>
                  <a:lnTo>
                    <a:pt x="1421" y="103"/>
                  </a:lnTo>
                  <a:lnTo>
                    <a:pt x="1380" y="117"/>
                  </a:lnTo>
                  <a:lnTo>
                    <a:pt x="1348" y="131"/>
                  </a:lnTo>
                  <a:lnTo>
                    <a:pt x="1312" y="149"/>
                  </a:lnTo>
                  <a:lnTo>
                    <a:pt x="1275" y="160"/>
                  </a:lnTo>
                  <a:lnTo>
                    <a:pt x="1239" y="174"/>
                  </a:lnTo>
                  <a:lnTo>
                    <a:pt x="1202" y="191"/>
                  </a:lnTo>
                  <a:lnTo>
                    <a:pt x="1165" y="208"/>
                  </a:lnTo>
                  <a:lnTo>
                    <a:pt x="1129" y="225"/>
                  </a:lnTo>
                  <a:lnTo>
                    <a:pt x="1097" y="240"/>
                  </a:lnTo>
                  <a:lnTo>
                    <a:pt x="1060" y="257"/>
                  </a:lnTo>
                  <a:lnTo>
                    <a:pt x="1024" y="274"/>
                  </a:lnTo>
                  <a:lnTo>
                    <a:pt x="987" y="288"/>
                  </a:lnTo>
                  <a:lnTo>
                    <a:pt x="951" y="305"/>
                  </a:lnTo>
                  <a:lnTo>
                    <a:pt x="919" y="322"/>
                  </a:lnTo>
                  <a:lnTo>
                    <a:pt x="877" y="339"/>
                  </a:lnTo>
                  <a:lnTo>
                    <a:pt x="846" y="354"/>
                  </a:lnTo>
                  <a:lnTo>
                    <a:pt x="814" y="371"/>
                  </a:lnTo>
                  <a:lnTo>
                    <a:pt x="777" y="388"/>
                  </a:lnTo>
                  <a:lnTo>
                    <a:pt x="745" y="408"/>
                  </a:lnTo>
                  <a:lnTo>
                    <a:pt x="713" y="422"/>
                  </a:lnTo>
                  <a:lnTo>
                    <a:pt x="681" y="439"/>
                  </a:lnTo>
                  <a:lnTo>
                    <a:pt x="644" y="456"/>
                  </a:lnTo>
                  <a:lnTo>
                    <a:pt x="612" y="470"/>
                  </a:lnTo>
                  <a:lnTo>
                    <a:pt x="580" y="487"/>
                  </a:lnTo>
                  <a:lnTo>
                    <a:pt x="548" y="504"/>
                  </a:lnTo>
                  <a:lnTo>
                    <a:pt x="526" y="519"/>
                  </a:lnTo>
                  <a:lnTo>
                    <a:pt x="494" y="536"/>
                  </a:lnTo>
                  <a:lnTo>
                    <a:pt x="462" y="550"/>
                  </a:lnTo>
                  <a:lnTo>
                    <a:pt x="434" y="564"/>
                  </a:lnTo>
                  <a:lnTo>
                    <a:pt x="407" y="579"/>
                  </a:lnTo>
                  <a:lnTo>
                    <a:pt x="379" y="593"/>
                  </a:lnTo>
                  <a:lnTo>
                    <a:pt x="352" y="607"/>
                  </a:lnTo>
                  <a:lnTo>
                    <a:pt x="325" y="621"/>
                  </a:lnTo>
                  <a:lnTo>
                    <a:pt x="302" y="638"/>
                  </a:lnTo>
                  <a:lnTo>
                    <a:pt x="274" y="650"/>
                  </a:lnTo>
                  <a:lnTo>
                    <a:pt x="251" y="664"/>
                  </a:lnTo>
                  <a:lnTo>
                    <a:pt x="229" y="675"/>
                  </a:lnTo>
                  <a:lnTo>
                    <a:pt x="206" y="687"/>
                  </a:lnTo>
                  <a:lnTo>
                    <a:pt x="187" y="701"/>
                  </a:lnTo>
                  <a:lnTo>
                    <a:pt x="169" y="712"/>
                  </a:lnTo>
                  <a:lnTo>
                    <a:pt x="146" y="724"/>
                  </a:lnTo>
                  <a:lnTo>
                    <a:pt x="133" y="735"/>
                  </a:lnTo>
                  <a:lnTo>
                    <a:pt x="114" y="744"/>
                  </a:lnTo>
                  <a:lnTo>
                    <a:pt x="101" y="755"/>
                  </a:lnTo>
                  <a:lnTo>
                    <a:pt x="82" y="764"/>
                  </a:lnTo>
                  <a:lnTo>
                    <a:pt x="69" y="772"/>
                  </a:lnTo>
                  <a:lnTo>
                    <a:pt x="59" y="781"/>
                  </a:lnTo>
                  <a:lnTo>
                    <a:pt x="46" y="789"/>
                  </a:lnTo>
                  <a:lnTo>
                    <a:pt x="37" y="798"/>
                  </a:lnTo>
                  <a:lnTo>
                    <a:pt x="27" y="803"/>
                  </a:lnTo>
                  <a:lnTo>
                    <a:pt x="14" y="815"/>
                  </a:lnTo>
                  <a:lnTo>
                    <a:pt x="5" y="826"/>
                  </a:lnTo>
                  <a:lnTo>
                    <a:pt x="0" y="829"/>
                  </a:lnTo>
                  <a:lnTo>
                    <a:pt x="5" y="832"/>
                  </a:lnTo>
                  <a:lnTo>
                    <a:pt x="9" y="832"/>
                  </a:lnTo>
                  <a:lnTo>
                    <a:pt x="23" y="835"/>
                  </a:lnTo>
                  <a:lnTo>
                    <a:pt x="32" y="835"/>
                  </a:lnTo>
                  <a:lnTo>
                    <a:pt x="41" y="835"/>
                  </a:lnTo>
                  <a:lnTo>
                    <a:pt x="55" y="838"/>
                  </a:lnTo>
                  <a:lnTo>
                    <a:pt x="64" y="838"/>
                  </a:lnTo>
                  <a:lnTo>
                    <a:pt x="78" y="838"/>
                  </a:lnTo>
                  <a:lnTo>
                    <a:pt x="91" y="841"/>
                  </a:lnTo>
                  <a:lnTo>
                    <a:pt x="105" y="841"/>
                  </a:lnTo>
                  <a:lnTo>
                    <a:pt x="123" y="846"/>
                  </a:lnTo>
                  <a:lnTo>
                    <a:pt x="142" y="846"/>
                  </a:lnTo>
                  <a:lnTo>
                    <a:pt x="160" y="846"/>
                  </a:lnTo>
                  <a:lnTo>
                    <a:pt x="183" y="849"/>
                  </a:lnTo>
                  <a:lnTo>
                    <a:pt x="206" y="852"/>
                  </a:lnTo>
                  <a:lnTo>
                    <a:pt x="224" y="852"/>
                  </a:lnTo>
                  <a:lnTo>
                    <a:pt x="247" y="852"/>
                  </a:lnTo>
                  <a:lnTo>
                    <a:pt x="270" y="855"/>
                  </a:lnTo>
                  <a:lnTo>
                    <a:pt x="297" y="858"/>
                  </a:lnTo>
                  <a:lnTo>
                    <a:pt x="325" y="858"/>
                  </a:lnTo>
                  <a:lnTo>
                    <a:pt x="347" y="860"/>
                  </a:lnTo>
                  <a:lnTo>
                    <a:pt x="375" y="860"/>
                  </a:lnTo>
                  <a:lnTo>
                    <a:pt x="407" y="863"/>
                  </a:lnTo>
                  <a:lnTo>
                    <a:pt x="434" y="863"/>
                  </a:lnTo>
                  <a:lnTo>
                    <a:pt x="462" y="866"/>
                  </a:lnTo>
                  <a:lnTo>
                    <a:pt x="494" y="866"/>
                  </a:lnTo>
                  <a:lnTo>
                    <a:pt x="530" y="869"/>
                  </a:lnTo>
                  <a:lnTo>
                    <a:pt x="558" y="869"/>
                  </a:lnTo>
                  <a:lnTo>
                    <a:pt x="590" y="875"/>
                  </a:lnTo>
                  <a:lnTo>
                    <a:pt x="626" y="875"/>
                  </a:lnTo>
                  <a:lnTo>
                    <a:pt x="663" y="878"/>
                  </a:lnTo>
                  <a:lnTo>
                    <a:pt x="695" y="878"/>
                  </a:lnTo>
                  <a:lnTo>
                    <a:pt x="727" y="880"/>
                  </a:lnTo>
                  <a:lnTo>
                    <a:pt x="763" y="880"/>
                  </a:lnTo>
                  <a:lnTo>
                    <a:pt x="800" y="880"/>
                  </a:lnTo>
                  <a:lnTo>
                    <a:pt x="836" y="880"/>
                  </a:lnTo>
                  <a:lnTo>
                    <a:pt x="873" y="883"/>
                  </a:lnTo>
                  <a:lnTo>
                    <a:pt x="909" y="883"/>
                  </a:lnTo>
                  <a:lnTo>
                    <a:pt x="946" y="886"/>
                  </a:lnTo>
                  <a:lnTo>
                    <a:pt x="987" y="886"/>
                  </a:lnTo>
                  <a:lnTo>
                    <a:pt x="1028" y="889"/>
                  </a:lnTo>
                  <a:lnTo>
                    <a:pt x="1065" y="889"/>
                  </a:lnTo>
                  <a:lnTo>
                    <a:pt x="1106" y="889"/>
                  </a:lnTo>
                  <a:lnTo>
                    <a:pt x="1143" y="889"/>
                  </a:lnTo>
                  <a:lnTo>
                    <a:pt x="1184" y="892"/>
                  </a:lnTo>
                  <a:lnTo>
                    <a:pt x="1225" y="892"/>
                  </a:lnTo>
                  <a:lnTo>
                    <a:pt x="1266" y="892"/>
                  </a:lnTo>
                  <a:lnTo>
                    <a:pt x="1303" y="892"/>
                  </a:lnTo>
                  <a:lnTo>
                    <a:pt x="1344" y="892"/>
                  </a:lnTo>
                  <a:lnTo>
                    <a:pt x="1385" y="892"/>
                  </a:lnTo>
                  <a:lnTo>
                    <a:pt x="1426" y="892"/>
                  </a:lnTo>
                  <a:lnTo>
                    <a:pt x="1462" y="889"/>
                  </a:lnTo>
                  <a:lnTo>
                    <a:pt x="1508" y="889"/>
                  </a:lnTo>
                  <a:lnTo>
                    <a:pt x="1549" y="889"/>
                  </a:lnTo>
                  <a:lnTo>
                    <a:pt x="1590" y="889"/>
                  </a:lnTo>
                  <a:lnTo>
                    <a:pt x="1627" y="889"/>
                  </a:lnTo>
                  <a:lnTo>
                    <a:pt x="1673" y="889"/>
                  </a:lnTo>
                  <a:lnTo>
                    <a:pt x="1714" y="886"/>
                  </a:lnTo>
                  <a:lnTo>
                    <a:pt x="1755" y="886"/>
                  </a:lnTo>
                  <a:lnTo>
                    <a:pt x="1792" y="880"/>
                  </a:lnTo>
                  <a:lnTo>
                    <a:pt x="1837" y="880"/>
                  </a:lnTo>
                  <a:lnTo>
                    <a:pt x="1874" y="880"/>
                  </a:lnTo>
                  <a:lnTo>
                    <a:pt x="1919" y="878"/>
                  </a:lnTo>
                  <a:lnTo>
                    <a:pt x="1956" y="875"/>
                  </a:lnTo>
                  <a:lnTo>
                    <a:pt x="1993" y="872"/>
                  </a:lnTo>
                  <a:lnTo>
                    <a:pt x="2038" y="869"/>
                  </a:lnTo>
                  <a:lnTo>
                    <a:pt x="2079" y="866"/>
                  </a:lnTo>
                  <a:lnTo>
                    <a:pt x="2116" y="866"/>
                  </a:lnTo>
                  <a:lnTo>
                    <a:pt x="2157" y="863"/>
                  </a:lnTo>
                  <a:lnTo>
                    <a:pt x="2198" y="860"/>
                  </a:lnTo>
                  <a:lnTo>
                    <a:pt x="2239" y="858"/>
                  </a:lnTo>
                  <a:lnTo>
                    <a:pt x="2281" y="855"/>
                  </a:lnTo>
                  <a:lnTo>
                    <a:pt x="2317" y="852"/>
                  </a:lnTo>
                  <a:lnTo>
                    <a:pt x="2363" y="849"/>
                  </a:lnTo>
                  <a:lnTo>
                    <a:pt x="2404" y="846"/>
                  </a:lnTo>
                  <a:lnTo>
                    <a:pt x="2440" y="843"/>
                  </a:lnTo>
                  <a:lnTo>
                    <a:pt x="2482" y="841"/>
                  </a:lnTo>
                  <a:lnTo>
                    <a:pt x="2523" y="838"/>
                  </a:lnTo>
                  <a:lnTo>
                    <a:pt x="2564" y="835"/>
                  </a:lnTo>
                  <a:lnTo>
                    <a:pt x="2605" y="832"/>
                  </a:lnTo>
                  <a:lnTo>
                    <a:pt x="2642" y="829"/>
                  </a:lnTo>
                  <a:lnTo>
                    <a:pt x="2683" y="826"/>
                  </a:lnTo>
                  <a:lnTo>
                    <a:pt x="2719" y="826"/>
                  </a:lnTo>
                  <a:lnTo>
                    <a:pt x="2760" y="821"/>
                  </a:lnTo>
                  <a:lnTo>
                    <a:pt x="2792" y="818"/>
                  </a:lnTo>
                  <a:lnTo>
                    <a:pt x="2834" y="815"/>
                  </a:lnTo>
                  <a:lnTo>
                    <a:pt x="2870" y="812"/>
                  </a:lnTo>
                  <a:lnTo>
                    <a:pt x="2907" y="809"/>
                  </a:lnTo>
                  <a:lnTo>
                    <a:pt x="2948" y="803"/>
                  </a:lnTo>
                  <a:lnTo>
                    <a:pt x="2980" y="803"/>
                  </a:lnTo>
                  <a:lnTo>
                    <a:pt x="3016" y="801"/>
                  </a:lnTo>
                  <a:lnTo>
                    <a:pt x="3048" y="798"/>
                  </a:lnTo>
                  <a:lnTo>
                    <a:pt x="3085" y="792"/>
                  </a:lnTo>
                  <a:lnTo>
                    <a:pt x="3117" y="789"/>
                  </a:lnTo>
                  <a:lnTo>
                    <a:pt x="3153" y="789"/>
                  </a:lnTo>
                  <a:lnTo>
                    <a:pt x="3185" y="784"/>
                  </a:lnTo>
                  <a:lnTo>
                    <a:pt x="3213" y="781"/>
                  </a:lnTo>
                  <a:lnTo>
                    <a:pt x="3245" y="778"/>
                  </a:lnTo>
                  <a:lnTo>
                    <a:pt x="3281" y="775"/>
                  </a:lnTo>
                  <a:lnTo>
                    <a:pt x="3304" y="772"/>
                  </a:lnTo>
                  <a:lnTo>
                    <a:pt x="3332" y="769"/>
                  </a:lnTo>
                  <a:lnTo>
                    <a:pt x="3359" y="766"/>
                  </a:lnTo>
                  <a:lnTo>
                    <a:pt x="3391" y="764"/>
                  </a:lnTo>
                  <a:lnTo>
                    <a:pt x="3414" y="761"/>
                  </a:lnTo>
                  <a:lnTo>
                    <a:pt x="3437" y="758"/>
                  </a:lnTo>
                  <a:lnTo>
                    <a:pt x="3464" y="755"/>
                  </a:lnTo>
                  <a:lnTo>
                    <a:pt x="3487" y="752"/>
                  </a:lnTo>
                  <a:lnTo>
                    <a:pt x="3505" y="749"/>
                  </a:lnTo>
                  <a:lnTo>
                    <a:pt x="3528" y="749"/>
                  </a:lnTo>
                  <a:lnTo>
                    <a:pt x="3546" y="744"/>
                  </a:lnTo>
                  <a:lnTo>
                    <a:pt x="3574" y="744"/>
                  </a:lnTo>
                  <a:lnTo>
                    <a:pt x="3588" y="741"/>
                  </a:lnTo>
                  <a:lnTo>
                    <a:pt x="3606" y="738"/>
                  </a:lnTo>
                  <a:lnTo>
                    <a:pt x="3615" y="735"/>
                  </a:lnTo>
                  <a:lnTo>
                    <a:pt x="3629" y="732"/>
                  </a:lnTo>
                  <a:lnTo>
                    <a:pt x="3642" y="732"/>
                  </a:lnTo>
                  <a:lnTo>
                    <a:pt x="3656" y="729"/>
                  </a:lnTo>
                  <a:lnTo>
                    <a:pt x="3665" y="727"/>
                  </a:lnTo>
                  <a:lnTo>
                    <a:pt x="3674" y="727"/>
                  </a:lnTo>
                  <a:lnTo>
                    <a:pt x="3688" y="721"/>
                  </a:lnTo>
                  <a:lnTo>
                    <a:pt x="3697" y="721"/>
                  </a:lnTo>
                  <a:lnTo>
                    <a:pt x="3702" y="718"/>
                  </a:lnTo>
                  <a:lnTo>
                    <a:pt x="3697" y="715"/>
                  </a:lnTo>
                  <a:lnTo>
                    <a:pt x="3688" y="712"/>
                  </a:lnTo>
                  <a:lnTo>
                    <a:pt x="3670" y="704"/>
                  </a:lnTo>
                  <a:lnTo>
                    <a:pt x="3661" y="698"/>
                  </a:lnTo>
                  <a:lnTo>
                    <a:pt x="3647" y="695"/>
                  </a:lnTo>
                  <a:lnTo>
                    <a:pt x="3633" y="687"/>
                  </a:lnTo>
                  <a:lnTo>
                    <a:pt x="3620" y="687"/>
                  </a:lnTo>
                  <a:lnTo>
                    <a:pt x="3601" y="675"/>
                  </a:lnTo>
                  <a:lnTo>
                    <a:pt x="3583" y="670"/>
                  </a:lnTo>
                  <a:lnTo>
                    <a:pt x="3565" y="661"/>
                  </a:lnTo>
                  <a:lnTo>
                    <a:pt x="3546" y="653"/>
                  </a:lnTo>
                  <a:lnTo>
                    <a:pt x="3524" y="644"/>
                  </a:lnTo>
                  <a:lnTo>
                    <a:pt x="3501" y="635"/>
                  </a:lnTo>
                  <a:lnTo>
                    <a:pt x="3482" y="627"/>
                  </a:lnTo>
                  <a:lnTo>
                    <a:pt x="3455" y="618"/>
                  </a:lnTo>
                  <a:lnTo>
                    <a:pt x="3432" y="607"/>
                  </a:lnTo>
                  <a:lnTo>
                    <a:pt x="3405" y="596"/>
                  </a:lnTo>
                  <a:lnTo>
                    <a:pt x="3377" y="584"/>
                  </a:lnTo>
                  <a:lnTo>
                    <a:pt x="3350" y="573"/>
                  </a:lnTo>
                  <a:lnTo>
                    <a:pt x="3323" y="561"/>
                  </a:lnTo>
                  <a:lnTo>
                    <a:pt x="3295" y="550"/>
                  </a:lnTo>
                  <a:lnTo>
                    <a:pt x="3263" y="539"/>
                  </a:lnTo>
                  <a:lnTo>
                    <a:pt x="3236" y="524"/>
                  </a:lnTo>
                  <a:lnTo>
                    <a:pt x="3204" y="513"/>
                  </a:lnTo>
                  <a:lnTo>
                    <a:pt x="3172" y="502"/>
                  </a:lnTo>
                  <a:lnTo>
                    <a:pt x="3140" y="487"/>
                  </a:lnTo>
                  <a:lnTo>
                    <a:pt x="3112" y="473"/>
                  </a:lnTo>
                  <a:lnTo>
                    <a:pt x="3076" y="462"/>
                  </a:lnTo>
                  <a:lnTo>
                    <a:pt x="3044" y="448"/>
                  </a:lnTo>
                  <a:lnTo>
                    <a:pt x="3016" y="433"/>
                  </a:lnTo>
                  <a:lnTo>
                    <a:pt x="2980" y="422"/>
                  </a:lnTo>
                  <a:lnTo>
                    <a:pt x="2948" y="408"/>
                  </a:lnTo>
                  <a:lnTo>
                    <a:pt x="2916" y="393"/>
                  </a:lnTo>
                  <a:lnTo>
                    <a:pt x="2884" y="379"/>
                  </a:lnTo>
                  <a:lnTo>
                    <a:pt x="2847" y="365"/>
                  </a:lnTo>
                  <a:lnTo>
                    <a:pt x="2815" y="351"/>
                  </a:lnTo>
                  <a:lnTo>
                    <a:pt x="2783" y="336"/>
                  </a:lnTo>
                  <a:lnTo>
                    <a:pt x="2747" y="325"/>
                  </a:lnTo>
                  <a:lnTo>
                    <a:pt x="2715" y="311"/>
                  </a:lnTo>
                  <a:lnTo>
                    <a:pt x="2683" y="297"/>
                  </a:lnTo>
                  <a:lnTo>
                    <a:pt x="2651" y="285"/>
                  </a:lnTo>
                  <a:lnTo>
                    <a:pt x="2619" y="271"/>
                  </a:lnTo>
                  <a:lnTo>
                    <a:pt x="2591" y="260"/>
                  </a:lnTo>
                  <a:lnTo>
                    <a:pt x="2559" y="245"/>
                  </a:lnTo>
                  <a:lnTo>
                    <a:pt x="2527" y="231"/>
                  </a:lnTo>
                  <a:lnTo>
                    <a:pt x="2500" y="220"/>
                  </a:lnTo>
                  <a:lnTo>
                    <a:pt x="2472" y="208"/>
                  </a:lnTo>
                  <a:lnTo>
                    <a:pt x="2440" y="194"/>
                  </a:lnTo>
                  <a:lnTo>
                    <a:pt x="2413" y="183"/>
                  </a:lnTo>
                  <a:lnTo>
                    <a:pt x="2386" y="171"/>
                  </a:lnTo>
                  <a:lnTo>
                    <a:pt x="2363" y="160"/>
                  </a:lnTo>
                  <a:lnTo>
                    <a:pt x="2335" y="151"/>
                  </a:lnTo>
                  <a:lnTo>
                    <a:pt x="2308" y="140"/>
                  </a:lnTo>
                  <a:lnTo>
                    <a:pt x="2285" y="131"/>
                  </a:lnTo>
                  <a:lnTo>
                    <a:pt x="2262" y="123"/>
                  </a:lnTo>
                  <a:lnTo>
                    <a:pt x="2244" y="112"/>
                  </a:lnTo>
                  <a:lnTo>
                    <a:pt x="2221" y="106"/>
                  </a:lnTo>
                  <a:lnTo>
                    <a:pt x="2203" y="97"/>
                  </a:lnTo>
                  <a:lnTo>
                    <a:pt x="2185" y="89"/>
                  </a:lnTo>
                  <a:lnTo>
                    <a:pt x="2166" y="83"/>
                  </a:lnTo>
                  <a:lnTo>
                    <a:pt x="2153" y="74"/>
                  </a:lnTo>
                  <a:lnTo>
                    <a:pt x="2134" y="69"/>
                  </a:lnTo>
                  <a:lnTo>
                    <a:pt x="2125" y="66"/>
                  </a:lnTo>
                  <a:lnTo>
                    <a:pt x="2116" y="60"/>
                  </a:lnTo>
                  <a:lnTo>
                    <a:pt x="2098" y="55"/>
                  </a:lnTo>
                  <a:lnTo>
                    <a:pt x="2089" y="49"/>
                  </a:lnTo>
                  <a:lnTo>
                    <a:pt x="2079" y="46"/>
                  </a:lnTo>
                  <a:lnTo>
                    <a:pt x="2061" y="43"/>
                  </a:lnTo>
                  <a:lnTo>
                    <a:pt x="2052" y="37"/>
                  </a:lnTo>
                  <a:lnTo>
                    <a:pt x="2043" y="35"/>
                  </a:lnTo>
                  <a:lnTo>
                    <a:pt x="2025" y="32"/>
                  </a:lnTo>
                  <a:lnTo>
                    <a:pt x="2015" y="26"/>
                  </a:lnTo>
                  <a:lnTo>
                    <a:pt x="2006" y="23"/>
                  </a:lnTo>
                  <a:lnTo>
                    <a:pt x="1993" y="20"/>
                  </a:lnTo>
                  <a:lnTo>
                    <a:pt x="1979" y="20"/>
                  </a:lnTo>
                  <a:lnTo>
                    <a:pt x="1970" y="15"/>
                  </a:lnTo>
                  <a:lnTo>
                    <a:pt x="1956" y="15"/>
                  </a:lnTo>
                  <a:lnTo>
                    <a:pt x="1947" y="12"/>
                  </a:lnTo>
                  <a:lnTo>
                    <a:pt x="1938" y="12"/>
                  </a:lnTo>
                  <a:lnTo>
                    <a:pt x="1924" y="9"/>
                  </a:lnTo>
                  <a:lnTo>
                    <a:pt x="1915" y="9"/>
                  </a:lnTo>
                  <a:lnTo>
                    <a:pt x="1901" y="6"/>
                  </a:lnTo>
                  <a:lnTo>
                    <a:pt x="1892" y="6"/>
                  </a:lnTo>
                  <a:lnTo>
                    <a:pt x="1869" y="0"/>
                  </a:lnTo>
                  <a:lnTo>
                    <a:pt x="1856" y="0"/>
                  </a:lnTo>
                  <a:lnTo>
                    <a:pt x="1833" y="0"/>
                  </a:lnTo>
                  <a:lnTo>
                    <a:pt x="1814" y="0"/>
                  </a:lnTo>
                  <a:lnTo>
                    <a:pt x="1796" y="0"/>
                  </a:lnTo>
                  <a:lnTo>
                    <a:pt x="1782" y="3"/>
                  </a:lnTo>
                  <a:lnTo>
                    <a:pt x="1764" y="3"/>
                  </a:lnTo>
                  <a:lnTo>
                    <a:pt x="1750" y="6"/>
                  </a:lnTo>
                  <a:lnTo>
                    <a:pt x="1732" y="6"/>
                  </a:lnTo>
                  <a:lnTo>
                    <a:pt x="1718" y="9"/>
                  </a:lnTo>
                  <a:lnTo>
                    <a:pt x="1700" y="9"/>
                  </a:lnTo>
                  <a:lnTo>
                    <a:pt x="1696" y="9"/>
                  </a:lnTo>
                  <a:lnTo>
                    <a:pt x="1682" y="12"/>
                  </a:lnTo>
                  <a:lnTo>
                    <a:pt x="1673" y="15"/>
                  </a:lnTo>
                  <a:lnTo>
                    <a:pt x="1654" y="20"/>
                  </a:lnTo>
                  <a:lnTo>
                    <a:pt x="1641" y="20"/>
                  </a:lnTo>
                  <a:lnTo>
                    <a:pt x="1636" y="23"/>
                  </a:lnTo>
                  <a:lnTo>
                    <a:pt x="1632" y="26"/>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82" name="Freeform 74"/>
            <p:cNvSpPr>
              <a:spLocks/>
            </p:cNvSpPr>
            <p:nvPr>
              <p:custDataLst>
                <p:tags r:id="rId181"/>
              </p:custDataLst>
            </p:nvPr>
          </p:nvSpPr>
          <p:spPr bwMode="gray">
            <a:xfrm>
              <a:off x="1358" y="666"/>
              <a:ext cx="1270" cy="535"/>
            </a:xfrm>
            <a:custGeom>
              <a:avLst/>
              <a:gdLst>
                <a:gd name="T0" fmla="*/ 2081 w 1239"/>
                <a:gd name="T1" fmla="*/ 5 h 587"/>
                <a:gd name="T2" fmla="*/ 1955 w 1239"/>
                <a:gd name="T3" fmla="*/ 5 h 587"/>
                <a:gd name="T4" fmla="*/ 1837 w 1239"/>
                <a:gd name="T5" fmla="*/ 6 h 587"/>
                <a:gd name="T6" fmla="*/ 1715 w 1239"/>
                <a:gd name="T7" fmla="*/ 9 h 587"/>
                <a:gd name="T8" fmla="*/ 1599 w 1239"/>
                <a:gd name="T9" fmla="*/ 12 h 587"/>
                <a:gd name="T10" fmla="*/ 1488 w 1239"/>
                <a:gd name="T11" fmla="*/ 14 h 587"/>
                <a:gd name="T12" fmla="*/ 1373 w 1239"/>
                <a:gd name="T13" fmla="*/ 16 h 587"/>
                <a:gd name="T14" fmla="*/ 1268 w 1239"/>
                <a:gd name="T15" fmla="*/ 18 h 587"/>
                <a:gd name="T16" fmla="*/ 1156 w 1239"/>
                <a:gd name="T17" fmla="*/ 21 h 587"/>
                <a:gd name="T18" fmla="*/ 1053 w 1239"/>
                <a:gd name="T19" fmla="*/ 24 h 587"/>
                <a:gd name="T20" fmla="*/ 944 w 1239"/>
                <a:gd name="T21" fmla="*/ 26 h 587"/>
                <a:gd name="T22" fmla="*/ 850 w 1239"/>
                <a:gd name="T23" fmla="*/ 29 h 587"/>
                <a:gd name="T24" fmla="*/ 767 w 1239"/>
                <a:gd name="T25" fmla="*/ 31 h 587"/>
                <a:gd name="T26" fmla="*/ 668 w 1239"/>
                <a:gd name="T27" fmla="*/ 33 h 587"/>
                <a:gd name="T28" fmla="*/ 590 w 1239"/>
                <a:gd name="T29" fmla="*/ 35 h 587"/>
                <a:gd name="T30" fmla="*/ 514 w 1239"/>
                <a:gd name="T31" fmla="*/ 37 h 587"/>
                <a:gd name="T32" fmla="*/ 427 w 1239"/>
                <a:gd name="T33" fmla="*/ 39 h 587"/>
                <a:gd name="T34" fmla="*/ 364 w 1239"/>
                <a:gd name="T35" fmla="*/ 42 h 587"/>
                <a:gd name="T36" fmla="*/ 304 w 1239"/>
                <a:gd name="T37" fmla="*/ 43 h 587"/>
                <a:gd name="T38" fmla="*/ 244 w 1239"/>
                <a:gd name="T39" fmla="*/ 46 h 587"/>
                <a:gd name="T40" fmla="*/ 182 w 1239"/>
                <a:gd name="T41" fmla="*/ 46 h 587"/>
                <a:gd name="T42" fmla="*/ 137 w 1239"/>
                <a:gd name="T43" fmla="*/ 47 h 587"/>
                <a:gd name="T44" fmla="*/ 94 w 1239"/>
                <a:gd name="T45" fmla="*/ 50 h 587"/>
                <a:gd name="T46" fmla="*/ 58 w 1239"/>
                <a:gd name="T47" fmla="*/ 51 h 587"/>
                <a:gd name="T48" fmla="*/ 14 w 1239"/>
                <a:gd name="T49" fmla="*/ 51 h 587"/>
                <a:gd name="T50" fmla="*/ 0 w 1239"/>
                <a:gd name="T51" fmla="*/ 52 h 587"/>
                <a:gd name="T52" fmla="*/ 0 w 1239"/>
                <a:gd name="T53" fmla="*/ 52 h 587"/>
                <a:gd name="T54" fmla="*/ 49 w 1239"/>
                <a:gd name="T55" fmla="*/ 51 h 587"/>
                <a:gd name="T56" fmla="*/ 94 w 1239"/>
                <a:gd name="T57" fmla="*/ 51 h 587"/>
                <a:gd name="T58" fmla="*/ 137 w 1239"/>
                <a:gd name="T59" fmla="*/ 48 h 587"/>
                <a:gd name="T60" fmla="*/ 201 w 1239"/>
                <a:gd name="T61" fmla="*/ 46 h 587"/>
                <a:gd name="T62" fmla="*/ 262 w 1239"/>
                <a:gd name="T63" fmla="*/ 46 h 587"/>
                <a:gd name="T64" fmla="*/ 330 w 1239"/>
                <a:gd name="T65" fmla="*/ 43 h 587"/>
                <a:gd name="T66" fmla="*/ 401 w 1239"/>
                <a:gd name="T67" fmla="*/ 42 h 587"/>
                <a:gd name="T68" fmla="*/ 488 w 1239"/>
                <a:gd name="T69" fmla="*/ 40 h 587"/>
                <a:gd name="T70" fmla="*/ 575 w 1239"/>
                <a:gd name="T71" fmla="*/ 38 h 587"/>
                <a:gd name="T72" fmla="*/ 652 w 1239"/>
                <a:gd name="T73" fmla="*/ 36 h 587"/>
                <a:gd name="T74" fmla="*/ 748 w 1239"/>
                <a:gd name="T75" fmla="*/ 35 h 587"/>
                <a:gd name="T76" fmla="*/ 850 w 1239"/>
                <a:gd name="T77" fmla="*/ 32 h 587"/>
                <a:gd name="T78" fmla="*/ 938 w 1239"/>
                <a:gd name="T79" fmla="*/ 30 h 587"/>
                <a:gd name="T80" fmla="*/ 1042 w 1239"/>
                <a:gd name="T81" fmla="*/ 27 h 587"/>
                <a:gd name="T82" fmla="*/ 1147 w 1239"/>
                <a:gd name="T83" fmla="*/ 26 h 587"/>
                <a:gd name="T84" fmla="*/ 1243 w 1239"/>
                <a:gd name="T85" fmla="*/ 24 h 587"/>
                <a:gd name="T86" fmla="*/ 1349 w 1239"/>
                <a:gd name="T87" fmla="*/ 22 h 587"/>
                <a:gd name="T88" fmla="*/ 1442 w 1239"/>
                <a:gd name="T89" fmla="*/ 19 h 587"/>
                <a:gd name="T90" fmla="*/ 1546 w 1239"/>
                <a:gd name="T91" fmla="*/ 16 h 587"/>
                <a:gd name="T92" fmla="*/ 1642 w 1239"/>
                <a:gd name="T93" fmla="*/ 15 h 587"/>
                <a:gd name="T94" fmla="*/ 1729 w 1239"/>
                <a:gd name="T95" fmla="*/ 13 h 587"/>
                <a:gd name="T96" fmla="*/ 1826 w 1239"/>
                <a:gd name="T97" fmla="*/ 11 h 587"/>
                <a:gd name="T98" fmla="*/ 1909 w 1239"/>
                <a:gd name="T99" fmla="*/ 10 h 587"/>
                <a:gd name="T100" fmla="*/ 1997 w 1239"/>
                <a:gd name="T101" fmla="*/ 7 h 587"/>
                <a:gd name="T102" fmla="*/ 2070 w 1239"/>
                <a:gd name="T103" fmla="*/ 5 h 587"/>
                <a:gd name="T104" fmla="*/ 2145 w 1239"/>
                <a:gd name="T105" fmla="*/ 5 h 587"/>
                <a:gd name="T106" fmla="*/ 2199 w 1239"/>
                <a:gd name="T107" fmla="*/ 5 h 587"/>
                <a:gd name="T108" fmla="*/ 2259 w 1239"/>
                <a:gd name="T109" fmla="*/ 5 h 587"/>
                <a:gd name="T110" fmla="*/ 2310 w 1239"/>
                <a:gd name="T111" fmla="*/ 5 h 587"/>
                <a:gd name="T112" fmla="*/ 2358 w 1239"/>
                <a:gd name="T113" fmla="*/ 0 h 587"/>
                <a:gd name="T114" fmla="*/ 2145 w 1239"/>
                <a:gd name="T115" fmla="*/ 5 h 58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39"/>
                <a:gd name="T175" fmla="*/ 0 h 587"/>
                <a:gd name="T176" fmla="*/ 1239 w 1239"/>
                <a:gd name="T177" fmla="*/ 587 h 58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39" h="587">
                  <a:moveTo>
                    <a:pt x="1129" y="14"/>
                  </a:moveTo>
                  <a:lnTo>
                    <a:pt x="1093" y="26"/>
                  </a:lnTo>
                  <a:lnTo>
                    <a:pt x="1061" y="34"/>
                  </a:lnTo>
                  <a:lnTo>
                    <a:pt x="1029" y="46"/>
                  </a:lnTo>
                  <a:lnTo>
                    <a:pt x="997" y="60"/>
                  </a:lnTo>
                  <a:lnTo>
                    <a:pt x="965" y="74"/>
                  </a:lnTo>
                  <a:lnTo>
                    <a:pt x="933" y="86"/>
                  </a:lnTo>
                  <a:lnTo>
                    <a:pt x="901" y="100"/>
                  </a:lnTo>
                  <a:lnTo>
                    <a:pt x="873" y="114"/>
                  </a:lnTo>
                  <a:lnTo>
                    <a:pt x="841" y="125"/>
                  </a:lnTo>
                  <a:lnTo>
                    <a:pt x="814" y="140"/>
                  </a:lnTo>
                  <a:lnTo>
                    <a:pt x="782" y="151"/>
                  </a:lnTo>
                  <a:lnTo>
                    <a:pt x="750" y="165"/>
                  </a:lnTo>
                  <a:lnTo>
                    <a:pt x="722" y="179"/>
                  </a:lnTo>
                  <a:lnTo>
                    <a:pt x="690" y="194"/>
                  </a:lnTo>
                  <a:lnTo>
                    <a:pt x="668" y="208"/>
                  </a:lnTo>
                  <a:lnTo>
                    <a:pt x="636" y="219"/>
                  </a:lnTo>
                  <a:lnTo>
                    <a:pt x="608" y="234"/>
                  </a:lnTo>
                  <a:lnTo>
                    <a:pt x="585" y="251"/>
                  </a:lnTo>
                  <a:lnTo>
                    <a:pt x="553" y="262"/>
                  </a:lnTo>
                  <a:lnTo>
                    <a:pt x="530" y="276"/>
                  </a:lnTo>
                  <a:lnTo>
                    <a:pt x="498" y="288"/>
                  </a:lnTo>
                  <a:lnTo>
                    <a:pt x="476" y="302"/>
                  </a:lnTo>
                  <a:lnTo>
                    <a:pt x="448" y="316"/>
                  </a:lnTo>
                  <a:lnTo>
                    <a:pt x="430" y="330"/>
                  </a:lnTo>
                  <a:lnTo>
                    <a:pt x="403" y="342"/>
                  </a:lnTo>
                  <a:lnTo>
                    <a:pt x="380" y="356"/>
                  </a:lnTo>
                  <a:lnTo>
                    <a:pt x="352" y="367"/>
                  </a:lnTo>
                  <a:lnTo>
                    <a:pt x="329" y="382"/>
                  </a:lnTo>
                  <a:lnTo>
                    <a:pt x="311" y="393"/>
                  </a:lnTo>
                  <a:lnTo>
                    <a:pt x="288" y="404"/>
                  </a:lnTo>
                  <a:lnTo>
                    <a:pt x="270" y="416"/>
                  </a:lnTo>
                  <a:lnTo>
                    <a:pt x="247" y="430"/>
                  </a:lnTo>
                  <a:lnTo>
                    <a:pt x="224" y="441"/>
                  </a:lnTo>
                  <a:lnTo>
                    <a:pt x="206" y="450"/>
                  </a:lnTo>
                  <a:lnTo>
                    <a:pt x="192" y="461"/>
                  </a:lnTo>
                  <a:lnTo>
                    <a:pt x="174" y="473"/>
                  </a:lnTo>
                  <a:lnTo>
                    <a:pt x="160" y="484"/>
                  </a:lnTo>
                  <a:lnTo>
                    <a:pt x="142" y="493"/>
                  </a:lnTo>
                  <a:lnTo>
                    <a:pt x="128" y="504"/>
                  </a:lnTo>
                  <a:lnTo>
                    <a:pt x="115" y="513"/>
                  </a:lnTo>
                  <a:lnTo>
                    <a:pt x="96" y="518"/>
                  </a:lnTo>
                  <a:lnTo>
                    <a:pt x="87" y="530"/>
                  </a:lnTo>
                  <a:lnTo>
                    <a:pt x="73" y="535"/>
                  </a:lnTo>
                  <a:lnTo>
                    <a:pt x="60" y="541"/>
                  </a:lnTo>
                  <a:lnTo>
                    <a:pt x="51" y="550"/>
                  </a:lnTo>
                  <a:lnTo>
                    <a:pt x="41" y="555"/>
                  </a:lnTo>
                  <a:lnTo>
                    <a:pt x="32" y="561"/>
                  </a:lnTo>
                  <a:lnTo>
                    <a:pt x="23" y="567"/>
                  </a:lnTo>
                  <a:lnTo>
                    <a:pt x="14" y="575"/>
                  </a:lnTo>
                  <a:lnTo>
                    <a:pt x="5" y="581"/>
                  </a:lnTo>
                  <a:lnTo>
                    <a:pt x="0" y="584"/>
                  </a:lnTo>
                  <a:lnTo>
                    <a:pt x="0" y="587"/>
                  </a:lnTo>
                  <a:lnTo>
                    <a:pt x="0" y="584"/>
                  </a:lnTo>
                  <a:lnTo>
                    <a:pt x="14" y="581"/>
                  </a:lnTo>
                  <a:lnTo>
                    <a:pt x="23" y="575"/>
                  </a:lnTo>
                  <a:lnTo>
                    <a:pt x="41" y="564"/>
                  </a:lnTo>
                  <a:lnTo>
                    <a:pt x="51" y="555"/>
                  </a:lnTo>
                  <a:lnTo>
                    <a:pt x="64" y="550"/>
                  </a:lnTo>
                  <a:lnTo>
                    <a:pt x="73" y="541"/>
                  </a:lnTo>
                  <a:lnTo>
                    <a:pt x="92" y="535"/>
                  </a:lnTo>
                  <a:lnTo>
                    <a:pt x="105" y="524"/>
                  </a:lnTo>
                  <a:lnTo>
                    <a:pt x="119" y="518"/>
                  </a:lnTo>
                  <a:lnTo>
                    <a:pt x="137" y="507"/>
                  </a:lnTo>
                  <a:lnTo>
                    <a:pt x="156" y="498"/>
                  </a:lnTo>
                  <a:lnTo>
                    <a:pt x="174" y="490"/>
                  </a:lnTo>
                  <a:lnTo>
                    <a:pt x="192" y="481"/>
                  </a:lnTo>
                  <a:lnTo>
                    <a:pt x="211" y="470"/>
                  </a:lnTo>
                  <a:lnTo>
                    <a:pt x="238" y="461"/>
                  </a:lnTo>
                  <a:lnTo>
                    <a:pt x="256" y="450"/>
                  </a:lnTo>
                  <a:lnTo>
                    <a:pt x="275" y="439"/>
                  </a:lnTo>
                  <a:lnTo>
                    <a:pt x="302" y="427"/>
                  </a:lnTo>
                  <a:lnTo>
                    <a:pt x="325" y="416"/>
                  </a:lnTo>
                  <a:lnTo>
                    <a:pt x="343" y="404"/>
                  </a:lnTo>
                  <a:lnTo>
                    <a:pt x="371" y="393"/>
                  </a:lnTo>
                  <a:lnTo>
                    <a:pt x="393" y="382"/>
                  </a:lnTo>
                  <a:lnTo>
                    <a:pt x="421" y="370"/>
                  </a:lnTo>
                  <a:lnTo>
                    <a:pt x="448" y="356"/>
                  </a:lnTo>
                  <a:lnTo>
                    <a:pt x="476" y="347"/>
                  </a:lnTo>
                  <a:lnTo>
                    <a:pt x="494" y="333"/>
                  </a:lnTo>
                  <a:lnTo>
                    <a:pt x="526" y="322"/>
                  </a:lnTo>
                  <a:lnTo>
                    <a:pt x="549" y="310"/>
                  </a:lnTo>
                  <a:lnTo>
                    <a:pt x="576" y="299"/>
                  </a:lnTo>
                  <a:lnTo>
                    <a:pt x="604" y="285"/>
                  </a:lnTo>
                  <a:lnTo>
                    <a:pt x="631" y="273"/>
                  </a:lnTo>
                  <a:lnTo>
                    <a:pt x="654" y="262"/>
                  </a:lnTo>
                  <a:lnTo>
                    <a:pt x="681" y="251"/>
                  </a:lnTo>
                  <a:lnTo>
                    <a:pt x="709" y="236"/>
                  </a:lnTo>
                  <a:lnTo>
                    <a:pt x="741" y="228"/>
                  </a:lnTo>
                  <a:lnTo>
                    <a:pt x="759" y="214"/>
                  </a:lnTo>
                  <a:lnTo>
                    <a:pt x="786" y="202"/>
                  </a:lnTo>
                  <a:lnTo>
                    <a:pt x="814" y="188"/>
                  </a:lnTo>
                  <a:lnTo>
                    <a:pt x="841" y="179"/>
                  </a:lnTo>
                  <a:lnTo>
                    <a:pt x="864" y="165"/>
                  </a:lnTo>
                  <a:lnTo>
                    <a:pt x="892" y="154"/>
                  </a:lnTo>
                  <a:lnTo>
                    <a:pt x="910" y="142"/>
                  </a:lnTo>
                  <a:lnTo>
                    <a:pt x="937" y="134"/>
                  </a:lnTo>
                  <a:lnTo>
                    <a:pt x="960" y="123"/>
                  </a:lnTo>
                  <a:lnTo>
                    <a:pt x="983" y="111"/>
                  </a:lnTo>
                  <a:lnTo>
                    <a:pt x="1006" y="103"/>
                  </a:lnTo>
                  <a:lnTo>
                    <a:pt x="1029" y="91"/>
                  </a:lnTo>
                  <a:lnTo>
                    <a:pt x="1051" y="83"/>
                  </a:lnTo>
                  <a:lnTo>
                    <a:pt x="1070" y="74"/>
                  </a:lnTo>
                  <a:lnTo>
                    <a:pt x="1088" y="66"/>
                  </a:lnTo>
                  <a:lnTo>
                    <a:pt x="1111" y="57"/>
                  </a:lnTo>
                  <a:lnTo>
                    <a:pt x="1129" y="48"/>
                  </a:lnTo>
                  <a:lnTo>
                    <a:pt x="1143" y="40"/>
                  </a:lnTo>
                  <a:lnTo>
                    <a:pt x="1157" y="34"/>
                  </a:lnTo>
                  <a:lnTo>
                    <a:pt x="1175" y="26"/>
                  </a:lnTo>
                  <a:lnTo>
                    <a:pt x="1189" y="20"/>
                  </a:lnTo>
                  <a:lnTo>
                    <a:pt x="1202" y="14"/>
                  </a:lnTo>
                  <a:lnTo>
                    <a:pt x="1216" y="9"/>
                  </a:lnTo>
                  <a:lnTo>
                    <a:pt x="1230" y="3"/>
                  </a:lnTo>
                  <a:lnTo>
                    <a:pt x="1239" y="0"/>
                  </a:lnTo>
                  <a:lnTo>
                    <a:pt x="1129" y="1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83" name="Freeform 75"/>
            <p:cNvSpPr>
              <a:spLocks/>
            </p:cNvSpPr>
            <p:nvPr>
              <p:custDataLst>
                <p:tags r:id="rId182"/>
              </p:custDataLst>
            </p:nvPr>
          </p:nvSpPr>
          <p:spPr bwMode="gray">
            <a:xfrm>
              <a:off x="1799" y="813"/>
              <a:ext cx="740" cy="393"/>
            </a:xfrm>
            <a:custGeom>
              <a:avLst/>
              <a:gdLst>
                <a:gd name="T0" fmla="*/ 1112 w 722"/>
                <a:gd name="T1" fmla="*/ 5 h 430"/>
                <a:gd name="T2" fmla="*/ 1034 w 722"/>
                <a:gd name="T3" fmla="*/ 5 h 430"/>
                <a:gd name="T4" fmla="*/ 962 w 722"/>
                <a:gd name="T5" fmla="*/ 7 h 430"/>
                <a:gd name="T6" fmla="*/ 894 w 722"/>
                <a:gd name="T7" fmla="*/ 10 h 430"/>
                <a:gd name="T8" fmla="*/ 831 w 722"/>
                <a:gd name="T9" fmla="*/ 12 h 430"/>
                <a:gd name="T10" fmla="*/ 764 w 722"/>
                <a:gd name="T11" fmla="*/ 14 h 430"/>
                <a:gd name="T12" fmla="*/ 700 w 722"/>
                <a:gd name="T13" fmla="*/ 15 h 430"/>
                <a:gd name="T14" fmla="*/ 643 w 722"/>
                <a:gd name="T15" fmla="*/ 16 h 430"/>
                <a:gd name="T16" fmla="*/ 582 w 722"/>
                <a:gd name="T17" fmla="*/ 19 h 430"/>
                <a:gd name="T18" fmla="*/ 520 w 722"/>
                <a:gd name="T19" fmla="*/ 21 h 430"/>
                <a:gd name="T20" fmla="*/ 459 w 722"/>
                <a:gd name="T21" fmla="*/ 23 h 430"/>
                <a:gd name="T22" fmla="*/ 416 w 722"/>
                <a:gd name="T23" fmla="*/ 24 h 430"/>
                <a:gd name="T24" fmla="*/ 364 w 722"/>
                <a:gd name="T25" fmla="*/ 26 h 430"/>
                <a:gd name="T26" fmla="*/ 321 w 722"/>
                <a:gd name="T27" fmla="*/ 28 h 430"/>
                <a:gd name="T28" fmla="*/ 271 w 722"/>
                <a:gd name="T29" fmla="*/ 29 h 430"/>
                <a:gd name="T30" fmla="*/ 223 w 722"/>
                <a:gd name="T31" fmla="*/ 31 h 430"/>
                <a:gd name="T32" fmla="*/ 191 w 722"/>
                <a:gd name="T33" fmla="*/ 33 h 430"/>
                <a:gd name="T34" fmla="*/ 153 w 722"/>
                <a:gd name="T35" fmla="*/ 34 h 430"/>
                <a:gd name="T36" fmla="*/ 123 w 722"/>
                <a:gd name="T37" fmla="*/ 34 h 430"/>
                <a:gd name="T38" fmla="*/ 91 w 722"/>
                <a:gd name="T39" fmla="*/ 37 h 430"/>
                <a:gd name="T40" fmla="*/ 58 w 722"/>
                <a:gd name="T41" fmla="*/ 37 h 430"/>
                <a:gd name="T42" fmla="*/ 14 w 722"/>
                <a:gd name="T43" fmla="*/ 40 h 430"/>
                <a:gd name="T44" fmla="*/ 0 w 722"/>
                <a:gd name="T45" fmla="*/ 40 h 430"/>
                <a:gd name="T46" fmla="*/ 4 w 722"/>
                <a:gd name="T47" fmla="*/ 41 h 430"/>
                <a:gd name="T48" fmla="*/ 18 w 722"/>
                <a:gd name="T49" fmla="*/ 40 h 430"/>
                <a:gd name="T50" fmla="*/ 83 w 722"/>
                <a:gd name="T51" fmla="*/ 39 h 430"/>
                <a:gd name="T52" fmla="*/ 137 w 722"/>
                <a:gd name="T53" fmla="*/ 37 h 430"/>
                <a:gd name="T54" fmla="*/ 171 w 722"/>
                <a:gd name="T55" fmla="*/ 37 h 430"/>
                <a:gd name="T56" fmla="*/ 223 w 722"/>
                <a:gd name="T57" fmla="*/ 36 h 430"/>
                <a:gd name="T58" fmla="*/ 259 w 722"/>
                <a:gd name="T59" fmla="*/ 34 h 430"/>
                <a:gd name="T60" fmla="*/ 301 w 722"/>
                <a:gd name="T61" fmla="*/ 33 h 430"/>
                <a:gd name="T62" fmla="*/ 355 w 722"/>
                <a:gd name="T63" fmla="*/ 31 h 430"/>
                <a:gd name="T64" fmla="*/ 416 w 722"/>
                <a:gd name="T65" fmla="*/ 28 h 430"/>
                <a:gd name="T66" fmla="*/ 459 w 722"/>
                <a:gd name="T67" fmla="*/ 28 h 430"/>
                <a:gd name="T68" fmla="*/ 520 w 722"/>
                <a:gd name="T69" fmla="*/ 26 h 430"/>
                <a:gd name="T70" fmla="*/ 582 w 722"/>
                <a:gd name="T71" fmla="*/ 24 h 430"/>
                <a:gd name="T72" fmla="*/ 643 w 722"/>
                <a:gd name="T73" fmla="*/ 22 h 430"/>
                <a:gd name="T74" fmla="*/ 696 w 722"/>
                <a:gd name="T75" fmla="*/ 20 h 430"/>
                <a:gd name="T76" fmla="*/ 753 w 722"/>
                <a:gd name="T77" fmla="*/ 18 h 430"/>
                <a:gd name="T78" fmla="*/ 816 w 722"/>
                <a:gd name="T79" fmla="*/ 16 h 430"/>
                <a:gd name="T80" fmla="*/ 876 w 722"/>
                <a:gd name="T81" fmla="*/ 15 h 430"/>
                <a:gd name="T82" fmla="*/ 924 w 722"/>
                <a:gd name="T83" fmla="*/ 14 h 430"/>
                <a:gd name="T84" fmla="*/ 981 w 722"/>
                <a:gd name="T85" fmla="*/ 12 h 430"/>
                <a:gd name="T86" fmla="*/ 1038 w 722"/>
                <a:gd name="T87" fmla="*/ 10 h 430"/>
                <a:gd name="T88" fmla="*/ 1091 w 722"/>
                <a:gd name="T89" fmla="*/ 8 h 430"/>
                <a:gd name="T90" fmla="*/ 1143 w 722"/>
                <a:gd name="T91" fmla="*/ 6 h 430"/>
                <a:gd name="T92" fmla="*/ 1187 w 722"/>
                <a:gd name="T93" fmla="*/ 5 h 430"/>
                <a:gd name="T94" fmla="*/ 1238 w 722"/>
                <a:gd name="T95" fmla="*/ 5 h 430"/>
                <a:gd name="T96" fmla="*/ 1284 w 722"/>
                <a:gd name="T97" fmla="*/ 5 h 430"/>
                <a:gd name="T98" fmla="*/ 1319 w 722"/>
                <a:gd name="T99" fmla="*/ 5 h 430"/>
                <a:gd name="T100" fmla="*/ 1367 w 722"/>
                <a:gd name="T101" fmla="*/ 0 h 430"/>
                <a:gd name="T102" fmla="*/ 1143 w 722"/>
                <a:gd name="T103" fmla="*/ 5 h 43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2"/>
                <a:gd name="T157" fmla="*/ 0 h 430"/>
                <a:gd name="T158" fmla="*/ 722 w 722"/>
                <a:gd name="T159" fmla="*/ 430 h 43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2" h="430">
                  <a:moveTo>
                    <a:pt x="603" y="29"/>
                  </a:moveTo>
                  <a:lnTo>
                    <a:pt x="585" y="37"/>
                  </a:lnTo>
                  <a:lnTo>
                    <a:pt x="567" y="46"/>
                  </a:lnTo>
                  <a:lnTo>
                    <a:pt x="544" y="57"/>
                  </a:lnTo>
                  <a:lnTo>
                    <a:pt x="525" y="66"/>
                  </a:lnTo>
                  <a:lnTo>
                    <a:pt x="507" y="77"/>
                  </a:lnTo>
                  <a:lnTo>
                    <a:pt x="489" y="89"/>
                  </a:lnTo>
                  <a:lnTo>
                    <a:pt x="471" y="97"/>
                  </a:lnTo>
                  <a:lnTo>
                    <a:pt x="457" y="109"/>
                  </a:lnTo>
                  <a:lnTo>
                    <a:pt x="439" y="117"/>
                  </a:lnTo>
                  <a:lnTo>
                    <a:pt x="420" y="129"/>
                  </a:lnTo>
                  <a:lnTo>
                    <a:pt x="402" y="137"/>
                  </a:lnTo>
                  <a:lnTo>
                    <a:pt x="388" y="148"/>
                  </a:lnTo>
                  <a:lnTo>
                    <a:pt x="370" y="157"/>
                  </a:lnTo>
                  <a:lnTo>
                    <a:pt x="352" y="168"/>
                  </a:lnTo>
                  <a:lnTo>
                    <a:pt x="338" y="177"/>
                  </a:lnTo>
                  <a:lnTo>
                    <a:pt x="320" y="188"/>
                  </a:lnTo>
                  <a:lnTo>
                    <a:pt x="306" y="197"/>
                  </a:lnTo>
                  <a:lnTo>
                    <a:pt x="288" y="205"/>
                  </a:lnTo>
                  <a:lnTo>
                    <a:pt x="274" y="217"/>
                  </a:lnTo>
                  <a:lnTo>
                    <a:pt x="260" y="225"/>
                  </a:lnTo>
                  <a:lnTo>
                    <a:pt x="242" y="234"/>
                  </a:lnTo>
                  <a:lnTo>
                    <a:pt x="233" y="242"/>
                  </a:lnTo>
                  <a:lnTo>
                    <a:pt x="219" y="254"/>
                  </a:lnTo>
                  <a:lnTo>
                    <a:pt x="206" y="262"/>
                  </a:lnTo>
                  <a:lnTo>
                    <a:pt x="192" y="271"/>
                  </a:lnTo>
                  <a:lnTo>
                    <a:pt x="178" y="279"/>
                  </a:lnTo>
                  <a:lnTo>
                    <a:pt x="169" y="288"/>
                  </a:lnTo>
                  <a:lnTo>
                    <a:pt x="155" y="297"/>
                  </a:lnTo>
                  <a:lnTo>
                    <a:pt x="142" y="305"/>
                  </a:lnTo>
                  <a:lnTo>
                    <a:pt x="132" y="314"/>
                  </a:lnTo>
                  <a:lnTo>
                    <a:pt x="119" y="322"/>
                  </a:lnTo>
                  <a:lnTo>
                    <a:pt x="114" y="331"/>
                  </a:lnTo>
                  <a:lnTo>
                    <a:pt x="100" y="336"/>
                  </a:lnTo>
                  <a:lnTo>
                    <a:pt x="91" y="345"/>
                  </a:lnTo>
                  <a:lnTo>
                    <a:pt x="82" y="351"/>
                  </a:lnTo>
                  <a:lnTo>
                    <a:pt x="73" y="356"/>
                  </a:lnTo>
                  <a:lnTo>
                    <a:pt x="64" y="362"/>
                  </a:lnTo>
                  <a:lnTo>
                    <a:pt x="55" y="368"/>
                  </a:lnTo>
                  <a:lnTo>
                    <a:pt x="50" y="376"/>
                  </a:lnTo>
                  <a:lnTo>
                    <a:pt x="46" y="382"/>
                  </a:lnTo>
                  <a:lnTo>
                    <a:pt x="32" y="391"/>
                  </a:lnTo>
                  <a:lnTo>
                    <a:pt x="18" y="402"/>
                  </a:lnTo>
                  <a:lnTo>
                    <a:pt x="14" y="408"/>
                  </a:lnTo>
                  <a:lnTo>
                    <a:pt x="4" y="416"/>
                  </a:lnTo>
                  <a:lnTo>
                    <a:pt x="0" y="425"/>
                  </a:lnTo>
                  <a:lnTo>
                    <a:pt x="0" y="430"/>
                  </a:lnTo>
                  <a:lnTo>
                    <a:pt x="4" y="428"/>
                  </a:lnTo>
                  <a:lnTo>
                    <a:pt x="14" y="425"/>
                  </a:lnTo>
                  <a:lnTo>
                    <a:pt x="18" y="419"/>
                  </a:lnTo>
                  <a:lnTo>
                    <a:pt x="36" y="413"/>
                  </a:lnTo>
                  <a:lnTo>
                    <a:pt x="46" y="405"/>
                  </a:lnTo>
                  <a:lnTo>
                    <a:pt x="64" y="396"/>
                  </a:lnTo>
                  <a:lnTo>
                    <a:pt x="73" y="391"/>
                  </a:lnTo>
                  <a:lnTo>
                    <a:pt x="82" y="385"/>
                  </a:lnTo>
                  <a:lnTo>
                    <a:pt x="91" y="379"/>
                  </a:lnTo>
                  <a:lnTo>
                    <a:pt x="105" y="373"/>
                  </a:lnTo>
                  <a:lnTo>
                    <a:pt x="119" y="368"/>
                  </a:lnTo>
                  <a:lnTo>
                    <a:pt x="128" y="356"/>
                  </a:lnTo>
                  <a:lnTo>
                    <a:pt x="137" y="353"/>
                  </a:lnTo>
                  <a:lnTo>
                    <a:pt x="151" y="345"/>
                  </a:lnTo>
                  <a:lnTo>
                    <a:pt x="160" y="336"/>
                  </a:lnTo>
                  <a:lnTo>
                    <a:pt x="174" y="328"/>
                  </a:lnTo>
                  <a:lnTo>
                    <a:pt x="187" y="319"/>
                  </a:lnTo>
                  <a:lnTo>
                    <a:pt x="206" y="314"/>
                  </a:lnTo>
                  <a:lnTo>
                    <a:pt x="219" y="302"/>
                  </a:lnTo>
                  <a:lnTo>
                    <a:pt x="233" y="297"/>
                  </a:lnTo>
                  <a:lnTo>
                    <a:pt x="242" y="285"/>
                  </a:lnTo>
                  <a:lnTo>
                    <a:pt x="260" y="277"/>
                  </a:lnTo>
                  <a:lnTo>
                    <a:pt x="274" y="268"/>
                  </a:lnTo>
                  <a:lnTo>
                    <a:pt x="292" y="260"/>
                  </a:lnTo>
                  <a:lnTo>
                    <a:pt x="306" y="248"/>
                  </a:lnTo>
                  <a:lnTo>
                    <a:pt x="320" y="240"/>
                  </a:lnTo>
                  <a:lnTo>
                    <a:pt x="338" y="228"/>
                  </a:lnTo>
                  <a:lnTo>
                    <a:pt x="352" y="220"/>
                  </a:lnTo>
                  <a:lnTo>
                    <a:pt x="366" y="211"/>
                  </a:lnTo>
                  <a:lnTo>
                    <a:pt x="384" y="205"/>
                  </a:lnTo>
                  <a:lnTo>
                    <a:pt x="398" y="194"/>
                  </a:lnTo>
                  <a:lnTo>
                    <a:pt x="416" y="185"/>
                  </a:lnTo>
                  <a:lnTo>
                    <a:pt x="430" y="174"/>
                  </a:lnTo>
                  <a:lnTo>
                    <a:pt x="448" y="166"/>
                  </a:lnTo>
                  <a:lnTo>
                    <a:pt x="462" y="154"/>
                  </a:lnTo>
                  <a:lnTo>
                    <a:pt x="480" y="146"/>
                  </a:lnTo>
                  <a:lnTo>
                    <a:pt x="489" y="137"/>
                  </a:lnTo>
                  <a:lnTo>
                    <a:pt x="507" y="129"/>
                  </a:lnTo>
                  <a:lnTo>
                    <a:pt x="516" y="117"/>
                  </a:lnTo>
                  <a:lnTo>
                    <a:pt x="535" y="109"/>
                  </a:lnTo>
                  <a:lnTo>
                    <a:pt x="548" y="100"/>
                  </a:lnTo>
                  <a:lnTo>
                    <a:pt x="567" y="94"/>
                  </a:lnTo>
                  <a:lnTo>
                    <a:pt x="576" y="83"/>
                  </a:lnTo>
                  <a:lnTo>
                    <a:pt x="589" y="77"/>
                  </a:lnTo>
                  <a:lnTo>
                    <a:pt x="603" y="69"/>
                  </a:lnTo>
                  <a:lnTo>
                    <a:pt x="617" y="60"/>
                  </a:lnTo>
                  <a:lnTo>
                    <a:pt x="626" y="54"/>
                  </a:lnTo>
                  <a:lnTo>
                    <a:pt x="640" y="46"/>
                  </a:lnTo>
                  <a:lnTo>
                    <a:pt x="653" y="40"/>
                  </a:lnTo>
                  <a:lnTo>
                    <a:pt x="663" y="35"/>
                  </a:lnTo>
                  <a:lnTo>
                    <a:pt x="676" y="26"/>
                  </a:lnTo>
                  <a:lnTo>
                    <a:pt x="685" y="20"/>
                  </a:lnTo>
                  <a:lnTo>
                    <a:pt x="695" y="12"/>
                  </a:lnTo>
                  <a:lnTo>
                    <a:pt x="704" y="9"/>
                  </a:lnTo>
                  <a:lnTo>
                    <a:pt x="722" y="0"/>
                  </a:lnTo>
                  <a:lnTo>
                    <a:pt x="603" y="2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84" name="Freeform 76"/>
            <p:cNvSpPr>
              <a:spLocks/>
            </p:cNvSpPr>
            <p:nvPr>
              <p:custDataLst>
                <p:tags r:id="rId183"/>
              </p:custDataLst>
            </p:nvPr>
          </p:nvSpPr>
          <p:spPr bwMode="gray">
            <a:xfrm>
              <a:off x="2900" y="679"/>
              <a:ext cx="1128" cy="487"/>
            </a:xfrm>
            <a:custGeom>
              <a:avLst/>
              <a:gdLst>
                <a:gd name="T0" fmla="*/ 317 w 1101"/>
                <a:gd name="T1" fmla="*/ 5 h 533"/>
                <a:gd name="T2" fmla="*/ 446 w 1101"/>
                <a:gd name="T3" fmla="*/ 8 h 533"/>
                <a:gd name="T4" fmla="*/ 584 w 1101"/>
                <a:gd name="T5" fmla="*/ 11 h 533"/>
                <a:gd name="T6" fmla="*/ 711 w 1101"/>
                <a:gd name="T7" fmla="*/ 14 h 533"/>
                <a:gd name="T8" fmla="*/ 848 w 1101"/>
                <a:gd name="T9" fmla="*/ 16 h 533"/>
                <a:gd name="T10" fmla="*/ 986 w 1101"/>
                <a:gd name="T11" fmla="*/ 20 h 533"/>
                <a:gd name="T12" fmla="*/ 1115 w 1101"/>
                <a:gd name="T13" fmla="*/ 24 h 533"/>
                <a:gd name="T14" fmla="*/ 1238 w 1101"/>
                <a:gd name="T15" fmla="*/ 26 h 533"/>
                <a:gd name="T16" fmla="*/ 1345 w 1101"/>
                <a:gd name="T17" fmla="*/ 30 h 533"/>
                <a:gd name="T18" fmla="*/ 1467 w 1101"/>
                <a:gd name="T19" fmla="*/ 34 h 533"/>
                <a:gd name="T20" fmla="*/ 1579 w 1101"/>
                <a:gd name="T21" fmla="*/ 37 h 533"/>
                <a:gd name="T22" fmla="*/ 1672 w 1101"/>
                <a:gd name="T23" fmla="*/ 38 h 533"/>
                <a:gd name="T24" fmla="*/ 1760 w 1101"/>
                <a:gd name="T25" fmla="*/ 40 h 533"/>
                <a:gd name="T26" fmla="*/ 1844 w 1101"/>
                <a:gd name="T27" fmla="*/ 44 h 533"/>
                <a:gd name="T28" fmla="*/ 1923 w 1101"/>
                <a:gd name="T29" fmla="*/ 45 h 533"/>
                <a:gd name="T30" fmla="*/ 1973 w 1101"/>
                <a:gd name="T31" fmla="*/ 48 h 533"/>
                <a:gd name="T32" fmla="*/ 2041 w 1101"/>
                <a:gd name="T33" fmla="*/ 48 h 533"/>
                <a:gd name="T34" fmla="*/ 2067 w 1101"/>
                <a:gd name="T35" fmla="*/ 51 h 533"/>
                <a:gd name="T36" fmla="*/ 2023 w 1101"/>
                <a:gd name="T37" fmla="*/ 49 h 533"/>
                <a:gd name="T38" fmla="*/ 1982 w 1101"/>
                <a:gd name="T39" fmla="*/ 48 h 533"/>
                <a:gd name="T40" fmla="*/ 1917 w 1101"/>
                <a:gd name="T41" fmla="*/ 48 h 533"/>
                <a:gd name="T42" fmla="*/ 1828 w 1101"/>
                <a:gd name="T43" fmla="*/ 44 h 533"/>
                <a:gd name="T44" fmla="*/ 1743 w 1101"/>
                <a:gd name="T45" fmla="*/ 44 h 533"/>
                <a:gd name="T46" fmla="*/ 1638 w 1101"/>
                <a:gd name="T47" fmla="*/ 40 h 533"/>
                <a:gd name="T48" fmla="*/ 1526 w 1101"/>
                <a:gd name="T49" fmla="*/ 37 h 533"/>
                <a:gd name="T50" fmla="*/ 1406 w 1101"/>
                <a:gd name="T51" fmla="*/ 34 h 533"/>
                <a:gd name="T52" fmla="*/ 1278 w 1101"/>
                <a:gd name="T53" fmla="*/ 31 h 533"/>
                <a:gd name="T54" fmla="*/ 1140 w 1101"/>
                <a:gd name="T55" fmla="*/ 28 h 533"/>
                <a:gd name="T56" fmla="*/ 1012 w 1101"/>
                <a:gd name="T57" fmla="*/ 26 h 533"/>
                <a:gd name="T58" fmla="*/ 875 w 1101"/>
                <a:gd name="T59" fmla="*/ 23 h 533"/>
                <a:gd name="T60" fmla="*/ 756 w 1101"/>
                <a:gd name="T61" fmla="*/ 20 h 533"/>
                <a:gd name="T62" fmla="*/ 626 w 1101"/>
                <a:gd name="T63" fmla="*/ 16 h 533"/>
                <a:gd name="T64" fmla="*/ 507 w 1101"/>
                <a:gd name="T65" fmla="*/ 14 h 533"/>
                <a:gd name="T66" fmla="*/ 394 w 1101"/>
                <a:gd name="T67" fmla="*/ 11 h 533"/>
                <a:gd name="T68" fmla="*/ 290 w 1101"/>
                <a:gd name="T69" fmla="*/ 9 h 533"/>
                <a:gd name="T70" fmla="*/ 199 w 1101"/>
                <a:gd name="T71" fmla="*/ 5 h 533"/>
                <a:gd name="T72" fmla="*/ 129 w 1101"/>
                <a:gd name="T73" fmla="*/ 5 h 533"/>
                <a:gd name="T74" fmla="*/ 58 w 1101"/>
                <a:gd name="T75" fmla="*/ 5 h 533"/>
                <a:gd name="T76" fmla="*/ 9 w 1101"/>
                <a:gd name="T77" fmla="*/ 5 h 533"/>
                <a:gd name="T78" fmla="*/ 0 w 1101"/>
                <a:gd name="T79" fmla="*/ 0 h 533"/>
                <a:gd name="T80" fmla="*/ 53 w 1101"/>
                <a:gd name="T81" fmla="*/ 3 h 533"/>
                <a:gd name="T82" fmla="*/ 129 w 1101"/>
                <a:gd name="T83" fmla="*/ 5 h 533"/>
                <a:gd name="T84" fmla="*/ 189 w 1101"/>
                <a:gd name="T85" fmla="*/ 5 h 533"/>
                <a:gd name="T86" fmla="*/ 229 w 1101"/>
                <a:gd name="T87" fmla="*/ 5 h 53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01"/>
                <a:gd name="T133" fmla="*/ 0 h 533"/>
                <a:gd name="T134" fmla="*/ 1101 w 1101"/>
                <a:gd name="T135" fmla="*/ 533 h 53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01" h="533">
                  <a:moveTo>
                    <a:pt x="128" y="37"/>
                  </a:moveTo>
                  <a:lnTo>
                    <a:pt x="151" y="46"/>
                  </a:lnTo>
                  <a:lnTo>
                    <a:pt x="169" y="54"/>
                  </a:lnTo>
                  <a:lnTo>
                    <a:pt x="192" y="63"/>
                  </a:lnTo>
                  <a:lnTo>
                    <a:pt x="215" y="74"/>
                  </a:lnTo>
                  <a:lnTo>
                    <a:pt x="238" y="83"/>
                  </a:lnTo>
                  <a:lnTo>
                    <a:pt x="265" y="91"/>
                  </a:lnTo>
                  <a:lnTo>
                    <a:pt x="283" y="103"/>
                  </a:lnTo>
                  <a:lnTo>
                    <a:pt x="311" y="114"/>
                  </a:lnTo>
                  <a:lnTo>
                    <a:pt x="334" y="126"/>
                  </a:lnTo>
                  <a:lnTo>
                    <a:pt x="352" y="137"/>
                  </a:lnTo>
                  <a:lnTo>
                    <a:pt x="379" y="146"/>
                  </a:lnTo>
                  <a:lnTo>
                    <a:pt x="407" y="157"/>
                  </a:lnTo>
                  <a:lnTo>
                    <a:pt x="425" y="165"/>
                  </a:lnTo>
                  <a:lnTo>
                    <a:pt x="452" y="180"/>
                  </a:lnTo>
                  <a:lnTo>
                    <a:pt x="475" y="191"/>
                  </a:lnTo>
                  <a:lnTo>
                    <a:pt x="503" y="202"/>
                  </a:lnTo>
                  <a:lnTo>
                    <a:pt x="525" y="214"/>
                  </a:lnTo>
                  <a:lnTo>
                    <a:pt x="548" y="222"/>
                  </a:lnTo>
                  <a:lnTo>
                    <a:pt x="571" y="237"/>
                  </a:lnTo>
                  <a:lnTo>
                    <a:pt x="594" y="245"/>
                  </a:lnTo>
                  <a:lnTo>
                    <a:pt x="612" y="257"/>
                  </a:lnTo>
                  <a:lnTo>
                    <a:pt x="635" y="268"/>
                  </a:lnTo>
                  <a:lnTo>
                    <a:pt x="658" y="279"/>
                  </a:lnTo>
                  <a:lnTo>
                    <a:pt x="681" y="291"/>
                  </a:lnTo>
                  <a:lnTo>
                    <a:pt x="699" y="299"/>
                  </a:lnTo>
                  <a:lnTo>
                    <a:pt x="717" y="311"/>
                  </a:lnTo>
                  <a:lnTo>
                    <a:pt x="740" y="322"/>
                  </a:lnTo>
                  <a:lnTo>
                    <a:pt x="763" y="333"/>
                  </a:lnTo>
                  <a:lnTo>
                    <a:pt x="781" y="345"/>
                  </a:lnTo>
                  <a:lnTo>
                    <a:pt x="800" y="353"/>
                  </a:lnTo>
                  <a:lnTo>
                    <a:pt x="823" y="365"/>
                  </a:lnTo>
                  <a:lnTo>
                    <a:pt x="841" y="376"/>
                  </a:lnTo>
                  <a:lnTo>
                    <a:pt x="859" y="385"/>
                  </a:lnTo>
                  <a:lnTo>
                    <a:pt x="877" y="393"/>
                  </a:lnTo>
                  <a:lnTo>
                    <a:pt x="891" y="405"/>
                  </a:lnTo>
                  <a:lnTo>
                    <a:pt x="909" y="413"/>
                  </a:lnTo>
                  <a:lnTo>
                    <a:pt x="923" y="422"/>
                  </a:lnTo>
                  <a:lnTo>
                    <a:pt x="937" y="430"/>
                  </a:lnTo>
                  <a:lnTo>
                    <a:pt x="955" y="439"/>
                  </a:lnTo>
                  <a:lnTo>
                    <a:pt x="969" y="450"/>
                  </a:lnTo>
                  <a:lnTo>
                    <a:pt x="982" y="456"/>
                  </a:lnTo>
                  <a:lnTo>
                    <a:pt x="996" y="464"/>
                  </a:lnTo>
                  <a:lnTo>
                    <a:pt x="1010" y="473"/>
                  </a:lnTo>
                  <a:lnTo>
                    <a:pt x="1024" y="479"/>
                  </a:lnTo>
                  <a:lnTo>
                    <a:pt x="1028" y="484"/>
                  </a:lnTo>
                  <a:lnTo>
                    <a:pt x="1042" y="493"/>
                  </a:lnTo>
                  <a:lnTo>
                    <a:pt x="1051" y="499"/>
                  </a:lnTo>
                  <a:lnTo>
                    <a:pt x="1060" y="504"/>
                  </a:lnTo>
                  <a:lnTo>
                    <a:pt x="1078" y="516"/>
                  </a:lnTo>
                  <a:lnTo>
                    <a:pt x="1088" y="521"/>
                  </a:lnTo>
                  <a:lnTo>
                    <a:pt x="1097" y="527"/>
                  </a:lnTo>
                  <a:lnTo>
                    <a:pt x="1101" y="530"/>
                  </a:lnTo>
                  <a:lnTo>
                    <a:pt x="1101" y="533"/>
                  </a:lnTo>
                  <a:lnTo>
                    <a:pt x="1097" y="533"/>
                  </a:lnTo>
                  <a:lnTo>
                    <a:pt x="1092" y="527"/>
                  </a:lnTo>
                  <a:lnTo>
                    <a:pt x="1078" y="524"/>
                  </a:lnTo>
                  <a:lnTo>
                    <a:pt x="1074" y="521"/>
                  </a:lnTo>
                  <a:lnTo>
                    <a:pt x="1065" y="516"/>
                  </a:lnTo>
                  <a:lnTo>
                    <a:pt x="1056" y="510"/>
                  </a:lnTo>
                  <a:lnTo>
                    <a:pt x="1042" y="504"/>
                  </a:lnTo>
                  <a:lnTo>
                    <a:pt x="1033" y="501"/>
                  </a:lnTo>
                  <a:lnTo>
                    <a:pt x="1019" y="493"/>
                  </a:lnTo>
                  <a:lnTo>
                    <a:pt x="1005" y="487"/>
                  </a:lnTo>
                  <a:lnTo>
                    <a:pt x="992" y="482"/>
                  </a:lnTo>
                  <a:lnTo>
                    <a:pt x="973" y="473"/>
                  </a:lnTo>
                  <a:lnTo>
                    <a:pt x="960" y="467"/>
                  </a:lnTo>
                  <a:lnTo>
                    <a:pt x="941" y="459"/>
                  </a:lnTo>
                  <a:lnTo>
                    <a:pt x="928" y="450"/>
                  </a:lnTo>
                  <a:lnTo>
                    <a:pt x="909" y="442"/>
                  </a:lnTo>
                  <a:lnTo>
                    <a:pt x="891" y="433"/>
                  </a:lnTo>
                  <a:lnTo>
                    <a:pt x="873" y="425"/>
                  </a:lnTo>
                  <a:lnTo>
                    <a:pt x="855" y="416"/>
                  </a:lnTo>
                  <a:lnTo>
                    <a:pt x="832" y="405"/>
                  </a:lnTo>
                  <a:lnTo>
                    <a:pt x="813" y="393"/>
                  </a:lnTo>
                  <a:lnTo>
                    <a:pt x="791" y="385"/>
                  </a:lnTo>
                  <a:lnTo>
                    <a:pt x="768" y="376"/>
                  </a:lnTo>
                  <a:lnTo>
                    <a:pt x="749" y="365"/>
                  </a:lnTo>
                  <a:lnTo>
                    <a:pt x="722" y="353"/>
                  </a:lnTo>
                  <a:lnTo>
                    <a:pt x="699" y="342"/>
                  </a:lnTo>
                  <a:lnTo>
                    <a:pt x="681" y="333"/>
                  </a:lnTo>
                  <a:lnTo>
                    <a:pt x="658" y="322"/>
                  </a:lnTo>
                  <a:lnTo>
                    <a:pt x="631" y="311"/>
                  </a:lnTo>
                  <a:lnTo>
                    <a:pt x="608" y="299"/>
                  </a:lnTo>
                  <a:lnTo>
                    <a:pt x="589" y="291"/>
                  </a:lnTo>
                  <a:lnTo>
                    <a:pt x="562" y="279"/>
                  </a:lnTo>
                  <a:lnTo>
                    <a:pt x="539" y="268"/>
                  </a:lnTo>
                  <a:lnTo>
                    <a:pt x="516" y="257"/>
                  </a:lnTo>
                  <a:lnTo>
                    <a:pt x="493" y="248"/>
                  </a:lnTo>
                  <a:lnTo>
                    <a:pt x="466" y="237"/>
                  </a:lnTo>
                  <a:lnTo>
                    <a:pt x="443" y="225"/>
                  </a:lnTo>
                  <a:lnTo>
                    <a:pt x="425" y="214"/>
                  </a:lnTo>
                  <a:lnTo>
                    <a:pt x="402" y="202"/>
                  </a:lnTo>
                  <a:lnTo>
                    <a:pt x="375" y="194"/>
                  </a:lnTo>
                  <a:lnTo>
                    <a:pt x="352" y="183"/>
                  </a:lnTo>
                  <a:lnTo>
                    <a:pt x="334" y="171"/>
                  </a:lnTo>
                  <a:lnTo>
                    <a:pt x="315" y="160"/>
                  </a:lnTo>
                  <a:lnTo>
                    <a:pt x="292" y="151"/>
                  </a:lnTo>
                  <a:lnTo>
                    <a:pt x="270" y="140"/>
                  </a:lnTo>
                  <a:lnTo>
                    <a:pt x="247" y="128"/>
                  </a:lnTo>
                  <a:lnTo>
                    <a:pt x="228" y="123"/>
                  </a:lnTo>
                  <a:lnTo>
                    <a:pt x="210" y="111"/>
                  </a:lnTo>
                  <a:lnTo>
                    <a:pt x="187" y="103"/>
                  </a:lnTo>
                  <a:lnTo>
                    <a:pt x="174" y="94"/>
                  </a:lnTo>
                  <a:lnTo>
                    <a:pt x="155" y="89"/>
                  </a:lnTo>
                  <a:lnTo>
                    <a:pt x="142" y="77"/>
                  </a:lnTo>
                  <a:lnTo>
                    <a:pt x="123" y="69"/>
                  </a:lnTo>
                  <a:lnTo>
                    <a:pt x="105" y="63"/>
                  </a:lnTo>
                  <a:lnTo>
                    <a:pt x="96" y="54"/>
                  </a:lnTo>
                  <a:lnTo>
                    <a:pt x="78" y="49"/>
                  </a:lnTo>
                  <a:lnTo>
                    <a:pt x="68" y="43"/>
                  </a:lnTo>
                  <a:lnTo>
                    <a:pt x="59" y="34"/>
                  </a:lnTo>
                  <a:lnTo>
                    <a:pt x="46" y="32"/>
                  </a:lnTo>
                  <a:lnTo>
                    <a:pt x="32" y="23"/>
                  </a:lnTo>
                  <a:lnTo>
                    <a:pt x="27" y="20"/>
                  </a:lnTo>
                  <a:lnTo>
                    <a:pt x="18" y="17"/>
                  </a:lnTo>
                  <a:lnTo>
                    <a:pt x="9" y="12"/>
                  </a:lnTo>
                  <a:lnTo>
                    <a:pt x="4" y="9"/>
                  </a:lnTo>
                  <a:lnTo>
                    <a:pt x="0" y="3"/>
                  </a:lnTo>
                  <a:lnTo>
                    <a:pt x="0" y="0"/>
                  </a:lnTo>
                  <a:lnTo>
                    <a:pt x="9" y="0"/>
                  </a:lnTo>
                  <a:lnTo>
                    <a:pt x="18" y="0"/>
                  </a:lnTo>
                  <a:lnTo>
                    <a:pt x="27" y="3"/>
                  </a:lnTo>
                  <a:lnTo>
                    <a:pt x="46" y="6"/>
                  </a:lnTo>
                  <a:lnTo>
                    <a:pt x="59" y="12"/>
                  </a:lnTo>
                  <a:lnTo>
                    <a:pt x="68" y="15"/>
                  </a:lnTo>
                  <a:lnTo>
                    <a:pt x="78" y="20"/>
                  </a:lnTo>
                  <a:lnTo>
                    <a:pt x="91" y="23"/>
                  </a:lnTo>
                  <a:lnTo>
                    <a:pt x="100" y="29"/>
                  </a:lnTo>
                  <a:lnTo>
                    <a:pt x="114" y="32"/>
                  </a:lnTo>
                  <a:lnTo>
                    <a:pt x="119" y="34"/>
                  </a:lnTo>
                  <a:lnTo>
                    <a:pt x="123" y="37"/>
                  </a:lnTo>
                  <a:lnTo>
                    <a:pt x="128" y="37"/>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85" name="Freeform 77"/>
            <p:cNvSpPr>
              <a:spLocks/>
            </p:cNvSpPr>
            <p:nvPr>
              <p:custDataLst>
                <p:tags r:id="rId184"/>
              </p:custDataLst>
            </p:nvPr>
          </p:nvSpPr>
          <p:spPr bwMode="gray">
            <a:xfrm>
              <a:off x="1476" y="993"/>
              <a:ext cx="2230" cy="143"/>
            </a:xfrm>
            <a:custGeom>
              <a:avLst/>
              <a:gdLst>
                <a:gd name="T0" fmla="*/ 480 w 2175"/>
                <a:gd name="T1" fmla="*/ 5 h 156"/>
                <a:gd name="T2" fmla="*/ 793 w 2175"/>
                <a:gd name="T3" fmla="*/ 8 h 156"/>
                <a:gd name="T4" fmla="*/ 1102 w 2175"/>
                <a:gd name="T5" fmla="*/ 12 h 156"/>
                <a:gd name="T6" fmla="*/ 1409 w 2175"/>
                <a:gd name="T7" fmla="*/ 14 h 156"/>
                <a:gd name="T8" fmla="*/ 1696 w 2175"/>
                <a:gd name="T9" fmla="*/ 15 h 156"/>
                <a:gd name="T10" fmla="*/ 1984 w 2175"/>
                <a:gd name="T11" fmla="*/ 16 h 156"/>
                <a:gd name="T12" fmla="*/ 2256 w 2175"/>
                <a:gd name="T13" fmla="*/ 16 h 156"/>
                <a:gd name="T14" fmla="*/ 2500 w 2175"/>
                <a:gd name="T15" fmla="*/ 17 h 156"/>
                <a:gd name="T16" fmla="*/ 2744 w 2175"/>
                <a:gd name="T17" fmla="*/ 17 h 156"/>
                <a:gd name="T18" fmla="*/ 2971 w 2175"/>
                <a:gd name="T19" fmla="*/ 17 h 156"/>
                <a:gd name="T20" fmla="*/ 3190 w 2175"/>
                <a:gd name="T21" fmla="*/ 17 h 156"/>
                <a:gd name="T22" fmla="*/ 3383 w 2175"/>
                <a:gd name="T23" fmla="*/ 16 h 156"/>
                <a:gd name="T24" fmla="*/ 3550 w 2175"/>
                <a:gd name="T25" fmla="*/ 16 h 156"/>
                <a:gd name="T26" fmla="*/ 3706 w 2175"/>
                <a:gd name="T27" fmla="*/ 15 h 156"/>
                <a:gd name="T28" fmla="*/ 3850 w 2175"/>
                <a:gd name="T29" fmla="*/ 15 h 156"/>
                <a:gd name="T30" fmla="*/ 3961 w 2175"/>
                <a:gd name="T31" fmla="*/ 14 h 156"/>
                <a:gd name="T32" fmla="*/ 4044 w 2175"/>
                <a:gd name="T33" fmla="*/ 13 h 156"/>
                <a:gd name="T34" fmla="*/ 4112 w 2175"/>
                <a:gd name="T35" fmla="*/ 13 h 156"/>
                <a:gd name="T36" fmla="*/ 4153 w 2175"/>
                <a:gd name="T37" fmla="*/ 13 h 156"/>
                <a:gd name="T38" fmla="*/ 4127 w 2175"/>
                <a:gd name="T39" fmla="*/ 12 h 156"/>
                <a:gd name="T40" fmla="*/ 4064 w 2175"/>
                <a:gd name="T41" fmla="*/ 12 h 156"/>
                <a:gd name="T42" fmla="*/ 3997 w 2175"/>
                <a:gd name="T43" fmla="*/ 13 h 156"/>
                <a:gd name="T44" fmla="*/ 3926 w 2175"/>
                <a:gd name="T45" fmla="*/ 13 h 156"/>
                <a:gd name="T46" fmla="*/ 3841 w 2175"/>
                <a:gd name="T47" fmla="*/ 13 h 156"/>
                <a:gd name="T48" fmla="*/ 3743 w 2175"/>
                <a:gd name="T49" fmla="*/ 13 h 156"/>
                <a:gd name="T50" fmla="*/ 3639 w 2175"/>
                <a:gd name="T51" fmla="*/ 13 h 156"/>
                <a:gd name="T52" fmla="*/ 3525 w 2175"/>
                <a:gd name="T53" fmla="*/ 13 h 156"/>
                <a:gd name="T54" fmla="*/ 3402 w 2175"/>
                <a:gd name="T55" fmla="*/ 14 h 156"/>
                <a:gd name="T56" fmla="*/ 3279 w 2175"/>
                <a:gd name="T57" fmla="*/ 14 h 156"/>
                <a:gd name="T58" fmla="*/ 3157 w 2175"/>
                <a:gd name="T59" fmla="*/ 14 h 156"/>
                <a:gd name="T60" fmla="*/ 3027 w 2175"/>
                <a:gd name="T61" fmla="*/ 14 h 156"/>
                <a:gd name="T62" fmla="*/ 2892 w 2175"/>
                <a:gd name="T63" fmla="*/ 14 h 156"/>
                <a:gd name="T64" fmla="*/ 2744 w 2175"/>
                <a:gd name="T65" fmla="*/ 14 h 156"/>
                <a:gd name="T66" fmla="*/ 2611 w 2175"/>
                <a:gd name="T67" fmla="*/ 14 h 156"/>
                <a:gd name="T68" fmla="*/ 2476 w 2175"/>
                <a:gd name="T69" fmla="*/ 13 h 156"/>
                <a:gd name="T70" fmla="*/ 2345 w 2175"/>
                <a:gd name="T71" fmla="*/ 13 h 156"/>
                <a:gd name="T72" fmla="*/ 2201 w 2175"/>
                <a:gd name="T73" fmla="*/ 13 h 156"/>
                <a:gd name="T74" fmla="*/ 2065 w 2175"/>
                <a:gd name="T75" fmla="*/ 13 h 156"/>
                <a:gd name="T76" fmla="*/ 1941 w 2175"/>
                <a:gd name="T77" fmla="*/ 12 h 156"/>
                <a:gd name="T78" fmla="*/ 1810 w 2175"/>
                <a:gd name="T79" fmla="*/ 11 h 156"/>
                <a:gd name="T80" fmla="*/ 1696 w 2175"/>
                <a:gd name="T81" fmla="*/ 11 h 156"/>
                <a:gd name="T82" fmla="*/ 1583 w 2175"/>
                <a:gd name="T83" fmla="*/ 10 h 156"/>
                <a:gd name="T84" fmla="*/ 1459 w 2175"/>
                <a:gd name="T85" fmla="*/ 9 h 156"/>
                <a:gd name="T86" fmla="*/ 1347 w 2175"/>
                <a:gd name="T87" fmla="*/ 8 h 156"/>
                <a:gd name="T88" fmla="*/ 1233 w 2175"/>
                <a:gd name="T89" fmla="*/ 7 h 156"/>
                <a:gd name="T90" fmla="*/ 1121 w 2175"/>
                <a:gd name="T91" fmla="*/ 6 h 156"/>
                <a:gd name="T92" fmla="*/ 1004 w 2175"/>
                <a:gd name="T93" fmla="*/ 5 h 156"/>
                <a:gd name="T94" fmla="*/ 899 w 2175"/>
                <a:gd name="T95" fmla="*/ 5 h 156"/>
                <a:gd name="T96" fmla="*/ 793 w 2175"/>
                <a:gd name="T97" fmla="*/ 5 h 156"/>
                <a:gd name="T98" fmla="*/ 697 w 2175"/>
                <a:gd name="T99" fmla="*/ 5 h 156"/>
                <a:gd name="T100" fmla="*/ 601 w 2175"/>
                <a:gd name="T101" fmla="*/ 5 h 156"/>
                <a:gd name="T102" fmla="*/ 516 w 2175"/>
                <a:gd name="T103" fmla="*/ 5 h 156"/>
                <a:gd name="T104" fmla="*/ 429 w 2175"/>
                <a:gd name="T105" fmla="*/ 5 h 156"/>
                <a:gd name="T106" fmla="*/ 349 w 2175"/>
                <a:gd name="T107" fmla="*/ 5 h 156"/>
                <a:gd name="T108" fmla="*/ 270 w 2175"/>
                <a:gd name="T109" fmla="*/ 5 h 156"/>
                <a:gd name="T110" fmla="*/ 209 w 2175"/>
                <a:gd name="T111" fmla="*/ 5 h 156"/>
                <a:gd name="T112" fmla="*/ 145 w 2175"/>
                <a:gd name="T113" fmla="*/ 5 h 156"/>
                <a:gd name="T114" fmla="*/ 74 w 2175"/>
                <a:gd name="T115" fmla="*/ 5 h 156"/>
                <a:gd name="T116" fmla="*/ 4 w 2175"/>
                <a:gd name="T117" fmla="*/ 0 h 156"/>
                <a:gd name="T118" fmla="*/ 270 w 2175"/>
                <a:gd name="T119" fmla="*/ 5 h 1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75"/>
                <a:gd name="T181" fmla="*/ 0 h 156"/>
                <a:gd name="T182" fmla="*/ 2175 w 2175"/>
                <a:gd name="T183" fmla="*/ 156 h 1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75" h="156">
                  <a:moveTo>
                    <a:pt x="141" y="34"/>
                  </a:moveTo>
                  <a:lnTo>
                    <a:pt x="196" y="43"/>
                  </a:lnTo>
                  <a:lnTo>
                    <a:pt x="251" y="54"/>
                  </a:lnTo>
                  <a:lnTo>
                    <a:pt x="306" y="63"/>
                  </a:lnTo>
                  <a:lnTo>
                    <a:pt x="361" y="74"/>
                  </a:lnTo>
                  <a:lnTo>
                    <a:pt x="415" y="80"/>
                  </a:lnTo>
                  <a:lnTo>
                    <a:pt x="470" y="88"/>
                  </a:lnTo>
                  <a:lnTo>
                    <a:pt x="521" y="97"/>
                  </a:lnTo>
                  <a:lnTo>
                    <a:pt x="575" y="105"/>
                  </a:lnTo>
                  <a:lnTo>
                    <a:pt x="630" y="111"/>
                  </a:lnTo>
                  <a:lnTo>
                    <a:pt x="685" y="117"/>
                  </a:lnTo>
                  <a:lnTo>
                    <a:pt x="735" y="119"/>
                  </a:lnTo>
                  <a:lnTo>
                    <a:pt x="786" y="128"/>
                  </a:lnTo>
                  <a:lnTo>
                    <a:pt x="836" y="128"/>
                  </a:lnTo>
                  <a:lnTo>
                    <a:pt x="886" y="134"/>
                  </a:lnTo>
                  <a:lnTo>
                    <a:pt x="936" y="137"/>
                  </a:lnTo>
                  <a:lnTo>
                    <a:pt x="991" y="142"/>
                  </a:lnTo>
                  <a:lnTo>
                    <a:pt x="1037" y="145"/>
                  </a:lnTo>
                  <a:lnTo>
                    <a:pt x="1083" y="148"/>
                  </a:lnTo>
                  <a:lnTo>
                    <a:pt x="1128" y="148"/>
                  </a:lnTo>
                  <a:lnTo>
                    <a:pt x="1179" y="151"/>
                  </a:lnTo>
                  <a:lnTo>
                    <a:pt x="1220" y="154"/>
                  </a:lnTo>
                  <a:lnTo>
                    <a:pt x="1266" y="156"/>
                  </a:lnTo>
                  <a:lnTo>
                    <a:pt x="1307" y="156"/>
                  </a:lnTo>
                  <a:lnTo>
                    <a:pt x="1352" y="156"/>
                  </a:lnTo>
                  <a:lnTo>
                    <a:pt x="1398" y="156"/>
                  </a:lnTo>
                  <a:lnTo>
                    <a:pt x="1435" y="156"/>
                  </a:lnTo>
                  <a:lnTo>
                    <a:pt x="1476" y="156"/>
                  </a:lnTo>
                  <a:lnTo>
                    <a:pt x="1517" y="156"/>
                  </a:lnTo>
                  <a:lnTo>
                    <a:pt x="1553" y="156"/>
                  </a:lnTo>
                  <a:lnTo>
                    <a:pt x="1590" y="156"/>
                  </a:lnTo>
                  <a:lnTo>
                    <a:pt x="1631" y="156"/>
                  </a:lnTo>
                  <a:lnTo>
                    <a:pt x="1668" y="156"/>
                  </a:lnTo>
                  <a:lnTo>
                    <a:pt x="1704" y="151"/>
                  </a:lnTo>
                  <a:lnTo>
                    <a:pt x="1732" y="148"/>
                  </a:lnTo>
                  <a:lnTo>
                    <a:pt x="1768" y="148"/>
                  </a:lnTo>
                  <a:lnTo>
                    <a:pt x="1796" y="148"/>
                  </a:lnTo>
                  <a:lnTo>
                    <a:pt x="1828" y="145"/>
                  </a:lnTo>
                  <a:lnTo>
                    <a:pt x="1855" y="145"/>
                  </a:lnTo>
                  <a:lnTo>
                    <a:pt x="1887" y="139"/>
                  </a:lnTo>
                  <a:lnTo>
                    <a:pt x="1914" y="139"/>
                  </a:lnTo>
                  <a:lnTo>
                    <a:pt x="1937" y="137"/>
                  </a:lnTo>
                  <a:lnTo>
                    <a:pt x="1965" y="137"/>
                  </a:lnTo>
                  <a:lnTo>
                    <a:pt x="1988" y="134"/>
                  </a:lnTo>
                  <a:lnTo>
                    <a:pt x="2010" y="131"/>
                  </a:lnTo>
                  <a:lnTo>
                    <a:pt x="2029" y="128"/>
                  </a:lnTo>
                  <a:lnTo>
                    <a:pt x="2052" y="128"/>
                  </a:lnTo>
                  <a:lnTo>
                    <a:pt x="2070" y="125"/>
                  </a:lnTo>
                  <a:lnTo>
                    <a:pt x="2088" y="122"/>
                  </a:lnTo>
                  <a:lnTo>
                    <a:pt x="2102" y="119"/>
                  </a:lnTo>
                  <a:lnTo>
                    <a:pt x="2111" y="117"/>
                  </a:lnTo>
                  <a:lnTo>
                    <a:pt x="2125" y="117"/>
                  </a:lnTo>
                  <a:lnTo>
                    <a:pt x="2138" y="114"/>
                  </a:lnTo>
                  <a:lnTo>
                    <a:pt x="2148" y="114"/>
                  </a:lnTo>
                  <a:lnTo>
                    <a:pt x="2157" y="111"/>
                  </a:lnTo>
                  <a:lnTo>
                    <a:pt x="2161" y="111"/>
                  </a:lnTo>
                  <a:lnTo>
                    <a:pt x="2170" y="111"/>
                  </a:lnTo>
                  <a:lnTo>
                    <a:pt x="2175" y="105"/>
                  </a:lnTo>
                  <a:lnTo>
                    <a:pt x="2170" y="105"/>
                  </a:lnTo>
                  <a:lnTo>
                    <a:pt x="2157" y="108"/>
                  </a:lnTo>
                  <a:lnTo>
                    <a:pt x="2148" y="108"/>
                  </a:lnTo>
                  <a:lnTo>
                    <a:pt x="2138" y="108"/>
                  </a:lnTo>
                  <a:lnTo>
                    <a:pt x="2125" y="108"/>
                  </a:lnTo>
                  <a:lnTo>
                    <a:pt x="2116" y="108"/>
                  </a:lnTo>
                  <a:lnTo>
                    <a:pt x="2102" y="108"/>
                  </a:lnTo>
                  <a:lnTo>
                    <a:pt x="2088" y="111"/>
                  </a:lnTo>
                  <a:lnTo>
                    <a:pt x="2079" y="111"/>
                  </a:lnTo>
                  <a:lnTo>
                    <a:pt x="2070" y="111"/>
                  </a:lnTo>
                  <a:lnTo>
                    <a:pt x="2052" y="111"/>
                  </a:lnTo>
                  <a:lnTo>
                    <a:pt x="2033" y="111"/>
                  </a:lnTo>
                  <a:lnTo>
                    <a:pt x="2020" y="114"/>
                  </a:lnTo>
                  <a:lnTo>
                    <a:pt x="2006" y="114"/>
                  </a:lnTo>
                  <a:lnTo>
                    <a:pt x="1988" y="114"/>
                  </a:lnTo>
                  <a:lnTo>
                    <a:pt x="1969" y="114"/>
                  </a:lnTo>
                  <a:lnTo>
                    <a:pt x="1956" y="114"/>
                  </a:lnTo>
                  <a:lnTo>
                    <a:pt x="1942" y="117"/>
                  </a:lnTo>
                  <a:lnTo>
                    <a:pt x="1919" y="117"/>
                  </a:lnTo>
                  <a:lnTo>
                    <a:pt x="1901" y="117"/>
                  </a:lnTo>
                  <a:lnTo>
                    <a:pt x="1882" y="117"/>
                  </a:lnTo>
                  <a:lnTo>
                    <a:pt x="1864" y="117"/>
                  </a:lnTo>
                  <a:lnTo>
                    <a:pt x="1841" y="117"/>
                  </a:lnTo>
                  <a:lnTo>
                    <a:pt x="1823" y="117"/>
                  </a:lnTo>
                  <a:lnTo>
                    <a:pt x="1800" y="117"/>
                  </a:lnTo>
                  <a:lnTo>
                    <a:pt x="1777" y="119"/>
                  </a:lnTo>
                  <a:lnTo>
                    <a:pt x="1759" y="119"/>
                  </a:lnTo>
                  <a:lnTo>
                    <a:pt x="1741" y="119"/>
                  </a:lnTo>
                  <a:lnTo>
                    <a:pt x="1713" y="119"/>
                  </a:lnTo>
                  <a:lnTo>
                    <a:pt x="1695" y="119"/>
                  </a:lnTo>
                  <a:lnTo>
                    <a:pt x="1672" y="119"/>
                  </a:lnTo>
                  <a:lnTo>
                    <a:pt x="1649" y="119"/>
                  </a:lnTo>
                  <a:lnTo>
                    <a:pt x="1627" y="119"/>
                  </a:lnTo>
                  <a:lnTo>
                    <a:pt x="1604" y="122"/>
                  </a:lnTo>
                  <a:lnTo>
                    <a:pt x="1581" y="119"/>
                  </a:lnTo>
                  <a:lnTo>
                    <a:pt x="1558" y="119"/>
                  </a:lnTo>
                  <a:lnTo>
                    <a:pt x="1535" y="119"/>
                  </a:lnTo>
                  <a:lnTo>
                    <a:pt x="1512" y="119"/>
                  </a:lnTo>
                  <a:lnTo>
                    <a:pt x="1485" y="119"/>
                  </a:lnTo>
                  <a:lnTo>
                    <a:pt x="1462" y="119"/>
                  </a:lnTo>
                  <a:lnTo>
                    <a:pt x="1435" y="119"/>
                  </a:lnTo>
                  <a:lnTo>
                    <a:pt x="1416" y="119"/>
                  </a:lnTo>
                  <a:lnTo>
                    <a:pt x="1389" y="119"/>
                  </a:lnTo>
                  <a:lnTo>
                    <a:pt x="1366" y="119"/>
                  </a:lnTo>
                  <a:lnTo>
                    <a:pt x="1343" y="117"/>
                  </a:lnTo>
                  <a:lnTo>
                    <a:pt x="1316" y="117"/>
                  </a:lnTo>
                  <a:lnTo>
                    <a:pt x="1293" y="117"/>
                  </a:lnTo>
                  <a:lnTo>
                    <a:pt x="1270" y="117"/>
                  </a:lnTo>
                  <a:lnTo>
                    <a:pt x="1247" y="117"/>
                  </a:lnTo>
                  <a:lnTo>
                    <a:pt x="1224" y="117"/>
                  </a:lnTo>
                  <a:lnTo>
                    <a:pt x="1197" y="114"/>
                  </a:lnTo>
                  <a:lnTo>
                    <a:pt x="1174" y="114"/>
                  </a:lnTo>
                  <a:lnTo>
                    <a:pt x="1151" y="114"/>
                  </a:lnTo>
                  <a:lnTo>
                    <a:pt x="1124" y="114"/>
                  </a:lnTo>
                  <a:lnTo>
                    <a:pt x="1101" y="111"/>
                  </a:lnTo>
                  <a:lnTo>
                    <a:pt x="1078" y="111"/>
                  </a:lnTo>
                  <a:lnTo>
                    <a:pt x="1055" y="108"/>
                  </a:lnTo>
                  <a:lnTo>
                    <a:pt x="1037" y="108"/>
                  </a:lnTo>
                  <a:lnTo>
                    <a:pt x="1014" y="105"/>
                  </a:lnTo>
                  <a:lnTo>
                    <a:pt x="991" y="105"/>
                  </a:lnTo>
                  <a:lnTo>
                    <a:pt x="968" y="102"/>
                  </a:lnTo>
                  <a:lnTo>
                    <a:pt x="946" y="100"/>
                  </a:lnTo>
                  <a:lnTo>
                    <a:pt x="923" y="100"/>
                  </a:lnTo>
                  <a:lnTo>
                    <a:pt x="904" y="97"/>
                  </a:lnTo>
                  <a:lnTo>
                    <a:pt x="886" y="97"/>
                  </a:lnTo>
                  <a:lnTo>
                    <a:pt x="868" y="94"/>
                  </a:lnTo>
                  <a:lnTo>
                    <a:pt x="845" y="91"/>
                  </a:lnTo>
                  <a:lnTo>
                    <a:pt x="827" y="91"/>
                  </a:lnTo>
                  <a:lnTo>
                    <a:pt x="804" y="85"/>
                  </a:lnTo>
                  <a:lnTo>
                    <a:pt x="786" y="85"/>
                  </a:lnTo>
                  <a:lnTo>
                    <a:pt x="763" y="82"/>
                  </a:lnTo>
                  <a:lnTo>
                    <a:pt x="745" y="80"/>
                  </a:lnTo>
                  <a:lnTo>
                    <a:pt x="726" y="77"/>
                  </a:lnTo>
                  <a:lnTo>
                    <a:pt x="703" y="77"/>
                  </a:lnTo>
                  <a:lnTo>
                    <a:pt x="681" y="74"/>
                  </a:lnTo>
                  <a:lnTo>
                    <a:pt x="662" y="71"/>
                  </a:lnTo>
                  <a:lnTo>
                    <a:pt x="644" y="68"/>
                  </a:lnTo>
                  <a:lnTo>
                    <a:pt x="626" y="68"/>
                  </a:lnTo>
                  <a:lnTo>
                    <a:pt x="603" y="65"/>
                  </a:lnTo>
                  <a:lnTo>
                    <a:pt x="585" y="63"/>
                  </a:lnTo>
                  <a:lnTo>
                    <a:pt x="566" y="60"/>
                  </a:lnTo>
                  <a:lnTo>
                    <a:pt x="548" y="60"/>
                  </a:lnTo>
                  <a:lnTo>
                    <a:pt x="525" y="57"/>
                  </a:lnTo>
                  <a:lnTo>
                    <a:pt x="507" y="54"/>
                  </a:lnTo>
                  <a:lnTo>
                    <a:pt x="489" y="51"/>
                  </a:lnTo>
                  <a:lnTo>
                    <a:pt x="470" y="51"/>
                  </a:lnTo>
                  <a:lnTo>
                    <a:pt x="452" y="48"/>
                  </a:lnTo>
                  <a:lnTo>
                    <a:pt x="434" y="45"/>
                  </a:lnTo>
                  <a:lnTo>
                    <a:pt x="415" y="43"/>
                  </a:lnTo>
                  <a:lnTo>
                    <a:pt x="402" y="43"/>
                  </a:lnTo>
                  <a:lnTo>
                    <a:pt x="383" y="40"/>
                  </a:lnTo>
                  <a:lnTo>
                    <a:pt x="365" y="40"/>
                  </a:lnTo>
                  <a:lnTo>
                    <a:pt x="351" y="37"/>
                  </a:lnTo>
                  <a:lnTo>
                    <a:pt x="333" y="34"/>
                  </a:lnTo>
                  <a:lnTo>
                    <a:pt x="315" y="34"/>
                  </a:lnTo>
                  <a:lnTo>
                    <a:pt x="301" y="31"/>
                  </a:lnTo>
                  <a:lnTo>
                    <a:pt x="283" y="31"/>
                  </a:lnTo>
                  <a:lnTo>
                    <a:pt x="269" y="31"/>
                  </a:lnTo>
                  <a:lnTo>
                    <a:pt x="256" y="28"/>
                  </a:lnTo>
                  <a:lnTo>
                    <a:pt x="237" y="28"/>
                  </a:lnTo>
                  <a:lnTo>
                    <a:pt x="224" y="23"/>
                  </a:lnTo>
                  <a:lnTo>
                    <a:pt x="210" y="23"/>
                  </a:lnTo>
                  <a:lnTo>
                    <a:pt x="196" y="20"/>
                  </a:lnTo>
                  <a:lnTo>
                    <a:pt x="182" y="20"/>
                  </a:lnTo>
                  <a:lnTo>
                    <a:pt x="169" y="17"/>
                  </a:lnTo>
                  <a:lnTo>
                    <a:pt x="160" y="17"/>
                  </a:lnTo>
                  <a:lnTo>
                    <a:pt x="141" y="17"/>
                  </a:lnTo>
                  <a:lnTo>
                    <a:pt x="132" y="14"/>
                  </a:lnTo>
                  <a:lnTo>
                    <a:pt x="123" y="11"/>
                  </a:lnTo>
                  <a:lnTo>
                    <a:pt x="109" y="11"/>
                  </a:lnTo>
                  <a:lnTo>
                    <a:pt x="100" y="11"/>
                  </a:lnTo>
                  <a:lnTo>
                    <a:pt x="86" y="8"/>
                  </a:lnTo>
                  <a:lnTo>
                    <a:pt x="77" y="8"/>
                  </a:lnTo>
                  <a:lnTo>
                    <a:pt x="73" y="8"/>
                  </a:lnTo>
                  <a:lnTo>
                    <a:pt x="54" y="8"/>
                  </a:lnTo>
                  <a:lnTo>
                    <a:pt x="41" y="8"/>
                  </a:lnTo>
                  <a:lnTo>
                    <a:pt x="27" y="3"/>
                  </a:lnTo>
                  <a:lnTo>
                    <a:pt x="18" y="3"/>
                  </a:lnTo>
                  <a:lnTo>
                    <a:pt x="4" y="0"/>
                  </a:lnTo>
                  <a:lnTo>
                    <a:pt x="0" y="0"/>
                  </a:lnTo>
                  <a:lnTo>
                    <a:pt x="141" y="3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86" name="Freeform 78"/>
            <p:cNvSpPr>
              <a:spLocks/>
            </p:cNvSpPr>
            <p:nvPr>
              <p:custDataLst>
                <p:tags r:id="rId185"/>
              </p:custDataLst>
            </p:nvPr>
          </p:nvSpPr>
          <p:spPr bwMode="gray">
            <a:xfrm>
              <a:off x="1775" y="917"/>
              <a:ext cx="1172" cy="102"/>
            </a:xfrm>
            <a:custGeom>
              <a:avLst/>
              <a:gdLst>
                <a:gd name="T0" fmla="*/ 210 w 1143"/>
                <a:gd name="T1" fmla="*/ 6 h 111"/>
                <a:gd name="T2" fmla="*/ 315 w 1143"/>
                <a:gd name="T3" fmla="*/ 6 h 111"/>
                <a:gd name="T4" fmla="*/ 439 w 1143"/>
                <a:gd name="T5" fmla="*/ 6 h 111"/>
                <a:gd name="T6" fmla="*/ 551 w 1143"/>
                <a:gd name="T7" fmla="*/ 6 h 111"/>
                <a:gd name="T8" fmla="*/ 687 w 1143"/>
                <a:gd name="T9" fmla="*/ 6 h 111"/>
                <a:gd name="T10" fmla="*/ 817 w 1143"/>
                <a:gd name="T11" fmla="*/ 6 h 111"/>
                <a:gd name="T12" fmla="*/ 949 w 1143"/>
                <a:gd name="T13" fmla="*/ 6 h 111"/>
                <a:gd name="T14" fmla="*/ 1078 w 1143"/>
                <a:gd name="T15" fmla="*/ 6 h 111"/>
                <a:gd name="T16" fmla="*/ 1212 w 1143"/>
                <a:gd name="T17" fmla="*/ 6 h 111"/>
                <a:gd name="T18" fmla="*/ 1343 w 1143"/>
                <a:gd name="T19" fmla="*/ 6 h 111"/>
                <a:gd name="T20" fmla="*/ 1461 w 1143"/>
                <a:gd name="T21" fmla="*/ 7 h 111"/>
                <a:gd name="T22" fmla="*/ 1587 w 1143"/>
                <a:gd name="T23" fmla="*/ 7 h 111"/>
                <a:gd name="T24" fmla="*/ 1703 w 1143"/>
                <a:gd name="T25" fmla="*/ 8 h 111"/>
                <a:gd name="T26" fmla="*/ 1806 w 1143"/>
                <a:gd name="T27" fmla="*/ 8 h 111"/>
                <a:gd name="T28" fmla="*/ 1892 w 1143"/>
                <a:gd name="T29" fmla="*/ 8 h 111"/>
                <a:gd name="T30" fmla="*/ 1980 w 1143"/>
                <a:gd name="T31" fmla="*/ 8 h 111"/>
                <a:gd name="T32" fmla="*/ 2062 w 1143"/>
                <a:gd name="T33" fmla="*/ 8 h 111"/>
                <a:gd name="T34" fmla="*/ 2121 w 1143"/>
                <a:gd name="T35" fmla="*/ 9 h 111"/>
                <a:gd name="T36" fmla="*/ 2190 w 1143"/>
                <a:gd name="T37" fmla="*/ 9 h 111"/>
                <a:gd name="T38" fmla="*/ 2161 w 1143"/>
                <a:gd name="T39" fmla="*/ 10 h 111"/>
                <a:gd name="T40" fmla="*/ 2086 w 1143"/>
                <a:gd name="T41" fmla="*/ 11 h 111"/>
                <a:gd name="T42" fmla="*/ 2011 w 1143"/>
                <a:gd name="T43" fmla="*/ 12 h 111"/>
                <a:gd name="T44" fmla="*/ 1919 w 1143"/>
                <a:gd name="T45" fmla="*/ 12 h 111"/>
                <a:gd name="T46" fmla="*/ 1818 w 1143"/>
                <a:gd name="T47" fmla="*/ 12 h 111"/>
                <a:gd name="T48" fmla="*/ 1746 w 1143"/>
                <a:gd name="T49" fmla="*/ 13 h 111"/>
                <a:gd name="T50" fmla="*/ 1686 w 1143"/>
                <a:gd name="T51" fmla="*/ 13 h 111"/>
                <a:gd name="T52" fmla="*/ 1622 w 1143"/>
                <a:gd name="T53" fmla="*/ 13 h 111"/>
                <a:gd name="T54" fmla="*/ 1563 w 1143"/>
                <a:gd name="T55" fmla="*/ 13 h 111"/>
                <a:gd name="T56" fmla="*/ 1490 w 1143"/>
                <a:gd name="T57" fmla="*/ 13 h 111"/>
                <a:gd name="T58" fmla="*/ 1430 w 1143"/>
                <a:gd name="T59" fmla="*/ 13 h 111"/>
                <a:gd name="T60" fmla="*/ 1350 w 1143"/>
                <a:gd name="T61" fmla="*/ 12 h 111"/>
                <a:gd name="T62" fmla="*/ 1275 w 1143"/>
                <a:gd name="T63" fmla="*/ 12 h 111"/>
                <a:gd name="T64" fmla="*/ 1201 w 1143"/>
                <a:gd name="T65" fmla="*/ 12 h 111"/>
                <a:gd name="T66" fmla="*/ 1124 w 1143"/>
                <a:gd name="T67" fmla="*/ 12 h 111"/>
                <a:gd name="T68" fmla="*/ 1034 w 1143"/>
                <a:gd name="T69" fmla="*/ 12 h 111"/>
                <a:gd name="T70" fmla="*/ 955 w 1143"/>
                <a:gd name="T71" fmla="*/ 11 h 111"/>
                <a:gd name="T72" fmla="*/ 867 w 1143"/>
                <a:gd name="T73" fmla="*/ 10 h 111"/>
                <a:gd name="T74" fmla="*/ 789 w 1143"/>
                <a:gd name="T75" fmla="*/ 9 h 111"/>
                <a:gd name="T76" fmla="*/ 709 w 1143"/>
                <a:gd name="T77" fmla="*/ 9 h 111"/>
                <a:gd name="T78" fmla="*/ 623 w 1143"/>
                <a:gd name="T79" fmla="*/ 8 h 111"/>
                <a:gd name="T80" fmla="*/ 542 w 1143"/>
                <a:gd name="T81" fmla="*/ 6 h 111"/>
                <a:gd name="T82" fmla="*/ 473 w 1143"/>
                <a:gd name="T83" fmla="*/ 6 h 111"/>
                <a:gd name="T84" fmla="*/ 395 w 1143"/>
                <a:gd name="T85" fmla="*/ 6 h 111"/>
                <a:gd name="T86" fmla="*/ 315 w 1143"/>
                <a:gd name="T87" fmla="*/ 6 h 111"/>
                <a:gd name="T88" fmla="*/ 255 w 1143"/>
                <a:gd name="T89" fmla="*/ 6 h 111"/>
                <a:gd name="T90" fmla="*/ 195 w 1143"/>
                <a:gd name="T91" fmla="*/ 6 h 111"/>
                <a:gd name="T92" fmla="*/ 132 w 1143"/>
                <a:gd name="T93" fmla="*/ 6 h 111"/>
                <a:gd name="T94" fmla="*/ 14 w 1143"/>
                <a:gd name="T95" fmla="*/ 6 h 111"/>
                <a:gd name="T96" fmla="*/ 14 w 1143"/>
                <a:gd name="T97" fmla="*/ 0 h 111"/>
                <a:gd name="T98" fmla="*/ 84 w 1143"/>
                <a:gd name="T99" fmla="*/ 0 h 111"/>
                <a:gd name="T100" fmla="*/ 138 w 1143"/>
                <a:gd name="T101" fmla="*/ 0 h 11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43"/>
                <a:gd name="T154" fmla="*/ 0 h 111"/>
                <a:gd name="T155" fmla="*/ 1143 w 1143"/>
                <a:gd name="T156" fmla="*/ 111 h 11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43" h="111">
                  <a:moveTo>
                    <a:pt x="78" y="0"/>
                  </a:moveTo>
                  <a:lnTo>
                    <a:pt x="96" y="3"/>
                  </a:lnTo>
                  <a:lnTo>
                    <a:pt x="110" y="6"/>
                  </a:lnTo>
                  <a:lnTo>
                    <a:pt x="133" y="12"/>
                  </a:lnTo>
                  <a:lnTo>
                    <a:pt x="151" y="15"/>
                  </a:lnTo>
                  <a:lnTo>
                    <a:pt x="165" y="17"/>
                  </a:lnTo>
                  <a:lnTo>
                    <a:pt x="187" y="20"/>
                  </a:lnTo>
                  <a:lnTo>
                    <a:pt x="206" y="23"/>
                  </a:lnTo>
                  <a:lnTo>
                    <a:pt x="229" y="26"/>
                  </a:lnTo>
                  <a:lnTo>
                    <a:pt x="247" y="29"/>
                  </a:lnTo>
                  <a:lnTo>
                    <a:pt x="265" y="29"/>
                  </a:lnTo>
                  <a:lnTo>
                    <a:pt x="288" y="34"/>
                  </a:lnTo>
                  <a:lnTo>
                    <a:pt x="311" y="34"/>
                  </a:lnTo>
                  <a:lnTo>
                    <a:pt x="334" y="37"/>
                  </a:lnTo>
                  <a:lnTo>
                    <a:pt x="357" y="40"/>
                  </a:lnTo>
                  <a:lnTo>
                    <a:pt x="379" y="43"/>
                  </a:lnTo>
                  <a:lnTo>
                    <a:pt x="402" y="46"/>
                  </a:lnTo>
                  <a:lnTo>
                    <a:pt x="425" y="46"/>
                  </a:lnTo>
                  <a:lnTo>
                    <a:pt x="448" y="49"/>
                  </a:lnTo>
                  <a:lnTo>
                    <a:pt x="471" y="49"/>
                  </a:lnTo>
                  <a:lnTo>
                    <a:pt x="494" y="52"/>
                  </a:lnTo>
                  <a:lnTo>
                    <a:pt x="517" y="52"/>
                  </a:lnTo>
                  <a:lnTo>
                    <a:pt x="539" y="54"/>
                  </a:lnTo>
                  <a:lnTo>
                    <a:pt x="562" y="54"/>
                  </a:lnTo>
                  <a:lnTo>
                    <a:pt x="590" y="57"/>
                  </a:lnTo>
                  <a:lnTo>
                    <a:pt x="608" y="57"/>
                  </a:lnTo>
                  <a:lnTo>
                    <a:pt x="631" y="60"/>
                  </a:lnTo>
                  <a:lnTo>
                    <a:pt x="654" y="60"/>
                  </a:lnTo>
                  <a:lnTo>
                    <a:pt x="676" y="63"/>
                  </a:lnTo>
                  <a:lnTo>
                    <a:pt x="699" y="63"/>
                  </a:lnTo>
                  <a:lnTo>
                    <a:pt x="722" y="63"/>
                  </a:lnTo>
                  <a:lnTo>
                    <a:pt x="745" y="63"/>
                  </a:lnTo>
                  <a:lnTo>
                    <a:pt x="763" y="69"/>
                  </a:lnTo>
                  <a:lnTo>
                    <a:pt x="786" y="69"/>
                  </a:lnTo>
                  <a:lnTo>
                    <a:pt x="809" y="69"/>
                  </a:lnTo>
                  <a:lnTo>
                    <a:pt x="827" y="69"/>
                  </a:lnTo>
                  <a:lnTo>
                    <a:pt x="850" y="69"/>
                  </a:lnTo>
                  <a:lnTo>
                    <a:pt x="864" y="69"/>
                  </a:lnTo>
                  <a:lnTo>
                    <a:pt x="887" y="71"/>
                  </a:lnTo>
                  <a:lnTo>
                    <a:pt x="905" y="71"/>
                  </a:lnTo>
                  <a:lnTo>
                    <a:pt x="923" y="71"/>
                  </a:lnTo>
                  <a:lnTo>
                    <a:pt x="942" y="71"/>
                  </a:lnTo>
                  <a:lnTo>
                    <a:pt x="955" y="71"/>
                  </a:lnTo>
                  <a:lnTo>
                    <a:pt x="974" y="71"/>
                  </a:lnTo>
                  <a:lnTo>
                    <a:pt x="987" y="71"/>
                  </a:lnTo>
                  <a:lnTo>
                    <a:pt x="1006" y="71"/>
                  </a:lnTo>
                  <a:lnTo>
                    <a:pt x="1019" y="74"/>
                  </a:lnTo>
                  <a:lnTo>
                    <a:pt x="1033" y="74"/>
                  </a:lnTo>
                  <a:lnTo>
                    <a:pt x="1051" y="74"/>
                  </a:lnTo>
                  <a:lnTo>
                    <a:pt x="1060" y="74"/>
                  </a:lnTo>
                  <a:lnTo>
                    <a:pt x="1074" y="74"/>
                  </a:lnTo>
                  <a:lnTo>
                    <a:pt x="1083" y="74"/>
                  </a:lnTo>
                  <a:lnTo>
                    <a:pt x="1092" y="77"/>
                  </a:lnTo>
                  <a:lnTo>
                    <a:pt x="1106" y="77"/>
                  </a:lnTo>
                  <a:lnTo>
                    <a:pt x="1124" y="80"/>
                  </a:lnTo>
                  <a:lnTo>
                    <a:pt x="1133" y="80"/>
                  </a:lnTo>
                  <a:lnTo>
                    <a:pt x="1143" y="80"/>
                  </a:lnTo>
                  <a:lnTo>
                    <a:pt x="1143" y="83"/>
                  </a:lnTo>
                  <a:lnTo>
                    <a:pt x="1124" y="89"/>
                  </a:lnTo>
                  <a:lnTo>
                    <a:pt x="1106" y="91"/>
                  </a:lnTo>
                  <a:lnTo>
                    <a:pt x="1097" y="91"/>
                  </a:lnTo>
                  <a:lnTo>
                    <a:pt x="1088" y="94"/>
                  </a:lnTo>
                  <a:lnTo>
                    <a:pt x="1074" y="94"/>
                  </a:lnTo>
                  <a:lnTo>
                    <a:pt x="1060" y="100"/>
                  </a:lnTo>
                  <a:lnTo>
                    <a:pt x="1047" y="100"/>
                  </a:lnTo>
                  <a:lnTo>
                    <a:pt x="1033" y="100"/>
                  </a:lnTo>
                  <a:lnTo>
                    <a:pt x="1015" y="103"/>
                  </a:lnTo>
                  <a:lnTo>
                    <a:pt x="1001" y="103"/>
                  </a:lnTo>
                  <a:lnTo>
                    <a:pt x="983" y="103"/>
                  </a:lnTo>
                  <a:lnTo>
                    <a:pt x="964" y="106"/>
                  </a:lnTo>
                  <a:lnTo>
                    <a:pt x="946" y="106"/>
                  </a:lnTo>
                  <a:lnTo>
                    <a:pt x="932" y="109"/>
                  </a:lnTo>
                  <a:lnTo>
                    <a:pt x="919" y="109"/>
                  </a:lnTo>
                  <a:lnTo>
                    <a:pt x="910" y="109"/>
                  </a:lnTo>
                  <a:lnTo>
                    <a:pt x="900" y="109"/>
                  </a:lnTo>
                  <a:lnTo>
                    <a:pt x="887" y="109"/>
                  </a:lnTo>
                  <a:lnTo>
                    <a:pt x="878" y="109"/>
                  </a:lnTo>
                  <a:lnTo>
                    <a:pt x="864" y="109"/>
                  </a:lnTo>
                  <a:lnTo>
                    <a:pt x="855" y="109"/>
                  </a:lnTo>
                  <a:lnTo>
                    <a:pt x="846" y="111"/>
                  </a:lnTo>
                  <a:lnTo>
                    <a:pt x="832" y="111"/>
                  </a:lnTo>
                  <a:lnTo>
                    <a:pt x="823" y="111"/>
                  </a:lnTo>
                  <a:lnTo>
                    <a:pt x="814" y="111"/>
                  </a:lnTo>
                  <a:lnTo>
                    <a:pt x="800" y="111"/>
                  </a:lnTo>
                  <a:lnTo>
                    <a:pt x="786" y="111"/>
                  </a:lnTo>
                  <a:lnTo>
                    <a:pt x="777" y="111"/>
                  </a:lnTo>
                  <a:lnTo>
                    <a:pt x="763" y="111"/>
                  </a:lnTo>
                  <a:lnTo>
                    <a:pt x="754" y="111"/>
                  </a:lnTo>
                  <a:lnTo>
                    <a:pt x="745" y="109"/>
                  </a:lnTo>
                  <a:lnTo>
                    <a:pt x="727" y="106"/>
                  </a:lnTo>
                  <a:lnTo>
                    <a:pt x="718" y="106"/>
                  </a:lnTo>
                  <a:lnTo>
                    <a:pt x="704" y="106"/>
                  </a:lnTo>
                  <a:lnTo>
                    <a:pt x="686" y="106"/>
                  </a:lnTo>
                  <a:lnTo>
                    <a:pt x="676" y="106"/>
                  </a:lnTo>
                  <a:lnTo>
                    <a:pt x="663" y="106"/>
                  </a:lnTo>
                  <a:lnTo>
                    <a:pt x="654" y="106"/>
                  </a:lnTo>
                  <a:lnTo>
                    <a:pt x="635" y="103"/>
                  </a:lnTo>
                  <a:lnTo>
                    <a:pt x="626" y="103"/>
                  </a:lnTo>
                  <a:lnTo>
                    <a:pt x="608" y="103"/>
                  </a:lnTo>
                  <a:lnTo>
                    <a:pt x="599" y="103"/>
                  </a:lnTo>
                  <a:lnTo>
                    <a:pt x="585" y="100"/>
                  </a:lnTo>
                  <a:lnTo>
                    <a:pt x="571" y="100"/>
                  </a:lnTo>
                  <a:lnTo>
                    <a:pt x="558" y="100"/>
                  </a:lnTo>
                  <a:lnTo>
                    <a:pt x="539" y="100"/>
                  </a:lnTo>
                  <a:lnTo>
                    <a:pt x="526" y="94"/>
                  </a:lnTo>
                  <a:lnTo>
                    <a:pt x="512" y="94"/>
                  </a:lnTo>
                  <a:lnTo>
                    <a:pt x="498" y="91"/>
                  </a:lnTo>
                  <a:lnTo>
                    <a:pt x="485" y="91"/>
                  </a:lnTo>
                  <a:lnTo>
                    <a:pt x="471" y="91"/>
                  </a:lnTo>
                  <a:lnTo>
                    <a:pt x="453" y="89"/>
                  </a:lnTo>
                  <a:lnTo>
                    <a:pt x="443" y="83"/>
                  </a:lnTo>
                  <a:lnTo>
                    <a:pt x="430" y="83"/>
                  </a:lnTo>
                  <a:lnTo>
                    <a:pt x="411" y="80"/>
                  </a:lnTo>
                  <a:lnTo>
                    <a:pt x="398" y="80"/>
                  </a:lnTo>
                  <a:lnTo>
                    <a:pt x="384" y="77"/>
                  </a:lnTo>
                  <a:lnTo>
                    <a:pt x="370" y="77"/>
                  </a:lnTo>
                  <a:lnTo>
                    <a:pt x="352" y="74"/>
                  </a:lnTo>
                  <a:lnTo>
                    <a:pt x="343" y="71"/>
                  </a:lnTo>
                  <a:lnTo>
                    <a:pt x="325" y="71"/>
                  </a:lnTo>
                  <a:lnTo>
                    <a:pt x="315" y="69"/>
                  </a:lnTo>
                  <a:lnTo>
                    <a:pt x="297" y="63"/>
                  </a:lnTo>
                  <a:lnTo>
                    <a:pt x="283" y="63"/>
                  </a:lnTo>
                  <a:lnTo>
                    <a:pt x="270" y="60"/>
                  </a:lnTo>
                  <a:lnTo>
                    <a:pt x="256" y="57"/>
                  </a:lnTo>
                  <a:lnTo>
                    <a:pt x="247" y="54"/>
                  </a:lnTo>
                  <a:lnTo>
                    <a:pt x="229" y="52"/>
                  </a:lnTo>
                  <a:lnTo>
                    <a:pt x="215" y="49"/>
                  </a:lnTo>
                  <a:lnTo>
                    <a:pt x="206" y="49"/>
                  </a:lnTo>
                  <a:lnTo>
                    <a:pt x="192" y="46"/>
                  </a:lnTo>
                  <a:lnTo>
                    <a:pt x="178" y="43"/>
                  </a:lnTo>
                  <a:lnTo>
                    <a:pt x="165" y="40"/>
                  </a:lnTo>
                  <a:lnTo>
                    <a:pt x="155" y="37"/>
                  </a:lnTo>
                  <a:lnTo>
                    <a:pt x="142" y="34"/>
                  </a:lnTo>
                  <a:lnTo>
                    <a:pt x="133" y="34"/>
                  </a:lnTo>
                  <a:lnTo>
                    <a:pt x="123" y="32"/>
                  </a:lnTo>
                  <a:lnTo>
                    <a:pt x="110" y="29"/>
                  </a:lnTo>
                  <a:lnTo>
                    <a:pt x="101" y="29"/>
                  </a:lnTo>
                  <a:lnTo>
                    <a:pt x="87" y="23"/>
                  </a:lnTo>
                  <a:lnTo>
                    <a:pt x="78" y="23"/>
                  </a:lnTo>
                  <a:lnTo>
                    <a:pt x="69" y="20"/>
                  </a:lnTo>
                  <a:lnTo>
                    <a:pt x="50" y="17"/>
                  </a:lnTo>
                  <a:lnTo>
                    <a:pt x="32" y="15"/>
                  </a:lnTo>
                  <a:lnTo>
                    <a:pt x="14" y="6"/>
                  </a:lnTo>
                  <a:lnTo>
                    <a:pt x="0" y="6"/>
                  </a:lnTo>
                  <a:lnTo>
                    <a:pt x="5" y="0"/>
                  </a:lnTo>
                  <a:lnTo>
                    <a:pt x="14" y="0"/>
                  </a:lnTo>
                  <a:lnTo>
                    <a:pt x="23" y="0"/>
                  </a:lnTo>
                  <a:lnTo>
                    <a:pt x="37" y="0"/>
                  </a:lnTo>
                  <a:lnTo>
                    <a:pt x="46" y="0"/>
                  </a:lnTo>
                  <a:lnTo>
                    <a:pt x="55" y="0"/>
                  </a:lnTo>
                  <a:lnTo>
                    <a:pt x="64" y="0"/>
                  </a:lnTo>
                  <a:lnTo>
                    <a:pt x="73" y="0"/>
                  </a:lnTo>
                  <a:lnTo>
                    <a:pt x="78"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87" name="Freeform 79"/>
            <p:cNvSpPr>
              <a:spLocks/>
            </p:cNvSpPr>
            <p:nvPr>
              <p:custDataLst>
                <p:tags r:id="rId186"/>
              </p:custDataLst>
            </p:nvPr>
          </p:nvSpPr>
          <p:spPr bwMode="gray">
            <a:xfrm>
              <a:off x="632" y="1094"/>
              <a:ext cx="750" cy="290"/>
            </a:xfrm>
            <a:custGeom>
              <a:avLst/>
              <a:gdLst>
                <a:gd name="T0" fmla="*/ 784 w 731"/>
                <a:gd name="T1" fmla="*/ 6 h 316"/>
                <a:gd name="T2" fmla="*/ 676 w 731"/>
                <a:gd name="T3" fmla="*/ 6 h 316"/>
                <a:gd name="T4" fmla="*/ 559 w 731"/>
                <a:gd name="T5" fmla="*/ 9 h 316"/>
                <a:gd name="T6" fmla="*/ 443 w 731"/>
                <a:gd name="T7" fmla="*/ 13 h 316"/>
                <a:gd name="T8" fmla="*/ 348 w 731"/>
                <a:gd name="T9" fmla="*/ 16 h 316"/>
                <a:gd name="T10" fmla="*/ 248 w 731"/>
                <a:gd name="T11" fmla="*/ 18 h 316"/>
                <a:gd name="T12" fmla="*/ 168 w 731"/>
                <a:gd name="T13" fmla="*/ 22 h 316"/>
                <a:gd name="T14" fmla="*/ 94 w 731"/>
                <a:gd name="T15" fmla="*/ 24 h 316"/>
                <a:gd name="T16" fmla="*/ 14 w 731"/>
                <a:gd name="T17" fmla="*/ 26 h 316"/>
                <a:gd name="T18" fmla="*/ 5 w 731"/>
                <a:gd name="T19" fmla="*/ 28 h 316"/>
                <a:gd name="T20" fmla="*/ 68 w 731"/>
                <a:gd name="T21" fmla="*/ 28 h 316"/>
                <a:gd name="T22" fmla="*/ 133 w 731"/>
                <a:gd name="T23" fmla="*/ 28 h 316"/>
                <a:gd name="T24" fmla="*/ 205 w 731"/>
                <a:gd name="T25" fmla="*/ 28 h 316"/>
                <a:gd name="T26" fmla="*/ 277 w 731"/>
                <a:gd name="T27" fmla="*/ 28 h 316"/>
                <a:gd name="T28" fmla="*/ 357 w 731"/>
                <a:gd name="T29" fmla="*/ 30 h 316"/>
                <a:gd name="T30" fmla="*/ 437 w 731"/>
                <a:gd name="T31" fmla="*/ 30 h 316"/>
                <a:gd name="T32" fmla="*/ 505 w 731"/>
                <a:gd name="T33" fmla="*/ 30 h 316"/>
                <a:gd name="T34" fmla="*/ 580 w 731"/>
                <a:gd name="T35" fmla="*/ 30 h 316"/>
                <a:gd name="T36" fmla="*/ 642 w 731"/>
                <a:gd name="T37" fmla="*/ 30 h 316"/>
                <a:gd name="T38" fmla="*/ 715 w 731"/>
                <a:gd name="T39" fmla="*/ 32 h 316"/>
                <a:gd name="T40" fmla="*/ 801 w 731"/>
                <a:gd name="T41" fmla="*/ 32 h 316"/>
                <a:gd name="T42" fmla="*/ 902 w 731"/>
                <a:gd name="T43" fmla="*/ 33 h 316"/>
                <a:gd name="T44" fmla="*/ 1015 w 731"/>
                <a:gd name="T45" fmla="*/ 33 h 316"/>
                <a:gd name="T46" fmla="*/ 1132 w 731"/>
                <a:gd name="T47" fmla="*/ 33 h 316"/>
                <a:gd name="T48" fmla="*/ 1238 w 731"/>
                <a:gd name="T49" fmla="*/ 33 h 316"/>
                <a:gd name="T50" fmla="*/ 1328 w 731"/>
                <a:gd name="T51" fmla="*/ 33 h 316"/>
                <a:gd name="T52" fmla="*/ 1408 w 731"/>
                <a:gd name="T53" fmla="*/ 33 h 316"/>
                <a:gd name="T54" fmla="*/ 1392 w 731"/>
                <a:gd name="T55" fmla="*/ 33 h 316"/>
                <a:gd name="T56" fmla="*/ 1320 w 731"/>
                <a:gd name="T57" fmla="*/ 33 h 316"/>
                <a:gd name="T58" fmla="*/ 1258 w 731"/>
                <a:gd name="T59" fmla="*/ 33 h 316"/>
                <a:gd name="T60" fmla="*/ 1183 w 731"/>
                <a:gd name="T61" fmla="*/ 30 h 316"/>
                <a:gd name="T62" fmla="*/ 1107 w 731"/>
                <a:gd name="T63" fmla="*/ 30 h 316"/>
                <a:gd name="T64" fmla="*/ 1026 w 731"/>
                <a:gd name="T65" fmla="*/ 30 h 316"/>
                <a:gd name="T66" fmla="*/ 945 w 731"/>
                <a:gd name="T67" fmla="*/ 29 h 316"/>
                <a:gd name="T68" fmla="*/ 864 w 731"/>
                <a:gd name="T69" fmla="*/ 28 h 316"/>
                <a:gd name="T70" fmla="*/ 775 w 731"/>
                <a:gd name="T71" fmla="*/ 28 h 316"/>
                <a:gd name="T72" fmla="*/ 694 w 731"/>
                <a:gd name="T73" fmla="*/ 27 h 316"/>
                <a:gd name="T74" fmla="*/ 604 w 731"/>
                <a:gd name="T75" fmla="*/ 26 h 316"/>
                <a:gd name="T76" fmla="*/ 542 w 731"/>
                <a:gd name="T77" fmla="*/ 26 h 316"/>
                <a:gd name="T78" fmla="*/ 472 w 731"/>
                <a:gd name="T79" fmla="*/ 25 h 316"/>
                <a:gd name="T80" fmla="*/ 409 w 731"/>
                <a:gd name="T81" fmla="*/ 24 h 316"/>
                <a:gd name="T82" fmla="*/ 348 w 731"/>
                <a:gd name="T83" fmla="*/ 24 h 316"/>
                <a:gd name="T84" fmla="*/ 284 w 731"/>
                <a:gd name="T85" fmla="*/ 24 h 316"/>
                <a:gd name="T86" fmla="*/ 864 w 731"/>
                <a:gd name="T87" fmla="*/ 0 h 3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31"/>
                <a:gd name="T133" fmla="*/ 0 h 316"/>
                <a:gd name="T134" fmla="*/ 731 w 731"/>
                <a:gd name="T135" fmla="*/ 316 h 3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31" h="316">
                  <a:moveTo>
                    <a:pt x="443" y="0"/>
                  </a:moveTo>
                  <a:lnTo>
                    <a:pt x="425" y="6"/>
                  </a:lnTo>
                  <a:lnTo>
                    <a:pt x="402" y="17"/>
                  </a:lnTo>
                  <a:lnTo>
                    <a:pt x="384" y="26"/>
                  </a:lnTo>
                  <a:lnTo>
                    <a:pt x="366" y="37"/>
                  </a:lnTo>
                  <a:lnTo>
                    <a:pt x="347" y="45"/>
                  </a:lnTo>
                  <a:lnTo>
                    <a:pt x="329" y="57"/>
                  </a:lnTo>
                  <a:lnTo>
                    <a:pt x="306" y="65"/>
                  </a:lnTo>
                  <a:lnTo>
                    <a:pt x="288" y="77"/>
                  </a:lnTo>
                  <a:lnTo>
                    <a:pt x="265" y="88"/>
                  </a:lnTo>
                  <a:lnTo>
                    <a:pt x="247" y="100"/>
                  </a:lnTo>
                  <a:lnTo>
                    <a:pt x="228" y="108"/>
                  </a:lnTo>
                  <a:lnTo>
                    <a:pt x="210" y="120"/>
                  </a:lnTo>
                  <a:lnTo>
                    <a:pt x="192" y="128"/>
                  </a:lnTo>
                  <a:lnTo>
                    <a:pt x="178" y="139"/>
                  </a:lnTo>
                  <a:lnTo>
                    <a:pt x="160" y="148"/>
                  </a:lnTo>
                  <a:lnTo>
                    <a:pt x="142" y="159"/>
                  </a:lnTo>
                  <a:lnTo>
                    <a:pt x="128" y="168"/>
                  </a:lnTo>
                  <a:lnTo>
                    <a:pt x="114" y="176"/>
                  </a:lnTo>
                  <a:lnTo>
                    <a:pt x="96" y="188"/>
                  </a:lnTo>
                  <a:lnTo>
                    <a:pt x="87" y="196"/>
                  </a:lnTo>
                  <a:lnTo>
                    <a:pt x="73" y="202"/>
                  </a:lnTo>
                  <a:lnTo>
                    <a:pt x="59" y="211"/>
                  </a:lnTo>
                  <a:lnTo>
                    <a:pt x="50" y="219"/>
                  </a:lnTo>
                  <a:lnTo>
                    <a:pt x="41" y="225"/>
                  </a:lnTo>
                  <a:lnTo>
                    <a:pt x="23" y="233"/>
                  </a:lnTo>
                  <a:lnTo>
                    <a:pt x="14" y="242"/>
                  </a:lnTo>
                  <a:lnTo>
                    <a:pt x="5" y="248"/>
                  </a:lnTo>
                  <a:lnTo>
                    <a:pt x="0" y="251"/>
                  </a:lnTo>
                  <a:lnTo>
                    <a:pt x="5" y="251"/>
                  </a:lnTo>
                  <a:lnTo>
                    <a:pt x="14" y="251"/>
                  </a:lnTo>
                  <a:lnTo>
                    <a:pt x="23" y="253"/>
                  </a:lnTo>
                  <a:lnTo>
                    <a:pt x="37" y="253"/>
                  </a:lnTo>
                  <a:lnTo>
                    <a:pt x="46" y="253"/>
                  </a:lnTo>
                  <a:lnTo>
                    <a:pt x="55" y="256"/>
                  </a:lnTo>
                  <a:lnTo>
                    <a:pt x="69" y="259"/>
                  </a:lnTo>
                  <a:lnTo>
                    <a:pt x="82" y="262"/>
                  </a:lnTo>
                  <a:lnTo>
                    <a:pt x="91" y="262"/>
                  </a:lnTo>
                  <a:lnTo>
                    <a:pt x="105" y="265"/>
                  </a:lnTo>
                  <a:lnTo>
                    <a:pt x="114" y="265"/>
                  </a:lnTo>
                  <a:lnTo>
                    <a:pt x="128" y="268"/>
                  </a:lnTo>
                  <a:lnTo>
                    <a:pt x="142" y="268"/>
                  </a:lnTo>
                  <a:lnTo>
                    <a:pt x="155" y="270"/>
                  </a:lnTo>
                  <a:lnTo>
                    <a:pt x="169" y="270"/>
                  </a:lnTo>
                  <a:lnTo>
                    <a:pt x="183" y="273"/>
                  </a:lnTo>
                  <a:lnTo>
                    <a:pt x="192" y="273"/>
                  </a:lnTo>
                  <a:lnTo>
                    <a:pt x="210" y="276"/>
                  </a:lnTo>
                  <a:lnTo>
                    <a:pt x="224" y="279"/>
                  </a:lnTo>
                  <a:lnTo>
                    <a:pt x="238" y="282"/>
                  </a:lnTo>
                  <a:lnTo>
                    <a:pt x="247" y="282"/>
                  </a:lnTo>
                  <a:lnTo>
                    <a:pt x="260" y="282"/>
                  </a:lnTo>
                  <a:lnTo>
                    <a:pt x="274" y="282"/>
                  </a:lnTo>
                  <a:lnTo>
                    <a:pt x="288" y="285"/>
                  </a:lnTo>
                  <a:lnTo>
                    <a:pt x="297" y="288"/>
                  </a:lnTo>
                  <a:lnTo>
                    <a:pt x="311" y="288"/>
                  </a:lnTo>
                  <a:lnTo>
                    <a:pt x="320" y="288"/>
                  </a:lnTo>
                  <a:lnTo>
                    <a:pt x="329" y="290"/>
                  </a:lnTo>
                  <a:lnTo>
                    <a:pt x="338" y="290"/>
                  </a:lnTo>
                  <a:lnTo>
                    <a:pt x="352" y="290"/>
                  </a:lnTo>
                  <a:lnTo>
                    <a:pt x="366" y="293"/>
                  </a:lnTo>
                  <a:lnTo>
                    <a:pt x="379" y="293"/>
                  </a:lnTo>
                  <a:lnTo>
                    <a:pt x="393" y="293"/>
                  </a:lnTo>
                  <a:lnTo>
                    <a:pt x="411" y="293"/>
                  </a:lnTo>
                  <a:lnTo>
                    <a:pt x="425" y="296"/>
                  </a:lnTo>
                  <a:lnTo>
                    <a:pt x="448" y="299"/>
                  </a:lnTo>
                  <a:lnTo>
                    <a:pt x="462" y="299"/>
                  </a:lnTo>
                  <a:lnTo>
                    <a:pt x="480" y="302"/>
                  </a:lnTo>
                  <a:lnTo>
                    <a:pt x="503" y="302"/>
                  </a:lnTo>
                  <a:lnTo>
                    <a:pt x="521" y="305"/>
                  </a:lnTo>
                  <a:lnTo>
                    <a:pt x="539" y="305"/>
                  </a:lnTo>
                  <a:lnTo>
                    <a:pt x="558" y="307"/>
                  </a:lnTo>
                  <a:lnTo>
                    <a:pt x="580" y="310"/>
                  </a:lnTo>
                  <a:lnTo>
                    <a:pt x="599" y="310"/>
                  </a:lnTo>
                  <a:lnTo>
                    <a:pt x="617" y="310"/>
                  </a:lnTo>
                  <a:lnTo>
                    <a:pt x="635" y="310"/>
                  </a:lnTo>
                  <a:lnTo>
                    <a:pt x="649" y="313"/>
                  </a:lnTo>
                  <a:lnTo>
                    <a:pt x="672" y="313"/>
                  </a:lnTo>
                  <a:lnTo>
                    <a:pt x="681" y="313"/>
                  </a:lnTo>
                  <a:lnTo>
                    <a:pt x="699" y="316"/>
                  </a:lnTo>
                  <a:lnTo>
                    <a:pt x="708" y="316"/>
                  </a:lnTo>
                  <a:lnTo>
                    <a:pt x="722" y="316"/>
                  </a:lnTo>
                  <a:lnTo>
                    <a:pt x="731" y="316"/>
                  </a:lnTo>
                  <a:lnTo>
                    <a:pt x="731" y="313"/>
                  </a:lnTo>
                  <a:lnTo>
                    <a:pt x="713" y="310"/>
                  </a:lnTo>
                  <a:lnTo>
                    <a:pt x="695" y="307"/>
                  </a:lnTo>
                  <a:lnTo>
                    <a:pt x="690" y="305"/>
                  </a:lnTo>
                  <a:lnTo>
                    <a:pt x="676" y="302"/>
                  </a:lnTo>
                  <a:lnTo>
                    <a:pt x="667" y="302"/>
                  </a:lnTo>
                  <a:lnTo>
                    <a:pt x="658" y="302"/>
                  </a:lnTo>
                  <a:lnTo>
                    <a:pt x="644" y="299"/>
                  </a:lnTo>
                  <a:lnTo>
                    <a:pt x="635" y="296"/>
                  </a:lnTo>
                  <a:lnTo>
                    <a:pt x="617" y="293"/>
                  </a:lnTo>
                  <a:lnTo>
                    <a:pt x="608" y="290"/>
                  </a:lnTo>
                  <a:lnTo>
                    <a:pt x="590" y="290"/>
                  </a:lnTo>
                  <a:lnTo>
                    <a:pt x="580" y="288"/>
                  </a:lnTo>
                  <a:lnTo>
                    <a:pt x="567" y="285"/>
                  </a:lnTo>
                  <a:lnTo>
                    <a:pt x="558" y="285"/>
                  </a:lnTo>
                  <a:lnTo>
                    <a:pt x="539" y="282"/>
                  </a:lnTo>
                  <a:lnTo>
                    <a:pt x="526" y="279"/>
                  </a:lnTo>
                  <a:lnTo>
                    <a:pt x="512" y="276"/>
                  </a:lnTo>
                  <a:lnTo>
                    <a:pt x="503" y="273"/>
                  </a:lnTo>
                  <a:lnTo>
                    <a:pt x="484" y="270"/>
                  </a:lnTo>
                  <a:lnTo>
                    <a:pt x="471" y="268"/>
                  </a:lnTo>
                  <a:lnTo>
                    <a:pt x="457" y="265"/>
                  </a:lnTo>
                  <a:lnTo>
                    <a:pt x="443" y="265"/>
                  </a:lnTo>
                  <a:lnTo>
                    <a:pt x="425" y="262"/>
                  </a:lnTo>
                  <a:lnTo>
                    <a:pt x="411" y="259"/>
                  </a:lnTo>
                  <a:lnTo>
                    <a:pt x="398" y="253"/>
                  </a:lnTo>
                  <a:lnTo>
                    <a:pt x="384" y="253"/>
                  </a:lnTo>
                  <a:lnTo>
                    <a:pt x="370" y="251"/>
                  </a:lnTo>
                  <a:lnTo>
                    <a:pt x="356" y="248"/>
                  </a:lnTo>
                  <a:lnTo>
                    <a:pt x="343" y="245"/>
                  </a:lnTo>
                  <a:lnTo>
                    <a:pt x="329" y="242"/>
                  </a:lnTo>
                  <a:lnTo>
                    <a:pt x="311" y="239"/>
                  </a:lnTo>
                  <a:lnTo>
                    <a:pt x="302" y="239"/>
                  </a:lnTo>
                  <a:lnTo>
                    <a:pt x="292" y="233"/>
                  </a:lnTo>
                  <a:lnTo>
                    <a:pt x="279" y="233"/>
                  </a:lnTo>
                  <a:lnTo>
                    <a:pt x="265" y="231"/>
                  </a:lnTo>
                  <a:lnTo>
                    <a:pt x="256" y="231"/>
                  </a:lnTo>
                  <a:lnTo>
                    <a:pt x="242" y="228"/>
                  </a:lnTo>
                  <a:lnTo>
                    <a:pt x="238" y="225"/>
                  </a:lnTo>
                  <a:lnTo>
                    <a:pt x="224" y="225"/>
                  </a:lnTo>
                  <a:lnTo>
                    <a:pt x="210" y="222"/>
                  </a:lnTo>
                  <a:lnTo>
                    <a:pt x="201" y="219"/>
                  </a:lnTo>
                  <a:lnTo>
                    <a:pt x="192" y="219"/>
                  </a:lnTo>
                  <a:lnTo>
                    <a:pt x="178" y="216"/>
                  </a:lnTo>
                  <a:lnTo>
                    <a:pt x="169" y="214"/>
                  </a:lnTo>
                  <a:lnTo>
                    <a:pt x="155" y="211"/>
                  </a:lnTo>
                  <a:lnTo>
                    <a:pt x="146" y="211"/>
                  </a:lnTo>
                  <a:lnTo>
                    <a:pt x="142" y="211"/>
                  </a:lnTo>
                  <a:lnTo>
                    <a:pt x="443"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88" name="Freeform 80"/>
            <p:cNvSpPr>
              <a:spLocks/>
            </p:cNvSpPr>
            <p:nvPr>
              <p:custDataLst>
                <p:tags r:id="rId187"/>
              </p:custDataLst>
            </p:nvPr>
          </p:nvSpPr>
          <p:spPr bwMode="gray">
            <a:xfrm>
              <a:off x="2047" y="511"/>
              <a:ext cx="988" cy="211"/>
            </a:xfrm>
            <a:custGeom>
              <a:avLst/>
              <a:gdLst>
                <a:gd name="T0" fmla="*/ 58 w 964"/>
                <a:gd name="T1" fmla="*/ 20 h 231"/>
                <a:gd name="T2" fmla="*/ 163 w 964"/>
                <a:gd name="T3" fmla="*/ 18 h 231"/>
                <a:gd name="T4" fmla="*/ 241 w 964"/>
                <a:gd name="T5" fmla="*/ 16 h 231"/>
                <a:gd name="T6" fmla="*/ 301 w 964"/>
                <a:gd name="T7" fmla="*/ 15 h 231"/>
                <a:gd name="T8" fmla="*/ 373 w 964"/>
                <a:gd name="T9" fmla="*/ 13 h 231"/>
                <a:gd name="T10" fmla="*/ 434 w 964"/>
                <a:gd name="T11" fmla="*/ 13 h 231"/>
                <a:gd name="T12" fmla="*/ 503 w 964"/>
                <a:gd name="T13" fmla="*/ 11 h 231"/>
                <a:gd name="T14" fmla="*/ 563 w 964"/>
                <a:gd name="T15" fmla="*/ 10 h 231"/>
                <a:gd name="T16" fmla="*/ 633 w 964"/>
                <a:gd name="T17" fmla="*/ 8 h 231"/>
                <a:gd name="T18" fmla="*/ 695 w 964"/>
                <a:gd name="T19" fmla="*/ 6 h 231"/>
                <a:gd name="T20" fmla="*/ 761 w 964"/>
                <a:gd name="T21" fmla="*/ 5 h 231"/>
                <a:gd name="T22" fmla="*/ 824 w 964"/>
                <a:gd name="T23" fmla="*/ 5 h 231"/>
                <a:gd name="T24" fmla="*/ 881 w 964"/>
                <a:gd name="T25" fmla="*/ 5 h 231"/>
                <a:gd name="T26" fmla="*/ 942 w 964"/>
                <a:gd name="T27" fmla="*/ 5 h 231"/>
                <a:gd name="T28" fmla="*/ 1039 w 964"/>
                <a:gd name="T29" fmla="*/ 5 h 231"/>
                <a:gd name="T30" fmla="*/ 1137 w 964"/>
                <a:gd name="T31" fmla="*/ 5 h 231"/>
                <a:gd name="T32" fmla="*/ 1224 w 964"/>
                <a:gd name="T33" fmla="*/ 0 h 231"/>
                <a:gd name="T34" fmla="*/ 1291 w 964"/>
                <a:gd name="T35" fmla="*/ 0 h 231"/>
                <a:gd name="T36" fmla="*/ 1367 w 964"/>
                <a:gd name="T37" fmla="*/ 0 h 231"/>
                <a:gd name="T38" fmla="*/ 1437 w 964"/>
                <a:gd name="T39" fmla="*/ 5 h 231"/>
                <a:gd name="T40" fmla="*/ 1525 w 964"/>
                <a:gd name="T41" fmla="*/ 5 h 231"/>
                <a:gd name="T42" fmla="*/ 1594 w 964"/>
                <a:gd name="T43" fmla="*/ 5 h 231"/>
                <a:gd name="T44" fmla="*/ 1665 w 964"/>
                <a:gd name="T45" fmla="*/ 5 h 231"/>
                <a:gd name="T46" fmla="*/ 1731 w 964"/>
                <a:gd name="T47" fmla="*/ 5 h 231"/>
                <a:gd name="T48" fmla="*/ 1811 w 964"/>
                <a:gd name="T49" fmla="*/ 5 h 231"/>
                <a:gd name="T50" fmla="*/ 1825 w 964"/>
                <a:gd name="T51" fmla="*/ 5 h 231"/>
                <a:gd name="T52" fmla="*/ 1760 w 964"/>
                <a:gd name="T53" fmla="*/ 5 h 231"/>
                <a:gd name="T54" fmla="*/ 1665 w 964"/>
                <a:gd name="T55" fmla="*/ 5 h 231"/>
                <a:gd name="T56" fmla="*/ 1603 w 964"/>
                <a:gd name="T57" fmla="*/ 5 h 231"/>
                <a:gd name="T58" fmla="*/ 1525 w 964"/>
                <a:gd name="T59" fmla="*/ 5 h 231"/>
                <a:gd name="T60" fmla="*/ 1437 w 964"/>
                <a:gd name="T61" fmla="*/ 5 h 231"/>
                <a:gd name="T62" fmla="*/ 1353 w 964"/>
                <a:gd name="T63" fmla="*/ 5 h 231"/>
                <a:gd name="T64" fmla="*/ 1264 w 964"/>
                <a:gd name="T65" fmla="*/ 5 h 231"/>
                <a:gd name="T66" fmla="*/ 1179 w 964"/>
                <a:gd name="T67" fmla="*/ 5 h 231"/>
                <a:gd name="T68" fmla="*/ 1083 w 964"/>
                <a:gd name="T69" fmla="*/ 5 h 231"/>
                <a:gd name="T70" fmla="*/ 987 w 964"/>
                <a:gd name="T71" fmla="*/ 5 h 231"/>
                <a:gd name="T72" fmla="*/ 924 w 964"/>
                <a:gd name="T73" fmla="*/ 5 h 231"/>
                <a:gd name="T74" fmla="*/ 868 w 964"/>
                <a:gd name="T75" fmla="*/ 7 h 231"/>
                <a:gd name="T76" fmla="*/ 789 w 964"/>
                <a:gd name="T77" fmla="*/ 9 h 231"/>
                <a:gd name="T78" fmla="*/ 717 w 964"/>
                <a:gd name="T79" fmla="*/ 10 h 231"/>
                <a:gd name="T80" fmla="*/ 650 w 964"/>
                <a:gd name="T81" fmla="*/ 11 h 231"/>
                <a:gd name="T82" fmla="*/ 574 w 964"/>
                <a:gd name="T83" fmla="*/ 12 h 231"/>
                <a:gd name="T84" fmla="*/ 503 w 964"/>
                <a:gd name="T85" fmla="*/ 13 h 231"/>
                <a:gd name="T86" fmla="*/ 434 w 964"/>
                <a:gd name="T87" fmla="*/ 14 h 231"/>
                <a:gd name="T88" fmla="*/ 356 w 964"/>
                <a:gd name="T89" fmla="*/ 15 h 231"/>
                <a:gd name="T90" fmla="*/ 294 w 964"/>
                <a:gd name="T91" fmla="*/ 16 h 231"/>
                <a:gd name="T92" fmla="*/ 234 w 964"/>
                <a:gd name="T93" fmla="*/ 18 h 231"/>
                <a:gd name="T94" fmla="*/ 163 w 964"/>
                <a:gd name="T95" fmla="*/ 18 h 231"/>
                <a:gd name="T96" fmla="*/ 65 w 964"/>
                <a:gd name="T97" fmla="*/ 21 h 231"/>
                <a:gd name="T98" fmla="*/ 0 w 964"/>
                <a:gd name="T99" fmla="*/ 22 h 2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64"/>
                <a:gd name="T151" fmla="*/ 0 h 231"/>
                <a:gd name="T152" fmla="*/ 964 w 964"/>
                <a:gd name="T153" fmla="*/ 231 h 23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64" h="231">
                  <a:moveTo>
                    <a:pt x="0" y="231"/>
                  </a:moveTo>
                  <a:lnTo>
                    <a:pt x="14" y="222"/>
                  </a:lnTo>
                  <a:lnTo>
                    <a:pt x="32" y="214"/>
                  </a:lnTo>
                  <a:lnTo>
                    <a:pt x="46" y="202"/>
                  </a:lnTo>
                  <a:lnTo>
                    <a:pt x="69" y="197"/>
                  </a:lnTo>
                  <a:lnTo>
                    <a:pt x="87" y="185"/>
                  </a:lnTo>
                  <a:lnTo>
                    <a:pt x="105" y="177"/>
                  </a:lnTo>
                  <a:lnTo>
                    <a:pt x="119" y="171"/>
                  </a:lnTo>
                  <a:lnTo>
                    <a:pt x="128" y="168"/>
                  </a:lnTo>
                  <a:lnTo>
                    <a:pt x="142" y="163"/>
                  </a:lnTo>
                  <a:lnTo>
                    <a:pt x="151" y="157"/>
                  </a:lnTo>
                  <a:lnTo>
                    <a:pt x="160" y="154"/>
                  </a:lnTo>
                  <a:lnTo>
                    <a:pt x="169" y="148"/>
                  </a:lnTo>
                  <a:lnTo>
                    <a:pt x="183" y="143"/>
                  </a:lnTo>
                  <a:lnTo>
                    <a:pt x="197" y="137"/>
                  </a:lnTo>
                  <a:lnTo>
                    <a:pt x="206" y="134"/>
                  </a:lnTo>
                  <a:lnTo>
                    <a:pt x="220" y="128"/>
                  </a:lnTo>
                  <a:lnTo>
                    <a:pt x="229" y="126"/>
                  </a:lnTo>
                  <a:lnTo>
                    <a:pt x="238" y="120"/>
                  </a:lnTo>
                  <a:lnTo>
                    <a:pt x="256" y="114"/>
                  </a:lnTo>
                  <a:lnTo>
                    <a:pt x="265" y="111"/>
                  </a:lnTo>
                  <a:lnTo>
                    <a:pt x="274" y="106"/>
                  </a:lnTo>
                  <a:lnTo>
                    <a:pt x="288" y="103"/>
                  </a:lnTo>
                  <a:lnTo>
                    <a:pt x="297" y="97"/>
                  </a:lnTo>
                  <a:lnTo>
                    <a:pt x="311" y="91"/>
                  </a:lnTo>
                  <a:lnTo>
                    <a:pt x="325" y="91"/>
                  </a:lnTo>
                  <a:lnTo>
                    <a:pt x="334" y="86"/>
                  </a:lnTo>
                  <a:lnTo>
                    <a:pt x="343" y="80"/>
                  </a:lnTo>
                  <a:lnTo>
                    <a:pt x="357" y="77"/>
                  </a:lnTo>
                  <a:lnTo>
                    <a:pt x="366" y="71"/>
                  </a:lnTo>
                  <a:lnTo>
                    <a:pt x="379" y="69"/>
                  </a:lnTo>
                  <a:lnTo>
                    <a:pt x="389" y="66"/>
                  </a:lnTo>
                  <a:lnTo>
                    <a:pt x="402" y="60"/>
                  </a:lnTo>
                  <a:lnTo>
                    <a:pt x="411" y="57"/>
                  </a:lnTo>
                  <a:lnTo>
                    <a:pt x="425" y="54"/>
                  </a:lnTo>
                  <a:lnTo>
                    <a:pt x="434" y="49"/>
                  </a:lnTo>
                  <a:lnTo>
                    <a:pt x="448" y="49"/>
                  </a:lnTo>
                  <a:lnTo>
                    <a:pt x="457" y="43"/>
                  </a:lnTo>
                  <a:lnTo>
                    <a:pt x="466" y="40"/>
                  </a:lnTo>
                  <a:lnTo>
                    <a:pt x="480" y="37"/>
                  </a:lnTo>
                  <a:lnTo>
                    <a:pt x="489" y="34"/>
                  </a:lnTo>
                  <a:lnTo>
                    <a:pt x="498" y="32"/>
                  </a:lnTo>
                  <a:lnTo>
                    <a:pt x="512" y="29"/>
                  </a:lnTo>
                  <a:lnTo>
                    <a:pt x="530" y="23"/>
                  </a:lnTo>
                  <a:lnTo>
                    <a:pt x="549" y="17"/>
                  </a:lnTo>
                  <a:lnTo>
                    <a:pt x="567" y="15"/>
                  </a:lnTo>
                  <a:lnTo>
                    <a:pt x="585" y="9"/>
                  </a:lnTo>
                  <a:lnTo>
                    <a:pt x="599" y="6"/>
                  </a:lnTo>
                  <a:lnTo>
                    <a:pt x="617" y="6"/>
                  </a:lnTo>
                  <a:lnTo>
                    <a:pt x="631" y="0"/>
                  </a:lnTo>
                  <a:lnTo>
                    <a:pt x="645" y="0"/>
                  </a:lnTo>
                  <a:lnTo>
                    <a:pt x="654" y="0"/>
                  </a:lnTo>
                  <a:lnTo>
                    <a:pt x="667" y="0"/>
                  </a:lnTo>
                  <a:lnTo>
                    <a:pt x="681" y="0"/>
                  </a:lnTo>
                  <a:lnTo>
                    <a:pt x="695" y="0"/>
                  </a:lnTo>
                  <a:lnTo>
                    <a:pt x="704" y="0"/>
                  </a:lnTo>
                  <a:lnTo>
                    <a:pt x="722" y="0"/>
                  </a:lnTo>
                  <a:lnTo>
                    <a:pt x="736" y="3"/>
                  </a:lnTo>
                  <a:lnTo>
                    <a:pt x="750" y="6"/>
                  </a:lnTo>
                  <a:lnTo>
                    <a:pt x="759" y="6"/>
                  </a:lnTo>
                  <a:lnTo>
                    <a:pt x="777" y="9"/>
                  </a:lnTo>
                  <a:lnTo>
                    <a:pt x="786" y="12"/>
                  </a:lnTo>
                  <a:lnTo>
                    <a:pt x="804" y="17"/>
                  </a:lnTo>
                  <a:lnTo>
                    <a:pt x="814" y="17"/>
                  </a:lnTo>
                  <a:lnTo>
                    <a:pt x="827" y="20"/>
                  </a:lnTo>
                  <a:lnTo>
                    <a:pt x="841" y="23"/>
                  </a:lnTo>
                  <a:lnTo>
                    <a:pt x="855" y="29"/>
                  </a:lnTo>
                  <a:lnTo>
                    <a:pt x="864" y="29"/>
                  </a:lnTo>
                  <a:lnTo>
                    <a:pt x="878" y="34"/>
                  </a:lnTo>
                  <a:lnTo>
                    <a:pt x="887" y="37"/>
                  </a:lnTo>
                  <a:lnTo>
                    <a:pt x="896" y="40"/>
                  </a:lnTo>
                  <a:lnTo>
                    <a:pt x="914" y="43"/>
                  </a:lnTo>
                  <a:lnTo>
                    <a:pt x="932" y="49"/>
                  </a:lnTo>
                  <a:lnTo>
                    <a:pt x="946" y="54"/>
                  </a:lnTo>
                  <a:lnTo>
                    <a:pt x="955" y="57"/>
                  </a:lnTo>
                  <a:lnTo>
                    <a:pt x="964" y="60"/>
                  </a:lnTo>
                  <a:lnTo>
                    <a:pt x="955" y="60"/>
                  </a:lnTo>
                  <a:lnTo>
                    <a:pt x="946" y="57"/>
                  </a:lnTo>
                  <a:lnTo>
                    <a:pt x="928" y="54"/>
                  </a:lnTo>
                  <a:lnTo>
                    <a:pt x="910" y="49"/>
                  </a:lnTo>
                  <a:lnTo>
                    <a:pt x="891" y="49"/>
                  </a:lnTo>
                  <a:lnTo>
                    <a:pt x="878" y="46"/>
                  </a:lnTo>
                  <a:lnTo>
                    <a:pt x="868" y="43"/>
                  </a:lnTo>
                  <a:lnTo>
                    <a:pt x="859" y="43"/>
                  </a:lnTo>
                  <a:lnTo>
                    <a:pt x="846" y="43"/>
                  </a:lnTo>
                  <a:lnTo>
                    <a:pt x="832" y="40"/>
                  </a:lnTo>
                  <a:lnTo>
                    <a:pt x="823" y="37"/>
                  </a:lnTo>
                  <a:lnTo>
                    <a:pt x="804" y="37"/>
                  </a:lnTo>
                  <a:lnTo>
                    <a:pt x="791" y="37"/>
                  </a:lnTo>
                  <a:lnTo>
                    <a:pt x="772" y="34"/>
                  </a:lnTo>
                  <a:lnTo>
                    <a:pt x="759" y="34"/>
                  </a:lnTo>
                  <a:lnTo>
                    <a:pt x="745" y="34"/>
                  </a:lnTo>
                  <a:lnTo>
                    <a:pt x="731" y="34"/>
                  </a:lnTo>
                  <a:lnTo>
                    <a:pt x="713" y="32"/>
                  </a:lnTo>
                  <a:lnTo>
                    <a:pt x="699" y="32"/>
                  </a:lnTo>
                  <a:lnTo>
                    <a:pt x="681" y="32"/>
                  </a:lnTo>
                  <a:lnTo>
                    <a:pt x="667" y="34"/>
                  </a:lnTo>
                  <a:lnTo>
                    <a:pt x="654" y="34"/>
                  </a:lnTo>
                  <a:lnTo>
                    <a:pt x="635" y="37"/>
                  </a:lnTo>
                  <a:lnTo>
                    <a:pt x="622" y="37"/>
                  </a:lnTo>
                  <a:lnTo>
                    <a:pt x="608" y="43"/>
                  </a:lnTo>
                  <a:lnTo>
                    <a:pt x="585" y="43"/>
                  </a:lnTo>
                  <a:lnTo>
                    <a:pt x="571" y="46"/>
                  </a:lnTo>
                  <a:lnTo>
                    <a:pt x="549" y="49"/>
                  </a:lnTo>
                  <a:lnTo>
                    <a:pt x="530" y="57"/>
                  </a:lnTo>
                  <a:lnTo>
                    <a:pt x="521" y="57"/>
                  </a:lnTo>
                  <a:lnTo>
                    <a:pt x="512" y="60"/>
                  </a:lnTo>
                  <a:lnTo>
                    <a:pt x="498" y="63"/>
                  </a:lnTo>
                  <a:lnTo>
                    <a:pt x="489" y="66"/>
                  </a:lnTo>
                  <a:lnTo>
                    <a:pt x="480" y="71"/>
                  </a:lnTo>
                  <a:lnTo>
                    <a:pt x="466" y="71"/>
                  </a:lnTo>
                  <a:lnTo>
                    <a:pt x="457" y="77"/>
                  </a:lnTo>
                  <a:lnTo>
                    <a:pt x="443" y="80"/>
                  </a:lnTo>
                  <a:lnTo>
                    <a:pt x="430" y="83"/>
                  </a:lnTo>
                  <a:lnTo>
                    <a:pt x="416" y="89"/>
                  </a:lnTo>
                  <a:lnTo>
                    <a:pt x="402" y="91"/>
                  </a:lnTo>
                  <a:lnTo>
                    <a:pt x="393" y="94"/>
                  </a:lnTo>
                  <a:lnTo>
                    <a:pt x="379" y="97"/>
                  </a:lnTo>
                  <a:lnTo>
                    <a:pt x="366" y="103"/>
                  </a:lnTo>
                  <a:lnTo>
                    <a:pt x="357" y="106"/>
                  </a:lnTo>
                  <a:lnTo>
                    <a:pt x="343" y="111"/>
                  </a:lnTo>
                  <a:lnTo>
                    <a:pt x="325" y="114"/>
                  </a:lnTo>
                  <a:lnTo>
                    <a:pt x="311" y="117"/>
                  </a:lnTo>
                  <a:lnTo>
                    <a:pt x="302" y="123"/>
                  </a:lnTo>
                  <a:lnTo>
                    <a:pt x="288" y="128"/>
                  </a:lnTo>
                  <a:lnTo>
                    <a:pt x="274" y="131"/>
                  </a:lnTo>
                  <a:lnTo>
                    <a:pt x="265" y="134"/>
                  </a:lnTo>
                  <a:lnTo>
                    <a:pt x="256" y="140"/>
                  </a:lnTo>
                  <a:lnTo>
                    <a:pt x="238" y="145"/>
                  </a:lnTo>
                  <a:lnTo>
                    <a:pt x="229" y="148"/>
                  </a:lnTo>
                  <a:lnTo>
                    <a:pt x="215" y="151"/>
                  </a:lnTo>
                  <a:lnTo>
                    <a:pt x="201" y="157"/>
                  </a:lnTo>
                  <a:lnTo>
                    <a:pt x="188" y="160"/>
                  </a:lnTo>
                  <a:lnTo>
                    <a:pt x="178" y="163"/>
                  </a:lnTo>
                  <a:lnTo>
                    <a:pt x="169" y="168"/>
                  </a:lnTo>
                  <a:lnTo>
                    <a:pt x="156" y="171"/>
                  </a:lnTo>
                  <a:lnTo>
                    <a:pt x="146" y="177"/>
                  </a:lnTo>
                  <a:lnTo>
                    <a:pt x="133" y="180"/>
                  </a:lnTo>
                  <a:lnTo>
                    <a:pt x="124" y="183"/>
                  </a:lnTo>
                  <a:lnTo>
                    <a:pt x="114" y="185"/>
                  </a:lnTo>
                  <a:lnTo>
                    <a:pt x="105" y="191"/>
                  </a:lnTo>
                  <a:lnTo>
                    <a:pt x="87" y="197"/>
                  </a:lnTo>
                  <a:lnTo>
                    <a:pt x="69" y="205"/>
                  </a:lnTo>
                  <a:lnTo>
                    <a:pt x="55" y="211"/>
                  </a:lnTo>
                  <a:lnTo>
                    <a:pt x="37" y="217"/>
                  </a:lnTo>
                  <a:lnTo>
                    <a:pt x="28" y="220"/>
                  </a:lnTo>
                  <a:lnTo>
                    <a:pt x="18" y="225"/>
                  </a:lnTo>
                  <a:lnTo>
                    <a:pt x="0" y="231"/>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89" name="Freeform 81"/>
            <p:cNvSpPr>
              <a:spLocks/>
            </p:cNvSpPr>
            <p:nvPr>
              <p:custDataLst>
                <p:tags r:id="rId188"/>
              </p:custDataLst>
            </p:nvPr>
          </p:nvSpPr>
          <p:spPr bwMode="gray">
            <a:xfrm>
              <a:off x="4230" y="923"/>
              <a:ext cx="797" cy="336"/>
            </a:xfrm>
            <a:custGeom>
              <a:avLst/>
              <a:gdLst>
                <a:gd name="T0" fmla="*/ 49 w 777"/>
                <a:gd name="T1" fmla="*/ 5 h 367"/>
                <a:gd name="T2" fmla="*/ 125 w 777"/>
                <a:gd name="T3" fmla="*/ 5 h 367"/>
                <a:gd name="T4" fmla="*/ 196 w 777"/>
                <a:gd name="T5" fmla="*/ 5 h 367"/>
                <a:gd name="T6" fmla="*/ 267 w 777"/>
                <a:gd name="T7" fmla="*/ 5 h 367"/>
                <a:gd name="T8" fmla="*/ 354 w 777"/>
                <a:gd name="T9" fmla="*/ 6 h 367"/>
                <a:gd name="T10" fmla="*/ 441 w 777"/>
                <a:gd name="T11" fmla="*/ 9 h 367"/>
                <a:gd name="T12" fmla="*/ 541 w 777"/>
                <a:gd name="T13" fmla="*/ 12 h 367"/>
                <a:gd name="T14" fmla="*/ 636 w 777"/>
                <a:gd name="T15" fmla="*/ 14 h 367"/>
                <a:gd name="T16" fmla="*/ 743 w 777"/>
                <a:gd name="T17" fmla="*/ 16 h 367"/>
                <a:gd name="T18" fmla="*/ 841 w 777"/>
                <a:gd name="T19" fmla="*/ 17 h 367"/>
                <a:gd name="T20" fmla="*/ 947 w 777"/>
                <a:gd name="T21" fmla="*/ 21 h 367"/>
                <a:gd name="T22" fmla="*/ 1043 w 777"/>
                <a:gd name="T23" fmla="*/ 23 h 367"/>
                <a:gd name="T24" fmla="*/ 1131 w 777"/>
                <a:gd name="T25" fmla="*/ 25 h 367"/>
                <a:gd name="T26" fmla="*/ 1220 w 777"/>
                <a:gd name="T27" fmla="*/ 27 h 367"/>
                <a:gd name="T28" fmla="*/ 1301 w 777"/>
                <a:gd name="T29" fmla="*/ 27 h 367"/>
                <a:gd name="T30" fmla="*/ 1372 w 777"/>
                <a:gd name="T31" fmla="*/ 29 h 367"/>
                <a:gd name="T32" fmla="*/ 1448 w 777"/>
                <a:gd name="T33" fmla="*/ 32 h 367"/>
                <a:gd name="T34" fmla="*/ 1506 w 777"/>
                <a:gd name="T35" fmla="*/ 33 h 367"/>
                <a:gd name="T36" fmla="*/ 1448 w 777"/>
                <a:gd name="T37" fmla="*/ 33 h 367"/>
                <a:gd name="T38" fmla="*/ 1381 w 777"/>
                <a:gd name="T39" fmla="*/ 35 h 367"/>
                <a:gd name="T40" fmla="*/ 1296 w 777"/>
                <a:gd name="T41" fmla="*/ 35 h 367"/>
                <a:gd name="T42" fmla="*/ 1185 w 777"/>
                <a:gd name="T43" fmla="*/ 35 h 367"/>
                <a:gd name="T44" fmla="*/ 1076 w 777"/>
                <a:gd name="T45" fmla="*/ 35 h 367"/>
                <a:gd name="T46" fmla="*/ 956 w 777"/>
                <a:gd name="T47" fmla="*/ 36 h 367"/>
                <a:gd name="T48" fmla="*/ 856 w 777"/>
                <a:gd name="T49" fmla="*/ 36 h 367"/>
                <a:gd name="T50" fmla="*/ 769 w 777"/>
                <a:gd name="T51" fmla="*/ 37 h 367"/>
                <a:gd name="T52" fmla="*/ 1131 w 777"/>
                <a:gd name="T53" fmla="*/ 29 h 367"/>
                <a:gd name="T54" fmla="*/ 1061 w 777"/>
                <a:gd name="T55" fmla="*/ 27 h 367"/>
                <a:gd name="T56" fmla="*/ 991 w 777"/>
                <a:gd name="T57" fmla="*/ 25 h 367"/>
                <a:gd name="T58" fmla="*/ 919 w 777"/>
                <a:gd name="T59" fmla="*/ 24 h 367"/>
                <a:gd name="T60" fmla="*/ 851 w 777"/>
                <a:gd name="T61" fmla="*/ 22 h 367"/>
                <a:gd name="T62" fmla="*/ 769 w 777"/>
                <a:gd name="T63" fmla="*/ 21 h 367"/>
                <a:gd name="T64" fmla="*/ 700 w 777"/>
                <a:gd name="T65" fmla="*/ 17 h 367"/>
                <a:gd name="T66" fmla="*/ 602 w 777"/>
                <a:gd name="T67" fmla="*/ 16 h 367"/>
                <a:gd name="T68" fmla="*/ 530 w 777"/>
                <a:gd name="T69" fmla="*/ 14 h 367"/>
                <a:gd name="T70" fmla="*/ 441 w 777"/>
                <a:gd name="T71" fmla="*/ 13 h 367"/>
                <a:gd name="T72" fmla="*/ 362 w 777"/>
                <a:gd name="T73" fmla="*/ 10 h 367"/>
                <a:gd name="T74" fmla="*/ 282 w 777"/>
                <a:gd name="T75" fmla="*/ 7 h 367"/>
                <a:gd name="T76" fmla="*/ 218 w 777"/>
                <a:gd name="T77" fmla="*/ 5 h 367"/>
                <a:gd name="T78" fmla="*/ 157 w 777"/>
                <a:gd name="T79" fmla="*/ 5 h 367"/>
                <a:gd name="T80" fmla="*/ 65 w 777"/>
                <a:gd name="T81" fmla="*/ 5 h 367"/>
                <a:gd name="T82" fmla="*/ 0 w 777"/>
                <a:gd name="T83" fmla="*/ 0 h 3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77"/>
                <a:gd name="T127" fmla="*/ 0 h 367"/>
                <a:gd name="T128" fmla="*/ 777 w 777"/>
                <a:gd name="T129" fmla="*/ 367 h 3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77" h="367">
                  <a:moveTo>
                    <a:pt x="4" y="0"/>
                  </a:moveTo>
                  <a:lnTo>
                    <a:pt x="9" y="0"/>
                  </a:lnTo>
                  <a:lnTo>
                    <a:pt x="23" y="6"/>
                  </a:lnTo>
                  <a:lnTo>
                    <a:pt x="36" y="11"/>
                  </a:lnTo>
                  <a:lnTo>
                    <a:pt x="55" y="17"/>
                  </a:lnTo>
                  <a:lnTo>
                    <a:pt x="64" y="23"/>
                  </a:lnTo>
                  <a:lnTo>
                    <a:pt x="73" y="26"/>
                  </a:lnTo>
                  <a:lnTo>
                    <a:pt x="87" y="28"/>
                  </a:lnTo>
                  <a:lnTo>
                    <a:pt x="100" y="37"/>
                  </a:lnTo>
                  <a:lnTo>
                    <a:pt x="110" y="40"/>
                  </a:lnTo>
                  <a:lnTo>
                    <a:pt x="123" y="46"/>
                  </a:lnTo>
                  <a:lnTo>
                    <a:pt x="137" y="51"/>
                  </a:lnTo>
                  <a:lnTo>
                    <a:pt x="155" y="57"/>
                  </a:lnTo>
                  <a:lnTo>
                    <a:pt x="169" y="65"/>
                  </a:lnTo>
                  <a:lnTo>
                    <a:pt x="183" y="68"/>
                  </a:lnTo>
                  <a:lnTo>
                    <a:pt x="196" y="74"/>
                  </a:lnTo>
                  <a:lnTo>
                    <a:pt x="215" y="85"/>
                  </a:lnTo>
                  <a:lnTo>
                    <a:pt x="228" y="88"/>
                  </a:lnTo>
                  <a:lnTo>
                    <a:pt x="247" y="97"/>
                  </a:lnTo>
                  <a:lnTo>
                    <a:pt x="260" y="105"/>
                  </a:lnTo>
                  <a:lnTo>
                    <a:pt x="279" y="111"/>
                  </a:lnTo>
                  <a:lnTo>
                    <a:pt x="297" y="117"/>
                  </a:lnTo>
                  <a:lnTo>
                    <a:pt x="311" y="125"/>
                  </a:lnTo>
                  <a:lnTo>
                    <a:pt x="329" y="131"/>
                  </a:lnTo>
                  <a:lnTo>
                    <a:pt x="347" y="140"/>
                  </a:lnTo>
                  <a:lnTo>
                    <a:pt x="365" y="148"/>
                  </a:lnTo>
                  <a:lnTo>
                    <a:pt x="384" y="154"/>
                  </a:lnTo>
                  <a:lnTo>
                    <a:pt x="402" y="162"/>
                  </a:lnTo>
                  <a:lnTo>
                    <a:pt x="420" y="171"/>
                  </a:lnTo>
                  <a:lnTo>
                    <a:pt x="434" y="177"/>
                  </a:lnTo>
                  <a:lnTo>
                    <a:pt x="457" y="185"/>
                  </a:lnTo>
                  <a:lnTo>
                    <a:pt x="471" y="191"/>
                  </a:lnTo>
                  <a:lnTo>
                    <a:pt x="489" y="199"/>
                  </a:lnTo>
                  <a:lnTo>
                    <a:pt x="507" y="205"/>
                  </a:lnTo>
                  <a:lnTo>
                    <a:pt x="525" y="214"/>
                  </a:lnTo>
                  <a:lnTo>
                    <a:pt x="539" y="219"/>
                  </a:lnTo>
                  <a:lnTo>
                    <a:pt x="557" y="225"/>
                  </a:lnTo>
                  <a:lnTo>
                    <a:pt x="571" y="233"/>
                  </a:lnTo>
                  <a:lnTo>
                    <a:pt x="585" y="239"/>
                  </a:lnTo>
                  <a:lnTo>
                    <a:pt x="603" y="248"/>
                  </a:lnTo>
                  <a:lnTo>
                    <a:pt x="617" y="253"/>
                  </a:lnTo>
                  <a:lnTo>
                    <a:pt x="630" y="259"/>
                  </a:lnTo>
                  <a:lnTo>
                    <a:pt x="644" y="268"/>
                  </a:lnTo>
                  <a:lnTo>
                    <a:pt x="658" y="273"/>
                  </a:lnTo>
                  <a:lnTo>
                    <a:pt x="672" y="279"/>
                  </a:lnTo>
                  <a:lnTo>
                    <a:pt x="681" y="282"/>
                  </a:lnTo>
                  <a:lnTo>
                    <a:pt x="690" y="288"/>
                  </a:lnTo>
                  <a:lnTo>
                    <a:pt x="708" y="293"/>
                  </a:lnTo>
                  <a:lnTo>
                    <a:pt x="717" y="299"/>
                  </a:lnTo>
                  <a:lnTo>
                    <a:pt x="736" y="308"/>
                  </a:lnTo>
                  <a:lnTo>
                    <a:pt x="749" y="316"/>
                  </a:lnTo>
                  <a:lnTo>
                    <a:pt x="763" y="322"/>
                  </a:lnTo>
                  <a:lnTo>
                    <a:pt x="772" y="325"/>
                  </a:lnTo>
                  <a:lnTo>
                    <a:pt x="777" y="330"/>
                  </a:lnTo>
                  <a:lnTo>
                    <a:pt x="763" y="330"/>
                  </a:lnTo>
                  <a:lnTo>
                    <a:pt x="749" y="333"/>
                  </a:lnTo>
                  <a:lnTo>
                    <a:pt x="740" y="336"/>
                  </a:lnTo>
                  <a:lnTo>
                    <a:pt x="726" y="336"/>
                  </a:lnTo>
                  <a:lnTo>
                    <a:pt x="713" y="339"/>
                  </a:lnTo>
                  <a:lnTo>
                    <a:pt x="699" y="342"/>
                  </a:lnTo>
                  <a:lnTo>
                    <a:pt x="681" y="342"/>
                  </a:lnTo>
                  <a:lnTo>
                    <a:pt x="667" y="342"/>
                  </a:lnTo>
                  <a:lnTo>
                    <a:pt x="649" y="342"/>
                  </a:lnTo>
                  <a:lnTo>
                    <a:pt x="630" y="347"/>
                  </a:lnTo>
                  <a:lnTo>
                    <a:pt x="612" y="347"/>
                  </a:lnTo>
                  <a:lnTo>
                    <a:pt x="594" y="350"/>
                  </a:lnTo>
                  <a:lnTo>
                    <a:pt x="571" y="353"/>
                  </a:lnTo>
                  <a:lnTo>
                    <a:pt x="557" y="353"/>
                  </a:lnTo>
                  <a:lnTo>
                    <a:pt x="535" y="356"/>
                  </a:lnTo>
                  <a:lnTo>
                    <a:pt x="516" y="359"/>
                  </a:lnTo>
                  <a:lnTo>
                    <a:pt x="493" y="359"/>
                  </a:lnTo>
                  <a:lnTo>
                    <a:pt x="480" y="362"/>
                  </a:lnTo>
                  <a:lnTo>
                    <a:pt x="461" y="362"/>
                  </a:lnTo>
                  <a:lnTo>
                    <a:pt x="443" y="364"/>
                  </a:lnTo>
                  <a:lnTo>
                    <a:pt x="425" y="364"/>
                  </a:lnTo>
                  <a:lnTo>
                    <a:pt x="416" y="367"/>
                  </a:lnTo>
                  <a:lnTo>
                    <a:pt x="397" y="367"/>
                  </a:lnTo>
                  <a:lnTo>
                    <a:pt x="589" y="293"/>
                  </a:lnTo>
                  <a:lnTo>
                    <a:pt x="585" y="290"/>
                  </a:lnTo>
                  <a:lnTo>
                    <a:pt x="585" y="288"/>
                  </a:lnTo>
                  <a:lnTo>
                    <a:pt x="571" y="282"/>
                  </a:lnTo>
                  <a:lnTo>
                    <a:pt x="562" y="279"/>
                  </a:lnTo>
                  <a:lnTo>
                    <a:pt x="548" y="271"/>
                  </a:lnTo>
                  <a:lnTo>
                    <a:pt x="525" y="262"/>
                  </a:lnTo>
                  <a:lnTo>
                    <a:pt x="516" y="256"/>
                  </a:lnTo>
                  <a:lnTo>
                    <a:pt x="512" y="253"/>
                  </a:lnTo>
                  <a:lnTo>
                    <a:pt x="498" y="248"/>
                  </a:lnTo>
                  <a:lnTo>
                    <a:pt x="489" y="242"/>
                  </a:lnTo>
                  <a:lnTo>
                    <a:pt x="475" y="236"/>
                  </a:lnTo>
                  <a:lnTo>
                    <a:pt x="466" y="231"/>
                  </a:lnTo>
                  <a:lnTo>
                    <a:pt x="452" y="225"/>
                  </a:lnTo>
                  <a:lnTo>
                    <a:pt x="439" y="216"/>
                  </a:lnTo>
                  <a:lnTo>
                    <a:pt x="425" y="211"/>
                  </a:lnTo>
                  <a:lnTo>
                    <a:pt x="416" y="205"/>
                  </a:lnTo>
                  <a:lnTo>
                    <a:pt x="397" y="199"/>
                  </a:lnTo>
                  <a:lnTo>
                    <a:pt x="384" y="194"/>
                  </a:lnTo>
                  <a:lnTo>
                    <a:pt x="370" y="185"/>
                  </a:lnTo>
                  <a:lnTo>
                    <a:pt x="361" y="179"/>
                  </a:lnTo>
                  <a:lnTo>
                    <a:pt x="347" y="171"/>
                  </a:lnTo>
                  <a:lnTo>
                    <a:pt x="329" y="165"/>
                  </a:lnTo>
                  <a:lnTo>
                    <a:pt x="311" y="157"/>
                  </a:lnTo>
                  <a:lnTo>
                    <a:pt x="301" y="151"/>
                  </a:lnTo>
                  <a:lnTo>
                    <a:pt x="288" y="145"/>
                  </a:lnTo>
                  <a:lnTo>
                    <a:pt x="274" y="137"/>
                  </a:lnTo>
                  <a:lnTo>
                    <a:pt x="256" y="131"/>
                  </a:lnTo>
                  <a:lnTo>
                    <a:pt x="242" y="122"/>
                  </a:lnTo>
                  <a:lnTo>
                    <a:pt x="228" y="117"/>
                  </a:lnTo>
                  <a:lnTo>
                    <a:pt x="215" y="108"/>
                  </a:lnTo>
                  <a:lnTo>
                    <a:pt x="201" y="103"/>
                  </a:lnTo>
                  <a:lnTo>
                    <a:pt x="187" y="97"/>
                  </a:lnTo>
                  <a:lnTo>
                    <a:pt x="173" y="88"/>
                  </a:lnTo>
                  <a:lnTo>
                    <a:pt x="160" y="85"/>
                  </a:lnTo>
                  <a:lnTo>
                    <a:pt x="146" y="74"/>
                  </a:lnTo>
                  <a:lnTo>
                    <a:pt x="137" y="68"/>
                  </a:lnTo>
                  <a:lnTo>
                    <a:pt x="123" y="65"/>
                  </a:lnTo>
                  <a:lnTo>
                    <a:pt x="114" y="57"/>
                  </a:lnTo>
                  <a:lnTo>
                    <a:pt x="100" y="48"/>
                  </a:lnTo>
                  <a:lnTo>
                    <a:pt x="87" y="46"/>
                  </a:lnTo>
                  <a:lnTo>
                    <a:pt x="82" y="40"/>
                  </a:lnTo>
                  <a:lnTo>
                    <a:pt x="73" y="37"/>
                  </a:lnTo>
                  <a:lnTo>
                    <a:pt x="50" y="26"/>
                  </a:lnTo>
                  <a:lnTo>
                    <a:pt x="36" y="17"/>
                  </a:lnTo>
                  <a:lnTo>
                    <a:pt x="23" y="11"/>
                  </a:lnTo>
                  <a:lnTo>
                    <a:pt x="14" y="6"/>
                  </a:lnTo>
                  <a:lnTo>
                    <a:pt x="0" y="0"/>
                  </a:lnTo>
                  <a:lnTo>
                    <a:pt x="4"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90" name="Freeform 82"/>
            <p:cNvSpPr>
              <a:spLocks/>
            </p:cNvSpPr>
            <p:nvPr>
              <p:custDataLst>
                <p:tags r:id="rId189"/>
              </p:custDataLst>
            </p:nvPr>
          </p:nvSpPr>
          <p:spPr bwMode="gray">
            <a:xfrm>
              <a:off x="2000" y="1341"/>
              <a:ext cx="1804" cy="70"/>
            </a:xfrm>
            <a:custGeom>
              <a:avLst/>
              <a:gdLst>
                <a:gd name="T0" fmla="*/ 668 w 1760"/>
                <a:gd name="T1" fmla="*/ 5 h 77"/>
                <a:gd name="T2" fmla="*/ 890 w 1760"/>
                <a:gd name="T3" fmla="*/ 6 h 77"/>
                <a:gd name="T4" fmla="*/ 1121 w 1760"/>
                <a:gd name="T5" fmla="*/ 6 h 77"/>
                <a:gd name="T6" fmla="*/ 1355 w 1760"/>
                <a:gd name="T7" fmla="*/ 6 h 77"/>
                <a:gd name="T8" fmla="*/ 1598 w 1760"/>
                <a:gd name="T9" fmla="*/ 6 h 77"/>
                <a:gd name="T10" fmla="*/ 1851 w 1760"/>
                <a:gd name="T11" fmla="*/ 5 h 77"/>
                <a:gd name="T12" fmla="*/ 2086 w 1760"/>
                <a:gd name="T13" fmla="*/ 5 h 77"/>
                <a:gd name="T14" fmla="*/ 2320 w 1760"/>
                <a:gd name="T15" fmla="*/ 5 h 77"/>
                <a:gd name="T16" fmla="*/ 2539 w 1760"/>
                <a:gd name="T17" fmla="*/ 5 h 77"/>
                <a:gd name="T18" fmla="*/ 2739 w 1760"/>
                <a:gd name="T19" fmla="*/ 5 h 77"/>
                <a:gd name="T20" fmla="*/ 2915 w 1760"/>
                <a:gd name="T21" fmla="*/ 5 h 77"/>
                <a:gd name="T22" fmla="*/ 3064 w 1760"/>
                <a:gd name="T23" fmla="*/ 5 h 77"/>
                <a:gd name="T24" fmla="*/ 3187 w 1760"/>
                <a:gd name="T25" fmla="*/ 5 h 77"/>
                <a:gd name="T26" fmla="*/ 3274 w 1760"/>
                <a:gd name="T27" fmla="*/ 5 h 77"/>
                <a:gd name="T28" fmla="*/ 3346 w 1760"/>
                <a:gd name="T29" fmla="*/ 0 h 77"/>
                <a:gd name="T30" fmla="*/ 3249 w 1760"/>
                <a:gd name="T31" fmla="*/ 0 h 77"/>
                <a:gd name="T32" fmla="*/ 3133 w 1760"/>
                <a:gd name="T33" fmla="*/ 3 h 77"/>
                <a:gd name="T34" fmla="*/ 3031 w 1760"/>
                <a:gd name="T35" fmla="*/ 5 h 77"/>
                <a:gd name="T36" fmla="*/ 2901 w 1760"/>
                <a:gd name="T37" fmla="*/ 5 h 77"/>
                <a:gd name="T38" fmla="*/ 2766 w 1760"/>
                <a:gd name="T39" fmla="*/ 5 h 77"/>
                <a:gd name="T40" fmla="*/ 2623 w 1760"/>
                <a:gd name="T41" fmla="*/ 5 h 77"/>
                <a:gd name="T42" fmla="*/ 2478 w 1760"/>
                <a:gd name="T43" fmla="*/ 5 h 77"/>
                <a:gd name="T44" fmla="*/ 2310 w 1760"/>
                <a:gd name="T45" fmla="*/ 5 h 77"/>
                <a:gd name="T46" fmla="*/ 2154 w 1760"/>
                <a:gd name="T47" fmla="*/ 5 h 77"/>
                <a:gd name="T48" fmla="*/ 1999 w 1760"/>
                <a:gd name="T49" fmla="*/ 5 h 77"/>
                <a:gd name="T50" fmla="*/ 1851 w 1760"/>
                <a:gd name="T51" fmla="*/ 5 h 77"/>
                <a:gd name="T52" fmla="*/ 1713 w 1760"/>
                <a:gd name="T53" fmla="*/ 5 h 77"/>
                <a:gd name="T54" fmla="*/ 1582 w 1760"/>
                <a:gd name="T55" fmla="*/ 5 h 77"/>
                <a:gd name="T56" fmla="*/ 1474 w 1760"/>
                <a:gd name="T57" fmla="*/ 5 h 77"/>
                <a:gd name="T58" fmla="*/ 1392 w 1760"/>
                <a:gd name="T59" fmla="*/ 5 h 77"/>
                <a:gd name="T60" fmla="*/ 1301 w 1760"/>
                <a:gd name="T61" fmla="*/ 5 h 77"/>
                <a:gd name="T62" fmla="*/ 1219 w 1760"/>
                <a:gd name="T63" fmla="*/ 5 h 77"/>
                <a:gd name="T64" fmla="*/ 1112 w 1760"/>
                <a:gd name="T65" fmla="*/ 5 h 77"/>
                <a:gd name="T66" fmla="*/ 1001 w 1760"/>
                <a:gd name="T67" fmla="*/ 5 h 77"/>
                <a:gd name="T68" fmla="*/ 890 w 1760"/>
                <a:gd name="T69" fmla="*/ 5 h 77"/>
                <a:gd name="T70" fmla="*/ 767 w 1760"/>
                <a:gd name="T71" fmla="*/ 5 h 77"/>
                <a:gd name="T72" fmla="*/ 645 w 1760"/>
                <a:gd name="T73" fmla="*/ 5 h 77"/>
                <a:gd name="T74" fmla="*/ 531 w 1760"/>
                <a:gd name="T75" fmla="*/ 5 h 77"/>
                <a:gd name="T76" fmla="*/ 420 w 1760"/>
                <a:gd name="T77" fmla="*/ 5 h 77"/>
                <a:gd name="T78" fmla="*/ 313 w 1760"/>
                <a:gd name="T79" fmla="*/ 5 h 77"/>
                <a:gd name="T80" fmla="*/ 224 w 1760"/>
                <a:gd name="T81" fmla="*/ 5 h 77"/>
                <a:gd name="T82" fmla="*/ 138 w 1760"/>
                <a:gd name="T83" fmla="*/ 5 h 77"/>
                <a:gd name="T84" fmla="*/ 49 w 1760"/>
                <a:gd name="T85" fmla="*/ 5 h 77"/>
                <a:gd name="T86" fmla="*/ 10 w 1760"/>
                <a:gd name="T87" fmla="*/ 5 h 77"/>
                <a:gd name="T88" fmla="*/ 131 w 1760"/>
                <a:gd name="T89" fmla="*/ 5 h 77"/>
                <a:gd name="T90" fmla="*/ 224 w 1760"/>
                <a:gd name="T91" fmla="*/ 5 h 77"/>
                <a:gd name="T92" fmla="*/ 313 w 1760"/>
                <a:gd name="T93" fmla="*/ 5 h 77"/>
                <a:gd name="T94" fmla="*/ 401 w 1760"/>
                <a:gd name="T95" fmla="*/ 5 h 77"/>
                <a:gd name="T96" fmla="*/ 478 w 1760"/>
                <a:gd name="T97" fmla="*/ 5 h 77"/>
                <a:gd name="T98" fmla="*/ 522 w 1760"/>
                <a:gd name="T99" fmla="*/ 5 h 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60"/>
                <a:gd name="T151" fmla="*/ 0 h 77"/>
                <a:gd name="T152" fmla="*/ 1760 w 1760"/>
                <a:gd name="T153" fmla="*/ 77 h 7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60" h="77">
                  <a:moveTo>
                    <a:pt x="275" y="66"/>
                  </a:moveTo>
                  <a:lnTo>
                    <a:pt x="302" y="66"/>
                  </a:lnTo>
                  <a:lnTo>
                    <a:pt x="325" y="66"/>
                  </a:lnTo>
                  <a:lnTo>
                    <a:pt x="352" y="69"/>
                  </a:lnTo>
                  <a:lnTo>
                    <a:pt x="380" y="72"/>
                  </a:lnTo>
                  <a:lnTo>
                    <a:pt x="407" y="74"/>
                  </a:lnTo>
                  <a:lnTo>
                    <a:pt x="435" y="74"/>
                  </a:lnTo>
                  <a:lnTo>
                    <a:pt x="467" y="77"/>
                  </a:lnTo>
                  <a:lnTo>
                    <a:pt x="499" y="77"/>
                  </a:lnTo>
                  <a:lnTo>
                    <a:pt x="526" y="77"/>
                  </a:lnTo>
                  <a:lnTo>
                    <a:pt x="558" y="77"/>
                  </a:lnTo>
                  <a:lnTo>
                    <a:pt x="590" y="77"/>
                  </a:lnTo>
                  <a:lnTo>
                    <a:pt x="622" y="77"/>
                  </a:lnTo>
                  <a:lnTo>
                    <a:pt x="649" y="77"/>
                  </a:lnTo>
                  <a:lnTo>
                    <a:pt x="681" y="77"/>
                  </a:lnTo>
                  <a:lnTo>
                    <a:pt x="713" y="77"/>
                  </a:lnTo>
                  <a:lnTo>
                    <a:pt x="750" y="77"/>
                  </a:lnTo>
                  <a:lnTo>
                    <a:pt x="782" y="77"/>
                  </a:lnTo>
                  <a:lnTo>
                    <a:pt x="809" y="77"/>
                  </a:lnTo>
                  <a:lnTo>
                    <a:pt x="841" y="77"/>
                  </a:lnTo>
                  <a:lnTo>
                    <a:pt x="878" y="77"/>
                  </a:lnTo>
                  <a:lnTo>
                    <a:pt x="905" y="74"/>
                  </a:lnTo>
                  <a:lnTo>
                    <a:pt x="937" y="72"/>
                  </a:lnTo>
                  <a:lnTo>
                    <a:pt x="974" y="72"/>
                  </a:lnTo>
                  <a:lnTo>
                    <a:pt x="1006" y="69"/>
                  </a:lnTo>
                  <a:lnTo>
                    <a:pt x="1033" y="66"/>
                  </a:lnTo>
                  <a:lnTo>
                    <a:pt x="1065" y="66"/>
                  </a:lnTo>
                  <a:lnTo>
                    <a:pt x="1097" y="63"/>
                  </a:lnTo>
                  <a:lnTo>
                    <a:pt x="1129" y="60"/>
                  </a:lnTo>
                  <a:lnTo>
                    <a:pt x="1161" y="60"/>
                  </a:lnTo>
                  <a:lnTo>
                    <a:pt x="1193" y="57"/>
                  </a:lnTo>
                  <a:lnTo>
                    <a:pt x="1221" y="55"/>
                  </a:lnTo>
                  <a:lnTo>
                    <a:pt x="1248" y="55"/>
                  </a:lnTo>
                  <a:lnTo>
                    <a:pt x="1280" y="52"/>
                  </a:lnTo>
                  <a:lnTo>
                    <a:pt x="1303" y="49"/>
                  </a:lnTo>
                  <a:lnTo>
                    <a:pt x="1335" y="46"/>
                  </a:lnTo>
                  <a:lnTo>
                    <a:pt x="1362" y="46"/>
                  </a:lnTo>
                  <a:lnTo>
                    <a:pt x="1390" y="40"/>
                  </a:lnTo>
                  <a:lnTo>
                    <a:pt x="1413" y="40"/>
                  </a:lnTo>
                  <a:lnTo>
                    <a:pt x="1440" y="37"/>
                  </a:lnTo>
                  <a:lnTo>
                    <a:pt x="1467" y="35"/>
                  </a:lnTo>
                  <a:lnTo>
                    <a:pt x="1490" y="32"/>
                  </a:lnTo>
                  <a:lnTo>
                    <a:pt x="1513" y="32"/>
                  </a:lnTo>
                  <a:lnTo>
                    <a:pt x="1536" y="29"/>
                  </a:lnTo>
                  <a:lnTo>
                    <a:pt x="1559" y="23"/>
                  </a:lnTo>
                  <a:lnTo>
                    <a:pt x="1577" y="23"/>
                  </a:lnTo>
                  <a:lnTo>
                    <a:pt x="1595" y="20"/>
                  </a:lnTo>
                  <a:lnTo>
                    <a:pt x="1614" y="20"/>
                  </a:lnTo>
                  <a:lnTo>
                    <a:pt x="1637" y="18"/>
                  </a:lnTo>
                  <a:lnTo>
                    <a:pt x="1650" y="15"/>
                  </a:lnTo>
                  <a:lnTo>
                    <a:pt x="1664" y="15"/>
                  </a:lnTo>
                  <a:lnTo>
                    <a:pt x="1678" y="12"/>
                  </a:lnTo>
                  <a:lnTo>
                    <a:pt x="1691" y="12"/>
                  </a:lnTo>
                  <a:lnTo>
                    <a:pt x="1701" y="9"/>
                  </a:lnTo>
                  <a:lnTo>
                    <a:pt x="1719" y="6"/>
                  </a:lnTo>
                  <a:lnTo>
                    <a:pt x="1723" y="6"/>
                  </a:lnTo>
                  <a:lnTo>
                    <a:pt x="1737" y="6"/>
                  </a:lnTo>
                  <a:lnTo>
                    <a:pt x="1746" y="3"/>
                  </a:lnTo>
                  <a:lnTo>
                    <a:pt x="1755" y="0"/>
                  </a:lnTo>
                  <a:lnTo>
                    <a:pt x="1760" y="0"/>
                  </a:lnTo>
                  <a:lnTo>
                    <a:pt x="1755" y="0"/>
                  </a:lnTo>
                  <a:lnTo>
                    <a:pt x="1742" y="0"/>
                  </a:lnTo>
                  <a:lnTo>
                    <a:pt x="1723" y="0"/>
                  </a:lnTo>
                  <a:lnTo>
                    <a:pt x="1710" y="0"/>
                  </a:lnTo>
                  <a:lnTo>
                    <a:pt x="1691" y="3"/>
                  </a:lnTo>
                  <a:lnTo>
                    <a:pt x="1678" y="3"/>
                  </a:lnTo>
                  <a:lnTo>
                    <a:pt x="1664" y="3"/>
                  </a:lnTo>
                  <a:lnTo>
                    <a:pt x="1650" y="3"/>
                  </a:lnTo>
                  <a:lnTo>
                    <a:pt x="1637" y="3"/>
                  </a:lnTo>
                  <a:lnTo>
                    <a:pt x="1627" y="3"/>
                  </a:lnTo>
                  <a:lnTo>
                    <a:pt x="1609" y="3"/>
                  </a:lnTo>
                  <a:lnTo>
                    <a:pt x="1595" y="6"/>
                  </a:lnTo>
                  <a:lnTo>
                    <a:pt x="1577" y="6"/>
                  </a:lnTo>
                  <a:lnTo>
                    <a:pt x="1559" y="6"/>
                  </a:lnTo>
                  <a:lnTo>
                    <a:pt x="1545" y="6"/>
                  </a:lnTo>
                  <a:lnTo>
                    <a:pt x="1527" y="9"/>
                  </a:lnTo>
                  <a:lnTo>
                    <a:pt x="1513" y="9"/>
                  </a:lnTo>
                  <a:lnTo>
                    <a:pt x="1490" y="9"/>
                  </a:lnTo>
                  <a:lnTo>
                    <a:pt x="1477" y="12"/>
                  </a:lnTo>
                  <a:lnTo>
                    <a:pt x="1458" y="12"/>
                  </a:lnTo>
                  <a:lnTo>
                    <a:pt x="1440" y="12"/>
                  </a:lnTo>
                  <a:lnTo>
                    <a:pt x="1417" y="12"/>
                  </a:lnTo>
                  <a:lnTo>
                    <a:pt x="1399" y="15"/>
                  </a:lnTo>
                  <a:lnTo>
                    <a:pt x="1381" y="15"/>
                  </a:lnTo>
                  <a:lnTo>
                    <a:pt x="1358" y="18"/>
                  </a:lnTo>
                  <a:lnTo>
                    <a:pt x="1339" y="18"/>
                  </a:lnTo>
                  <a:lnTo>
                    <a:pt x="1321" y="18"/>
                  </a:lnTo>
                  <a:lnTo>
                    <a:pt x="1303" y="18"/>
                  </a:lnTo>
                  <a:lnTo>
                    <a:pt x="1280" y="20"/>
                  </a:lnTo>
                  <a:lnTo>
                    <a:pt x="1257" y="20"/>
                  </a:lnTo>
                  <a:lnTo>
                    <a:pt x="1239" y="20"/>
                  </a:lnTo>
                  <a:lnTo>
                    <a:pt x="1216" y="20"/>
                  </a:lnTo>
                  <a:lnTo>
                    <a:pt x="1198" y="23"/>
                  </a:lnTo>
                  <a:lnTo>
                    <a:pt x="1175" y="23"/>
                  </a:lnTo>
                  <a:lnTo>
                    <a:pt x="1157" y="23"/>
                  </a:lnTo>
                  <a:lnTo>
                    <a:pt x="1134" y="23"/>
                  </a:lnTo>
                  <a:lnTo>
                    <a:pt x="1116" y="26"/>
                  </a:lnTo>
                  <a:lnTo>
                    <a:pt x="1093" y="26"/>
                  </a:lnTo>
                  <a:lnTo>
                    <a:pt x="1070" y="29"/>
                  </a:lnTo>
                  <a:lnTo>
                    <a:pt x="1052" y="29"/>
                  </a:lnTo>
                  <a:lnTo>
                    <a:pt x="1033" y="32"/>
                  </a:lnTo>
                  <a:lnTo>
                    <a:pt x="1010" y="32"/>
                  </a:lnTo>
                  <a:lnTo>
                    <a:pt x="992" y="32"/>
                  </a:lnTo>
                  <a:lnTo>
                    <a:pt x="974" y="32"/>
                  </a:lnTo>
                  <a:lnTo>
                    <a:pt x="956" y="32"/>
                  </a:lnTo>
                  <a:lnTo>
                    <a:pt x="937" y="32"/>
                  </a:lnTo>
                  <a:lnTo>
                    <a:pt x="919" y="35"/>
                  </a:lnTo>
                  <a:lnTo>
                    <a:pt x="901" y="35"/>
                  </a:lnTo>
                  <a:lnTo>
                    <a:pt x="887" y="35"/>
                  </a:lnTo>
                  <a:lnTo>
                    <a:pt x="869" y="35"/>
                  </a:lnTo>
                  <a:lnTo>
                    <a:pt x="850" y="37"/>
                  </a:lnTo>
                  <a:lnTo>
                    <a:pt x="832" y="40"/>
                  </a:lnTo>
                  <a:lnTo>
                    <a:pt x="818" y="40"/>
                  </a:lnTo>
                  <a:lnTo>
                    <a:pt x="800" y="40"/>
                  </a:lnTo>
                  <a:lnTo>
                    <a:pt x="791" y="40"/>
                  </a:lnTo>
                  <a:lnTo>
                    <a:pt x="777" y="40"/>
                  </a:lnTo>
                  <a:lnTo>
                    <a:pt x="764" y="40"/>
                  </a:lnTo>
                  <a:lnTo>
                    <a:pt x="750" y="40"/>
                  </a:lnTo>
                  <a:lnTo>
                    <a:pt x="741" y="40"/>
                  </a:lnTo>
                  <a:lnTo>
                    <a:pt x="732" y="43"/>
                  </a:lnTo>
                  <a:lnTo>
                    <a:pt x="723" y="43"/>
                  </a:lnTo>
                  <a:lnTo>
                    <a:pt x="709" y="43"/>
                  </a:lnTo>
                  <a:lnTo>
                    <a:pt x="700" y="43"/>
                  </a:lnTo>
                  <a:lnTo>
                    <a:pt x="686" y="43"/>
                  </a:lnTo>
                  <a:lnTo>
                    <a:pt x="677" y="43"/>
                  </a:lnTo>
                  <a:lnTo>
                    <a:pt x="663" y="43"/>
                  </a:lnTo>
                  <a:lnTo>
                    <a:pt x="649" y="43"/>
                  </a:lnTo>
                  <a:lnTo>
                    <a:pt x="640" y="43"/>
                  </a:lnTo>
                  <a:lnTo>
                    <a:pt x="627" y="46"/>
                  </a:lnTo>
                  <a:lnTo>
                    <a:pt x="613" y="46"/>
                  </a:lnTo>
                  <a:lnTo>
                    <a:pt x="599" y="46"/>
                  </a:lnTo>
                  <a:lnTo>
                    <a:pt x="585" y="46"/>
                  </a:lnTo>
                  <a:lnTo>
                    <a:pt x="572" y="46"/>
                  </a:lnTo>
                  <a:lnTo>
                    <a:pt x="558" y="46"/>
                  </a:lnTo>
                  <a:lnTo>
                    <a:pt x="544" y="46"/>
                  </a:lnTo>
                  <a:lnTo>
                    <a:pt x="526" y="46"/>
                  </a:lnTo>
                  <a:lnTo>
                    <a:pt x="512" y="46"/>
                  </a:lnTo>
                  <a:lnTo>
                    <a:pt x="499" y="46"/>
                  </a:lnTo>
                  <a:lnTo>
                    <a:pt x="480" y="46"/>
                  </a:lnTo>
                  <a:lnTo>
                    <a:pt x="467" y="46"/>
                  </a:lnTo>
                  <a:lnTo>
                    <a:pt x="448" y="46"/>
                  </a:lnTo>
                  <a:lnTo>
                    <a:pt x="435" y="46"/>
                  </a:lnTo>
                  <a:lnTo>
                    <a:pt x="416" y="46"/>
                  </a:lnTo>
                  <a:lnTo>
                    <a:pt x="403" y="46"/>
                  </a:lnTo>
                  <a:lnTo>
                    <a:pt x="389" y="46"/>
                  </a:lnTo>
                  <a:lnTo>
                    <a:pt x="371" y="46"/>
                  </a:lnTo>
                  <a:lnTo>
                    <a:pt x="357" y="46"/>
                  </a:lnTo>
                  <a:lnTo>
                    <a:pt x="339" y="46"/>
                  </a:lnTo>
                  <a:lnTo>
                    <a:pt x="325" y="46"/>
                  </a:lnTo>
                  <a:lnTo>
                    <a:pt x="311" y="46"/>
                  </a:lnTo>
                  <a:lnTo>
                    <a:pt x="293" y="46"/>
                  </a:lnTo>
                  <a:lnTo>
                    <a:pt x="279" y="46"/>
                  </a:lnTo>
                  <a:lnTo>
                    <a:pt x="266" y="46"/>
                  </a:lnTo>
                  <a:lnTo>
                    <a:pt x="252" y="46"/>
                  </a:lnTo>
                  <a:lnTo>
                    <a:pt x="234" y="46"/>
                  </a:lnTo>
                  <a:lnTo>
                    <a:pt x="220" y="46"/>
                  </a:lnTo>
                  <a:lnTo>
                    <a:pt x="206" y="46"/>
                  </a:lnTo>
                  <a:lnTo>
                    <a:pt x="192" y="46"/>
                  </a:lnTo>
                  <a:lnTo>
                    <a:pt x="179" y="46"/>
                  </a:lnTo>
                  <a:lnTo>
                    <a:pt x="165" y="46"/>
                  </a:lnTo>
                  <a:lnTo>
                    <a:pt x="156" y="46"/>
                  </a:lnTo>
                  <a:lnTo>
                    <a:pt x="142" y="43"/>
                  </a:lnTo>
                  <a:lnTo>
                    <a:pt x="128" y="43"/>
                  </a:lnTo>
                  <a:lnTo>
                    <a:pt x="119" y="43"/>
                  </a:lnTo>
                  <a:lnTo>
                    <a:pt x="106" y="43"/>
                  </a:lnTo>
                  <a:lnTo>
                    <a:pt x="96" y="43"/>
                  </a:lnTo>
                  <a:lnTo>
                    <a:pt x="83" y="43"/>
                  </a:lnTo>
                  <a:lnTo>
                    <a:pt x="74" y="43"/>
                  </a:lnTo>
                  <a:lnTo>
                    <a:pt x="64" y="43"/>
                  </a:lnTo>
                  <a:lnTo>
                    <a:pt x="46" y="43"/>
                  </a:lnTo>
                  <a:lnTo>
                    <a:pt x="32" y="43"/>
                  </a:lnTo>
                  <a:lnTo>
                    <a:pt x="23" y="43"/>
                  </a:lnTo>
                  <a:lnTo>
                    <a:pt x="10" y="43"/>
                  </a:lnTo>
                  <a:lnTo>
                    <a:pt x="0" y="43"/>
                  </a:lnTo>
                  <a:lnTo>
                    <a:pt x="10" y="43"/>
                  </a:lnTo>
                  <a:lnTo>
                    <a:pt x="28" y="43"/>
                  </a:lnTo>
                  <a:lnTo>
                    <a:pt x="42" y="46"/>
                  </a:lnTo>
                  <a:lnTo>
                    <a:pt x="60" y="46"/>
                  </a:lnTo>
                  <a:lnTo>
                    <a:pt x="69" y="46"/>
                  </a:lnTo>
                  <a:lnTo>
                    <a:pt x="83" y="46"/>
                  </a:lnTo>
                  <a:lnTo>
                    <a:pt x="92" y="49"/>
                  </a:lnTo>
                  <a:lnTo>
                    <a:pt x="106" y="49"/>
                  </a:lnTo>
                  <a:lnTo>
                    <a:pt x="119" y="49"/>
                  </a:lnTo>
                  <a:lnTo>
                    <a:pt x="128" y="52"/>
                  </a:lnTo>
                  <a:lnTo>
                    <a:pt x="142" y="55"/>
                  </a:lnTo>
                  <a:lnTo>
                    <a:pt x="156" y="55"/>
                  </a:lnTo>
                  <a:lnTo>
                    <a:pt x="165" y="55"/>
                  </a:lnTo>
                  <a:lnTo>
                    <a:pt x="179" y="55"/>
                  </a:lnTo>
                  <a:lnTo>
                    <a:pt x="188" y="55"/>
                  </a:lnTo>
                  <a:lnTo>
                    <a:pt x="202" y="57"/>
                  </a:lnTo>
                  <a:lnTo>
                    <a:pt x="211" y="57"/>
                  </a:lnTo>
                  <a:lnTo>
                    <a:pt x="220" y="57"/>
                  </a:lnTo>
                  <a:lnTo>
                    <a:pt x="229" y="60"/>
                  </a:lnTo>
                  <a:lnTo>
                    <a:pt x="238" y="60"/>
                  </a:lnTo>
                  <a:lnTo>
                    <a:pt x="252" y="60"/>
                  </a:lnTo>
                  <a:lnTo>
                    <a:pt x="266" y="60"/>
                  </a:lnTo>
                  <a:lnTo>
                    <a:pt x="270" y="63"/>
                  </a:lnTo>
                  <a:lnTo>
                    <a:pt x="275" y="66"/>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91" name="Freeform 83"/>
            <p:cNvSpPr>
              <a:spLocks/>
            </p:cNvSpPr>
            <p:nvPr>
              <p:custDataLst>
                <p:tags r:id="rId190"/>
              </p:custDataLst>
            </p:nvPr>
          </p:nvSpPr>
          <p:spPr bwMode="gray">
            <a:xfrm>
              <a:off x="1227" y="2140"/>
              <a:ext cx="1139" cy="188"/>
            </a:xfrm>
            <a:custGeom>
              <a:avLst/>
              <a:gdLst>
                <a:gd name="T0" fmla="*/ 49 w 1111"/>
                <a:gd name="T1" fmla="*/ 3 h 205"/>
                <a:gd name="T2" fmla="*/ 103 w 1111"/>
                <a:gd name="T3" fmla="*/ 6 h 205"/>
                <a:gd name="T4" fmla="*/ 195 w 1111"/>
                <a:gd name="T5" fmla="*/ 6 h 205"/>
                <a:gd name="T6" fmla="*/ 272 w 1111"/>
                <a:gd name="T7" fmla="*/ 6 h 205"/>
                <a:gd name="T8" fmla="*/ 343 w 1111"/>
                <a:gd name="T9" fmla="*/ 6 h 205"/>
                <a:gd name="T10" fmla="*/ 403 w 1111"/>
                <a:gd name="T11" fmla="*/ 6 h 205"/>
                <a:gd name="T12" fmla="*/ 463 w 1111"/>
                <a:gd name="T13" fmla="*/ 6 h 205"/>
                <a:gd name="T14" fmla="*/ 525 w 1111"/>
                <a:gd name="T15" fmla="*/ 6 h 205"/>
                <a:gd name="T16" fmla="*/ 595 w 1111"/>
                <a:gd name="T17" fmla="*/ 6 h 205"/>
                <a:gd name="T18" fmla="*/ 664 w 1111"/>
                <a:gd name="T19" fmla="*/ 6 h 205"/>
                <a:gd name="T20" fmla="*/ 734 w 1111"/>
                <a:gd name="T21" fmla="*/ 6 h 205"/>
                <a:gd name="T22" fmla="*/ 804 w 1111"/>
                <a:gd name="T23" fmla="*/ 6 h 205"/>
                <a:gd name="T24" fmla="*/ 865 w 1111"/>
                <a:gd name="T25" fmla="*/ 6 h 205"/>
                <a:gd name="T26" fmla="*/ 933 w 1111"/>
                <a:gd name="T27" fmla="*/ 6 h 205"/>
                <a:gd name="T28" fmla="*/ 1004 w 1111"/>
                <a:gd name="T29" fmla="*/ 6 h 205"/>
                <a:gd name="T30" fmla="*/ 1065 w 1111"/>
                <a:gd name="T31" fmla="*/ 6 h 205"/>
                <a:gd name="T32" fmla="*/ 1135 w 1111"/>
                <a:gd name="T33" fmla="*/ 6 h 205"/>
                <a:gd name="T34" fmla="*/ 1195 w 1111"/>
                <a:gd name="T35" fmla="*/ 6 h 205"/>
                <a:gd name="T36" fmla="*/ 1291 w 1111"/>
                <a:gd name="T37" fmla="*/ 6 h 205"/>
                <a:gd name="T38" fmla="*/ 1353 w 1111"/>
                <a:gd name="T39" fmla="*/ 6 h 205"/>
                <a:gd name="T40" fmla="*/ 1439 w 1111"/>
                <a:gd name="T41" fmla="*/ 6 h 205"/>
                <a:gd name="T42" fmla="*/ 1510 w 1111"/>
                <a:gd name="T43" fmla="*/ 6 h 205"/>
                <a:gd name="T44" fmla="*/ 1597 w 1111"/>
                <a:gd name="T45" fmla="*/ 6 h 205"/>
                <a:gd name="T46" fmla="*/ 1712 w 1111"/>
                <a:gd name="T47" fmla="*/ 6 h 205"/>
                <a:gd name="T48" fmla="*/ 1828 w 1111"/>
                <a:gd name="T49" fmla="*/ 7 h 205"/>
                <a:gd name="T50" fmla="*/ 1917 w 1111"/>
                <a:gd name="T51" fmla="*/ 7 h 205"/>
                <a:gd name="T52" fmla="*/ 1988 w 1111"/>
                <a:gd name="T53" fmla="*/ 7 h 205"/>
                <a:gd name="T54" fmla="*/ 2048 w 1111"/>
                <a:gd name="T55" fmla="*/ 7 h 205"/>
                <a:gd name="T56" fmla="*/ 2103 w 1111"/>
                <a:gd name="T57" fmla="*/ 7 h 205"/>
                <a:gd name="T58" fmla="*/ 2086 w 1111"/>
                <a:gd name="T59" fmla="*/ 22 h 205"/>
                <a:gd name="T60" fmla="*/ 2042 w 1111"/>
                <a:gd name="T61" fmla="*/ 22 h 205"/>
                <a:gd name="T62" fmla="*/ 1982 w 1111"/>
                <a:gd name="T63" fmla="*/ 22 h 205"/>
                <a:gd name="T64" fmla="*/ 1894 w 1111"/>
                <a:gd name="T65" fmla="*/ 22 h 205"/>
                <a:gd name="T66" fmla="*/ 1790 w 1111"/>
                <a:gd name="T67" fmla="*/ 22 h 205"/>
                <a:gd name="T68" fmla="*/ 1695 w 1111"/>
                <a:gd name="T69" fmla="*/ 22 h 205"/>
                <a:gd name="T70" fmla="*/ 1633 w 1111"/>
                <a:gd name="T71" fmla="*/ 22 h 205"/>
                <a:gd name="T72" fmla="*/ 1572 w 1111"/>
                <a:gd name="T73" fmla="*/ 21 h 205"/>
                <a:gd name="T74" fmla="*/ 1510 w 1111"/>
                <a:gd name="T75" fmla="*/ 21 h 205"/>
                <a:gd name="T76" fmla="*/ 1452 w 1111"/>
                <a:gd name="T77" fmla="*/ 21 h 205"/>
                <a:gd name="T78" fmla="*/ 1387 w 1111"/>
                <a:gd name="T79" fmla="*/ 21 h 205"/>
                <a:gd name="T80" fmla="*/ 1327 w 1111"/>
                <a:gd name="T81" fmla="*/ 21 h 205"/>
                <a:gd name="T82" fmla="*/ 1266 w 1111"/>
                <a:gd name="T83" fmla="*/ 21 h 205"/>
                <a:gd name="T84" fmla="*/ 1189 w 1111"/>
                <a:gd name="T85" fmla="*/ 20 h 205"/>
                <a:gd name="T86" fmla="*/ 1082 w 1111"/>
                <a:gd name="T87" fmla="*/ 20 h 205"/>
                <a:gd name="T88" fmla="*/ 985 w 1111"/>
                <a:gd name="T89" fmla="*/ 20 h 205"/>
                <a:gd name="T90" fmla="*/ 933 w 1111"/>
                <a:gd name="T91" fmla="*/ 20 h 205"/>
                <a:gd name="T92" fmla="*/ 865 w 1111"/>
                <a:gd name="T93" fmla="*/ 19 h 205"/>
                <a:gd name="T94" fmla="*/ 804 w 1111"/>
                <a:gd name="T95" fmla="*/ 18 h 205"/>
                <a:gd name="T96" fmla="*/ 734 w 1111"/>
                <a:gd name="T97" fmla="*/ 18 h 205"/>
                <a:gd name="T98" fmla="*/ 664 w 1111"/>
                <a:gd name="T99" fmla="*/ 18 h 205"/>
                <a:gd name="T100" fmla="*/ 595 w 1111"/>
                <a:gd name="T101" fmla="*/ 17 h 205"/>
                <a:gd name="T102" fmla="*/ 525 w 1111"/>
                <a:gd name="T103" fmla="*/ 17 h 205"/>
                <a:gd name="T104" fmla="*/ 463 w 1111"/>
                <a:gd name="T105" fmla="*/ 17 h 205"/>
                <a:gd name="T106" fmla="*/ 403 w 1111"/>
                <a:gd name="T107" fmla="*/ 17 h 205"/>
                <a:gd name="T108" fmla="*/ 343 w 1111"/>
                <a:gd name="T109" fmla="*/ 16 h 205"/>
                <a:gd name="T110" fmla="*/ 244 w 1111"/>
                <a:gd name="T111" fmla="*/ 16 h 205"/>
                <a:gd name="T112" fmla="*/ 137 w 1111"/>
                <a:gd name="T113" fmla="*/ 16 h 205"/>
                <a:gd name="T114" fmla="*/ 58 w 1111"/>
                <a:gd name="T115" fmla="*/ 15 h 205"/>
                <a:gd name="T116" fmla="*/ 5 w 1111"/>
                <a:gd name="T117" fmla="*/ 15 h 205"/>
                <a:gd name="T118" fmla="*/ 10 w 1111"/>
                <a:gd name="T119" fmla="*/ 0 h 20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11"/>
                <a:gd name="T181" fmla="*/ 0 h 205"/>
                <a:gd name="T182" fmla="*/ 1111 w 1111"/>
                <a:gd name="T183" fmla="*/ 205 h 20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11" h="205">
                  <a:moveTo>
                    <a:pt x="10" y="0"/>
                  </a:moveTo>
                  <a:lnTo>
                    <a:pt x="14" y="0"/>
                  </a:lnTo>
                  <a:lnTo>
                    <a:pt x="23" y="3"/>
                  </a:lnTo>
                  <a:lnTo>
                    <a:pt x="32" y="3"/>
                  </a:lnTo>
                  <a:lnTo>
                    <a:pt x="42" y="3"/>
                  </a:lnTo>
                  <a:lnTo>
                    <a:pt x="55" y="6"/>
                  </a:lnTo>
                  <a:lnTo>
                    <a:pt x="69" y="9"/>
                  </a:lnTo>
                  <a:lnTo>
                    <a:pt x="83" y="11"/>
                  </a:lnTo>
                  <a:lnTo>
                    <a:pt x="101" y="11"/>
                  </a:lnTo>
                  <a:lnTo>
                    <a:pt x="119" y="11"/>
                  </a:lnTo>
                  <a:lnTo>
                    <a:pt x="133" y="14"/>
                  </a:lnTo>
                  <a:lnTo>
                    <a:pt x="142" y="14"/>
                  </a:lnTo>
                  <a:lnTo>
                    <a:pt x="151" y="17"/>
                  </a:lnTo>
                  <a:lnTo>
                    <a:pt x="165" y="17"/>
                  </a:lnTo>
                  <a:lnTo>
                    <a:pt x="179" y="17"/>
                  </a:lnTo>
                  <a:lnTo>
                    <a:pt x="183" y="17"/>
                  </a:lnTo>
                  <a:lnTo>
                    <a:pt x="197" y="20"/>
                  </a:lnTo>
                  <a:lnTo>
                    <a:pt x="211" y="23"/>
                  </a:lnTo>
                  <a:lnTo>
                    <a:pt x="220" y="23"/>
                  </a:lnTo>
                  <a:lnTo>
                    <a:pt x="229" y="23"/>
                  </a:lnTo>
                  <a:lnTo>
                    <a:pt x="243" y="23"/>
                  </a:lnTo>
                  <a:lnTo>
                    <a:pt x="252" y="26"/>
                  </a:lnTo>
                  <a:lnTo>
                    <a:pt x="265" y="29"/>
                  </a:lnTo>
                  <a:lnTo>
                    <a:pt x="275" y="29"/>
                  </a:lnTo>
                  <a:lnTo>
                    <a:pt x="288" y="29"/>
                  </a:lnTo>
                  <a:lnTo>
                    <a:pt x="302" y="31"/>
                  </a:lnTo>
                  <a:lnTo>
                    <a:pt x="311" y="31"/>
                  </a:lnTo>
                  <a:lnTo>
                    <a:pt x="320" y="31"/>
                  </a:lnTo>
                  <a:lnTo>
                    <a:pt x="334" y="34"/>
                  </a:lnTo>
                  <a:lnTo>
                    <a:pt x="348" y="34"/>
                  </a:lnTo>
                  <a:lnTo>
                    <a:pt x="357" y="34"/>
                  </a:lnTo>
                  <a:lnTo>
                    <a:pt x="371" y="34"/>
                  </a:lnTo>
                  <a:lnTo>
                    <a:pt x="384" y="37"/>
                  </a:lnTo>
                  <a:lnTo>
                    <a:pt x="393" y="37"/>
                  </a:lnTo>
                  <a:lnTo>
                    <a:pt x="407" y="37"/>
                  </a:lnTo>
                  <a:lnTo>
                    <a:pt x="421" y="40"/>
                  </a:lnTo>
                  <a:lnTo>
                    <a:pt x="435" y="40"/>
                  </a:lnTo>
                  <a:lnTo>
                    <a:pt x="444" y="43"/>
                  </a:lnTo>
                  <a:lnTo>
                    <a:pt x="453" y="46"/>
                  </a:lnTo>
                  <a:lnTo>
                    <a:pt x="471" y="46"/>
                  </a:lnTo>
                  <a:lnTo>
                    <a:pt x="480" y="46"/>
                  </a:lnTo>
                  <a:lnTo>
                    <a:pt x="489" y="46"/>
                  </a:lnTo>
                  <a:lnTo>
                    <a:pt x="508" y="46"/>
                  </a:lnTo>
                  <a:lnTo>
                    <a:pt x="517" y="46"/>
                  </a:lnTo>
                  <a:lnTo>
                    <a:pt x="526" y="46"/>
                  </a:lnTo>
                  <a:lnTo>
                    <a:pt x="540" y="48"/>
                  </a:lnTo>
                  <a:lnTo>
                    <a:pt x="553" y="48"/>
                  </a:lnTo>
                  <a:lnTo>
                    <a:pt x="558" y="48"/>
                  </a:lnTo>
                  <a:lnTo>
                    <a:pt x="572" y="51"/>
                  </a:lnTo>
                  <a:lnTo>
                    <a:pt x="585" y="51"/>
                  </a:lnTo>
                  <a:lnTo>
                    <a:pt x="594" y="51"/>
                  </a:lnTo>
                  <a:lnTo>
                    <a:pt x="604" y="51"/>
                  </a:lnTo>
                  <a:lnTo>
                    <a:pt x="613" y="51"/>
                  </a:lnTo>
                  <a:lnTo>
                    <a:pt x="626" y="54"/>
                  </a:lnTo>
                  <a:lnTo>
                    <a:pt x="640" y="54"/>
                  </a:lnTo>
                  <a:lnTo>
                    <a:pt x="658" y="54"/>
                  </a:lnTo>
                  <a:lnTo>
                    <a:pt x="677" y="57"/>
                  </a:lnTo>
                  <a:lnTo>
                    <a:pt x="686" y="57"/>
                  </a:lnTo>
                  <a:lnTo>
                    <a:pt x="695" y="57"/>
                  </a:lnTo>
                  <a:lnTo>
                    <a:pt x="709" y="57"/>
                  </a:lnTo>
                  <a:lnTo>
                    <a:pt x="718" y="57"/>
                  </a:lnTo>
                  <a:lnTo>
                    <a:pt x="736" y="57"/>
                  </a:lnTo>
                  <a:lnTo>
                    <a:pt x="754" y="60"/>
                  </a:lnTo>
                  <a:lnTo>
                    <a:pt x="764" y="60"/>
                  </a:lnTo>
                  <a:lnTo>
                    <a:pt x="782" y="60"/>
                  </a:lnTo>
                  <a:lnTo>
                    <a:pt x="791" y="60"/>
                  </a:lnTo>
                  <a:lnTo>
                    <a:pt x="800" y="60"/>
                  </a:lnTo>
                  <a:lnTo>
                    <a:pt x="818" y="60"/>
                  </a:lnTo>
                  <a:lnTo>
                    <a:pt x="837" y="60"/>
                  </a:lnTo>
                  <a:lnTo>
                    <a:pt x="855" y="60"/>
                  </a:lnTo>
                  <a:lnTo>
                    <a:pt x="878" y="63"/>
                  </a:lnTo>
                  <a:lnTo>
                    <a:pt x="896" y="63"/>
                  </a:lnTo>
                  <a:lnTo>
                    <a:pt x="914" y="63"/>
                  </a:lnTo>
                  <a:lnTo>
                    <a:pt x="933" y="63"/>
                  </a:lnTo>
                  <a:lnTo>
                    <a:pt x="956" y="66"/>
                  </a:lnTo>
                  <a:lnTo>
                    <a:pt x="969" y="66"/>
                  </a:lnTo>
                  <a:lnTo>
                    <a:pt x="983" y="66"/>
                  </a:lnTo>
                  <a:lnTo>
                    <a:pt x="1001" y="66"/>
                  </a:lnTo>
                  <a:lnTo>
                    <a:pt x="1020" y="66"/>
                  </a:lnTo>
                  <a:lnTo>
                    <a:pt x="1029" y="66"/>
                  </a:lnTo>
                  <a:lnTo>
                    <a:pt x="1042" y="66"/>
                  </a:lnTo>
                  <a:lnTo>
                    <a:pt x="1056" y="66"/>
                  </a:lnTo>
                  <a:lnTo>
                    <a:pt x="1065" y="66"/>
                  </a:lnTo>
                  <a:lnTo>
                    <a:pt x="1074" y="66"/>
                  </a:lnTo>
                  <a:lnTo>
                    <a:pt x="1088" y="66"/>
                  </a:lnTo>
                  <a:lnTo>
                    <a:pt x="1093" y="66"/>
                  </a:lnTo>
                  <a:lnTo>
                    <a:pt x="1102" y="66"/>
                  </a:lnTo>
                  <a:lnTo>
                    <a:pt x="1111" y="66"/>
                  </a:lnTo>
                  <a:lnTo>
                    <a:pt x="1093" y="205"/>
                  </a:lnTo>
                  <a:lnTo>
                    <a:pt x="1088" y="205"/>
                  </a:lnTo>
                  <a:lnTo>
                    <a:pt x="1074" y="205"/>
                  </a:lnTo>
                  <a:lnTo>
                    <a:pt x="1070" y="205"/>
                  </a:lnTo>
                  <a:lnTo>
                    <a:pt x="1056" y="205"/>
                  </a:lnTo>
                  <a:lnTo>
                    <a:pt x="1047" y="205"/>
                  </a:lnTo>
                  <a:lnTo>
                    <a:pt x="1038" y="205"/>
                  </a:lnTo>
                  <a:lnTo>
                    <a:pt x="1020" y="202"/>
                  </a:lnTo>
                  <a:lnTo>
                    <a:pt x="1010" y="202"/>
                  </a:lnTo>
                  <a:lnTo>
                    <a:pt x="992" y="202"/>
                  </a:lnTo>
                  <a:lnTo>
                    <a:pt x="978" y="202"/>
                  </a:lnTo>
                  <a:lnTo>
                    <a:pt x="956" y="199"/>
                  </a:lnTo>
                  <a:lnTo>
                    <a:pt x="937" y="199"/>
                  </a:lnTo>
                  <a:lnTo>
                    <a:pt x="919" y="199"/>
                  </a:lnTo>
                  <a:lnTo>
                    <a:pt x="901" y="199"/>
                  </a:lnTo>
                  <a:lnTo>
                    <a:pt x="887" y="199"/>
                  </a:lnTo>
                  <a:lnTo>
                    <a:pt x="878" y="199"/>
                  </a:lnTo>
                  <a:lnTo>
                    <a:pt x="869" y="199"/>
                  </a:lnTo>
                  <a:lnTo>
                    <a:pt x="855" y="199"/>
                  </a:lnTo>
                  <a:lnTo>
                    <a:pt x="846" y="197"/>
                  </a:lnTo>
                  <a:lnTo>
                    <a:pt x="837" y="197"/>
                  </a:lnTo>
                  <a:lnTo>
                    <a:pt x="823" y="197"/>
                  </a:lnTo>
                  <a:lnTo>
                    <a:pt x="814" y="197"/>
                  </a:lnTo>
                  <a:lnTo>
                    <a:pt x="800" y="197"/>
                  </a:lnTo>
                  <a:lnTo>
                    <a:pt x="791" y="197"/>
                  </a:lnTo>
                  <a:lnTo>
                    <a:pt x="782" y="197"/>
                  </a:lnTo>
                  <a:lnTo>
                    <a:pt x="768" y="197"/>
                  </a:lnTo>
                  <a:lnTo>
                    <a:pt x="759" y="194"/>
                  </a:lnTo>
                  <a:lnTo>
                    <a:pt x="745" y="194"/>
                  </a:lnTo>
                  <a:lnTo>
                    <a:pt x="736" y="194"/>
                  </a:lnTo>
                  <a:lnTo>
                    <a:pt x="727" y="194"/>
                  </a:lnTo>
                  <a:lnTo>
                    <a:pt x="713" y="194"/>
                  </a:lnTo>
                  <a:lnTo>
                    <a:pt x="704" y="194"/>
                  </a:lnTo>
                  <a:lnTo>
                    <a:pt x="695" y="194"/>
                  </a:lnTo>
                  <a:lnTo>
                    <a:pt x="681" y="194"/>
                  </a:lnTo>
                  <a:lnTo>
                    <a:pt x="672" y="194"/>
                  </a:lnTo>
                  <a:lnTo>
                    <a:pt x="663" y="194"/>
                  </a:lnTo>
                  <a:lnTo>
                    <a:pt x="649" y="194"/>
                  </a:lnTo>
                  <a:lnTo>
                    <a:pt x="640" y="194"/>
                  </a:lnTo>
                  <a:lnTo>
                    <a:pt x="622" y="191"/>
                  </a:lnTo>
                  <a:lnTo>
                    <a:pt x="604" y="188"/>
                  </a:lnTo>
                  <a:lnTo>
                    <a:pt x="585" y="188"/>
                  </a:lnTo>
                  <a:lnTo>
                    <a:pt x="567" y="188"/>
                  </a:lnTo>
                  <a:lnTo>
                    <a:pt x="544" y="185"/>
                  </a:lnTo>
                  <a:lnTo>
                    <a:pt x="526" y="185"/>
                  </a:lnTo>
                  <a:lnTo>
                    <a:pt x="517" y="185"/>
                  </a:lnTo>
                  <a:lnTo>
                    <a:pt x="508" y="182"/>
                  </a:lnTo>
                  <a:lnTo>
                    <a:pt x="494" y="182"/>
                  </a:lnTo>
                  <a:lnTo>
                    <a:pt x="489" y="182"/>
                  </a:lnTo>
                  <a:lnTo>
                    <a:pt x="471" y="177"/>
                  </a:lnTo>
                  <a:lnTo>
                    <a:pt x="462" y="177"/>
                  </a:lnTo>
                  <a:lnTo>
                    <a:pt x="453" y="177"/>
                  </a:lnTo>
                  <a:lnTo>
                    <a:pt x="439" y="177"/>
                  </a:lnTo>
                  <a:lnTo>
                    <a:pt x="430" y="174"/>
                  </a:lnTo>
                  <a:lnTo>
                    <a:pt x="421" y="174"/>
                  </a:lnTo>
                  <a:lnTo>
                    <a:pt x="407" y="174"/>
                  </a:lnTo>
                  <a:lnTo>
                    <a:pt x="398" y="174"/>
                  </a:lnTo>
                  <a:lnTo>
                    <a:pt x="384" y="171"/>
                  </a:lnTo>
                  <a:lnTo>
                    <a:pt x="371" y="171"/>
                  </a:lnTo>
                  <a:lnTo>
                    <a:pt x="357" y="168"/>
                  </a:lnTo>
                  <a:lnTo>
                    <a:pt x="348" y="168"/>
                  </a:lnTo>
                  <a:lnTo>
                    <a:pt x="334" y="165"/>
                  </a:lnTo>
                  <a:lnTo>
                    <a:pt x="320" y="162"/>
                  </a:lnTo>
                  <a:lnTo>
                    <a:pt x="311" y="162"/>
                  </a:lnTo>
                  <a:lnTo>
                    <a:pt x="302" y="162"/>
                  </a:lnTo>
                  <a:lnTo>
                    <a:pt x="288" y="162"/>
                  </a:lnTo>
                  <a:lnTo>
                    <a:pt x="275" y="162"/>
                  </a:lnTo>
                  <a:lnTo>
                    <a:pt x="265" y="160"/>
                  </a:lnTo>
                  <a:lnTo>
                    <a:pt x="256" y="160"/>
                  </a:lnTo>
                  <a:lnTo>
                    <a:pt x="243" y="157"/>
                  </a:lnTo>
                  <a:lnTo>
                    <a:pt x="233" y="157"/>
                  </a:lnTo>
                  <a:lnTo>
                    <a:pt x="220" y="157"/>
                  </a:lnTo>
                  <a:lnTo>
                    <a:pt x="211" y="157"/>
                  </a:lnTo>
                  <a:lnTo>
                    <a:pt x="197" y="151"/>
                  </a:lnTo>
                  <a:lnTo>
                    <a:pt x="188" y="151"/>
                  </a:lnTo>
                  <a:lnTo>
                    <a:pt x="179" y="151"/>
                  </a:lnTo>
                  <a:lnTo>
                    <a:pt x="165" y="151"/>
                  </a:lnTo>
                  <a:lnTo>
                    <a:pt x="147" y="148"/>
                  </a:lnTo>
                  <a:lnTo>
                    <a:pt x="128" y="145"/>
                  </a:lnTo>
                  <a:lnTo>
                    <a:pt x="110" y="142"/>
                  </a:lnTo>
                  <a:lnTo>
                    <a:pt x="92" y="142"/>
                  </a:lnTo>
                  <a:lnTo>
                    <a:pt x="73" y="140"/>
                  </a:lnTo>
                  <a:lnTo>
                    <a:pt x="60" y="140"/>
                  </a:lnTo>
                  <a:lnTo>
                    <a:pt x="42" y="137"/>
                  </a:lnTo>
                  <a:lnTo>
                    <a:pt x="32" y="137"/>
                  </a:lnTo>
                  <a:lnTo>
                    <a:pt x="23" y="134"/>
                  </a:lnTo>
                  <a:lnTo>
                    <a:pt x="14" y="134"/>
                  </a:lnTo>
                  <a:lnTo>
                    <a:pt x="5" y="134"/>
                  </a:lnTo>
                  <a:lnTo>
                    <a:pt x="0" y="134"/>
                  </a:lnTo>
                  <a:lnTo>
                    <a:pt x="10"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92" name="Freeform 84"/>
            <p:cNvSpPr>
              <a:spLocks/>
            </p:cNvSpPr>
            <p:nvPr>
              <p:custDataLst>
                <p:tags r:id="rId191"/>
              </p:custDataLst>
            </p:nvPr>
          </p:nvSpPr>
          <p:spPr bwMode="gray">
            <a:xfrm>
              <a:off x="3658" y="2183"/>
              <a:ext cx="760" cy="161"/>
            </a:xfrm>
            <a:custGeom>
              <a:avLst/>
              <a:gdLst>
                <a:gd name="T0" fmla="*/ 14 w 741"/>
                <a:gd name="T1" fmla="*/ 5 h 176"/>
                <a:gd name="T2" fmla="*/ 75 w 741"/>
                <a:gd name="T3" fmla="*/ 5 h 176"/>
                <a:gd name="T4" fmla="*/ 138 w 741"/>
                <a:gd name="T5" fmla="*/ 5 h 176"/>
                <a:gd name="T6" fmla="*/ 197 w 741"/>
                <a:gd name="T7" fmla="*/ 5 h 176"/>
                <a:gd name="T8" fmla="*/ 255 w 741"/>
                <a:gd name="T9" fmla="*/ 5 h 176"/>
                <a:gd name="T10" fmla="*/ 309 w 741"/>
                <a:gd name="T11" fmla="*/ 5 h 176"/>
                <a:gd name="T12" fmla="*/ 379 w 741"/>
                <a:gd name="T13" fmla="*/ 5 h 176"/>
                <a:gd name="T14" fmla="*/ 434 w 741"/>
                <a:gd name="T15" fmla="*/ 5 h 176"/>
                <a:gd name="T16" fmla="*/ 494 w 741"/>
                <a:gd name="T17" fmla="*/ 5 h 176"/>
                <a:gd name="T18" fmla="*/ 547 w 741"/>
                <a:gd name="T19" fmla="*/ 5 h 176"/>
                <a:gd name="T20" fmla="*/ 618 w 741"/>
                <a:gd name="T21" fmla="*/ 5 h 176"/>
                <a:gd name="T22" fmla="*/ 663 w 741"/>
                <a:gd name="T23" fmla="*/ 5 h 176"/>
                <a:gd name="T24" fmla="*/ 724 w 741"/>
                <a:gd name="T25" fmla="*/ 5 h 176"/>
                <a:gd name="T26" fmla="*/ 785 w 741"/>
                <a:gd name="T27" fmla="*/ 5 h 176"/>
                <a:gd name="T28" fmla="*/ 837 w 741"/>
                <a:gd name="T29" fmla="*/ 5 h 176"/>
                <a:gd name="T30" fmla="*/ 891 w 741"/>
                <a:gd name="T31" fmla="*/ 5 h 176"/>
                <a:gd name="T32" fmla="*/ 945 w 741"/>
                <a:gd name="T33" fmla="*/ 5 h 176"/>
                <a:gd name="T34" fmla="*/ 998 w 741"/>
                <a:gd name="T35" fmla="*/ 5 h 176"/>
                <a:gd name="T36" fmla="*/ 1043 w 741"/>
                <a:gd name="T37" fmla="*/ 5 h 176"/>
                <a:gd name="T38" fmla="*/ 1088 w 741"/>
                <a:gd name="T39" fmla="*/ 5 h 176"/>
                <a:gd name="T40" fmla="*/ 1127 w 741"/>
                <a:gd name="T41" fmla="*/ 5 h 176"/>
                <a:gd name="T42" fmla="*/ 1176 w 741"/>
                <a:gd name="T43" fmla="*/ 2 h 176"/>
                <a:gd name="T44" fmla="*/ 1237 w 741"/>
                <a:gd name="T45" fmla="*/ 0 h 176"/>
                <a:gd name="T46" fmla="*/ 1301 w 741"/>
                <a:gd name="T47" fmla="*/ 0 h 176"/>
                <a:gd name="T48" fmla="*/ 1349 w 741"/>
                <a:gd name="T49" fmla="*/ 0 h 176"/>
                <a:gd name="T50" fmla="*/ 1405 w 741"/>
                <a:gd name="T51" fmla="*/ 0 h 176"/>
                <a:gd name="T52" fmla="*/ 1412 w 741"/>
                <a:gd name="T53" fmla="*/ 2 h 176"/>
                <a:gd name="T54" fmla="*/ 1412 w 741"/>
                <a:gd name="T55" fmla="*/ 5 h 176"/>
                <a:gd name="T56" fmla="*/ 1412 w 741"/>
                <a:gd name="T57" fmla="*/ 5 h 176"/>
                <a:gd name="T58" fmla="*/ 1423 w 741"/>
                <a:gd name="T59" fmla="*/ 5 h 176"/>
                <a:gd name="T60" fmla="*/ 1423 w 741"/>
                <a:gd name="T61" fmla="*/ 6 h 176"/>
                <a:gd name="T62" fmla="*/ 1423 w 741"/>
                <a:gd name="T63" fmla="*/ 9 h 176"/>
                <a:gd name="T64" fmla="*/ 1429 w 741"/>
                <a:gd name="T65" fmla="*/ 11 h 176"/>
                <a:gd name="T66" fmla="*/ 1429 w 741"/>
                <a:gd name="T67" fmla="*/ 12 h 176"/>
                <a:gd name="T68" fmla="*/ 1429 w 741"/>
                <a:gd name="T69" fmla="*/ 12 h 176"/>
                <a:gd name="T70" fmla="*/ 1387 w 741"/>
                <a:gd name="T71" fmla="*/ 12 h 176"/>
                <a:gd name="T72" fmla="*/ 1335 w 741"/>
                <a:gd name="T73" fmla="*/ 12 h 176"/>
                <a:gd name="T74" fmla="*/ 1288 w 741"/>
                <a:gd name="T75" fmla="*/ 13 h 176"/>
                <a:gd name="T76" fmla="*/ 1237 w 741"/>
                <a:gd name="T77" fmla="*/ 13 h 176"/>
                <a:gd name="T78" fmla="*/ 1184 w 741"/>
                <a:gd name="T79" fmla="*/ 13 h 176"/>
                <a:gd name="T80" fmla="*/ 1127 w 741"/>
                <a:gd name="T81" fmla="*/ 14 h 176"/>
                <a:gd name="T82" fmla="*/ 1062 w 741"/>
                <a:gd name="T83" fmla="*/ 14 h 176"/>
                <a:gd name="T84" fmla="*/ 1008 w 741"/>
                <a:gd name="T85" fmla="*/ 14 h 176"/>
                <a:gd name="T86" fmla="*/ 936 w 741"/>
                <a:gd name="T87" fmla="*/ 15 h 176"/>
                <a:gd name="T88" fmla="*/ 866 w 741"/>
                <a:gd name="T89" fmla="*/ 15 h 176"/>
                <a:gd name="T90" fmla="*/ 804 w 741"/>
                <a:gd name="T91" fmla="*/ 15 h 176"/>
                <a:gd name="T92" fmla="*/ 742 w 741"/>
                <a:gd name="T93" fmla="*/ 15 h 176"/>
                <a:gd name="T94" fmla="*/ 680 w 741"/>
                <a:gd name="T95" fmla="*/ 16 h 176"/>
                <a:gd name="T96" fmla="*/ 0 w 741"/>
                <a:gd name="T97" fmla="*/ 17 h 176"/>
                <a:gd name="T98" fmla="*/ 0 w 741"/>
                <a:gd name="T99" fmla="*/ 5 h 17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41"/>
                <a:gd name="T151" fmla="*/ 0 h 176"/>
                <a:gd name="T152" fmla="*/ 741 w 741"/>
                <a:gd name="T153" fmla="*/ 176 h 17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41" h="176">
                  <a:moveTo>
                    <a:pt x="0" y="40"/>
                  </a:moveTo>
                  <a:lnTo>
                    <a:pt x="14" y="40"/>
                  </a:lnTo>
                  <a:lnTo>
                    <a:pt x="28" y="40"/>
                  </a:lnTo>
                  <a:lnTo>
                    <a:pt x="41" y="40"/>
                  </a:lnTo>
                  <a:lnTo>
                    <a:pt x="60" y="40"/>
                  </a:lnTo>
                  <a:lnTo>
                    <a:pt x="73" y="40"/>
                  </a:lnTo>
                  <a:lnTo>
                    <a:pt x="87" y="40"/>
                  </a:lnTo>
                  <a:lnTo>
                    <a:pt x="101" y="40"/>
                  </a:lnTo>
                  <a:lnTo>
                    <a:pt x="119" y="40"/>
                  </a:lnTo>
                  <a:lnTo>
                    <a:pt x="133" y="37"/>
                  </a:lnTo>
                  <a:lnTo>
                    <a:pt x="147" y="37"/>
                  </a:lnTo>
                  <a:lnTo>
                    <a:pt x="160" y="37"/>
                  </a:lnTo>
                  <a:lnTo>
                    <a:pt x="179" y="37"/>
                  </a:lnTo>
                  <a:lnTo>
                    <a:pt x="197" y="34"/>
                  </a:lnTo>
                  <a:lnTo>
                    <a:pt x="210" y="34"/>
                  </a:lnTo>
                  <a:lnTo>
                    <a:pt x="224" y="34"/>
                  </a:lnTo>
                  <a:lnTo>
                    <a:pt x="238" y="34"/>
                  </a:lnTo>
                  <a:lnTo>
                    <a:pt x="256" y="31"/>
                  </a:lnTo>
                  <a:lnTo>
                    <a:pt x="270" y="31"/>
                  </a:lnTo>
                  <a:lnTo>
                    <a:pt x="284" y="28"/>
                  </a:lnTo>
                  <a:lnTo>
                    <a:pt x="302" y="28"/>
                  </a:lnTo>
                  <a:lnTo>
                    <a:pt x="320" y="28"/>
                  </a:lnTo>
                  <a:lnTo>
                    <a:pt x="329" y="28"/>
                  </a:lnTo>
                  <a:lnTo>
                    <a:pt x="343" y="25"/>
                  </a:lnTo>
                  <a:lnTo>
                    <a:pt x="361" y="25"/>
                  </a:lnTo>
                  <a:lnTo>
                    <a:pt x="375" y="22"/>
                  </a:lnTo>
                  <a:lnTo>
                    <a:pt x="389" y="22"/>
                  </a:lnTo>
                  <a:lnTo>
                    <a:pt x="407" y="20"/>
                  </a:lnTo>
                  <a:lnTo>
                    <a:pt x="421" y="20"/>
                  </a:lnTo>
                  <a:lnTo>
                    <a:pt x="434" y="20"/>
                  </a:lnTo>
                  <a:lnTo>
                    <a:pt x="448" y="20"/>
                  </a:lnTo>
                  <a:lnTo>
                    <a:pt x="462" y="17"/>
                  </a:lnTo>
                  <a:lnTo>
                    <a:pt x="480" y="17"/>
                  </a:lnTo>
                  <a:lnTo>
                    <a:pt x="489" y="14"/>
                  </a:lnTo>
                  <a:lnTo>
                    <a:pt x="503" y="14"/>
                  </a:lnTo>
                  <a:lnTo>
                    <a:pt x="517" y="14"/>
                  </a:lnTo>
                  <a:lnTo>
                    <a:pt x="526" y="11"/>
                  </a:lnTo>
                  <a:lnTo>
                    <a:pt x="540" y="8"/>
                  </a:lnTo>
                  <a:lnTo>
                    <a:pt x="553" y="8"/>
                  </a:lnTo>
                  <a:lnTo>
                    <a:pt x="562" y="5"/>
                  </a:lnTo>
                  <a:lnTo>
                    <a:pt x="576" y="5"/>
                  </a:lnTo>
                  <a:lnTo>
                    <a:pt x="585" y="5"/>
                  </a:lnTo>
                  <a:lnTo>
                    <a:pt x="599" y="5"/>
                  </a:lnTo>
                  <a:lnTo>
                    <a:pt x="608" y="2"/>
                  </a:lnTo>
                  <a:lnTo>
                    <a:pt x="622" y="2"/>
                  </a:lnTo>
                  <a:lnTo>
                    <a:pt x="640" y="0"/>
                  </a:lnTo>
                  <a:lnTo>
                    <a:pt x="658" y="0"/>
                  </a:lnTo>
                  <a:lnTo>
                    <a:pt x="672" y="0"/>
                  </a:lnTo>
                  <a:lnTo>
                    <a:pt x="686" y="0"/>
                  </a:lnTo>
                  <a:lnTo>
                    <a:pt x="699" y="0"/>
                  </a:lnTo>
                  <a:lnTo>
                    <a:pt x="709" y="0"/>
                  </a:lnTo>
                  <a:lnTo>
                    <a:pt x="727" y="0"/>
                  </a:lnTo>
                  <a:lnTo>
                    <a:pt x="731" y="0"/>
                  </a:lnTo>
                  <a:lnTo>
                    <a:pt x="731" y="2"/>
                  </a:lnTo>
                  <a:lnTo>
                    <a:pt x="731" y="8"/>
                  </a:lnTo>
                  <a:lnTo>
                    <a:pt x="731" y="14"/>
                  </a:lnTo>
                  <a:lnTo>
                    <a:pt x="731" y="22"/>
                  </a:lnTo>
                  <a:lnTo>
                    <a:pt x="731" y="31"/>
                  </a:lnTo>
                  <a:lnTo>
                    <a:pt x="731" y="42"/>
                  </a:lnTo>
                  <a:lnTo>
                    <a:pt x="736" y="51"/>
                  </a:lnTo>
                  <a:lnTo>
                    <a:pt x="736" y="59"/>
                  </a:lnTo>
                  <a:lnTo>
                    <a:pt x="736" y="68"/>
                  </a:lnTo>
                  <a:lnTo>
                    <a:pt x="736" y="79"/>
                  </a:lnTo>
                  <a:lnTo>
                    <a:pt x="736" y="88"/>
                  </a:lnTo>
                  <a:lnTo>
                    <a:pt x="741" y="96"/>
                  </a:lnTo>
                  <a:lnTo>
                    <a:pt x="741" y="102"/>
                  </a:lnTo>
                  <a:lnTo>
                    <a:pt x="741" y="105"/>
                  </a:lnTo>
                  <a:lnTo>
                    <a:pt x="741" y="111"/>
                  </a:lnTo>
                  <a:lnTo>
                    <a:pt x="731" y="111"/>
                  </a:lnTo>
                  <a:lnTo>
                    <a:pt x="718" y="114"/>
                  </a:lnTo>
                  <a:lnTo>
                    <a:pt x="699" y="116"/>
                  </a:lnTo>
                  <a:lnTo>
                    <a:pt x="690" y="116"/>
                  </a:lnTo>
                  <a:lnTo>
                    <a:pt x="681" y="116"/>
                  </a:lnTo>
                  <a:lnTo>
                    <a:pt x="668" y="119"/>
                  </a:lnTo>
                  <a:lnTo>
                    <a:pt x="658" y="122"/>
                  </a:lnTo>
                  <a:lnTo>
                    <a:pt x="640" y="125"/>
                  </a:lnTo>
                  <a:lnTo>
                    <a:pt x="631" y="125"/>
                  </a:lnTo>
                  <a:lnTo>
                    <a:pt x="613" y="128"/>
                  </a:lnTo>
                  <a:lnTo>
                    <a:pt x="604" y="128"/>
                  </a:lnTo>
                  <a:lnTo>
                    <a:pt x="585" y="131"/>
                  </a:lnTo>
                  <a:lnTo>
                    <a:pt x="567" y="131"/>
                  </a:lnTo>
                  <a:lnTo>
                    <a:pt x="549" y="133"/>
                  </a:lnTo>
                  <a:lnTo>
                    <a:pt x="540" y="136"/>
                  </a:lnTo>
                  <a:lnTo>
                    <a:pt x="521" y="139"/>
                  </a:lnTo>
                  <a:lnTo>
                    <a:pt x="503" y="139"/>
                  </a:lnTo>
                  <a:lnTo>
                    <a:pt x="485" y="142"/>
                  </a:lnTo>
                  <a:lnTo>
                    <a:pt x="471" y="145"/>
                  </a:lnTo>
                  <a:lnTo>
                    <a:pt x="448" y="148"/>
                  </a:lnTo>
                  <a:lnTo>
                    <a:pt x="434" y="148"/>
                  </a:lnTo>
                  <a:lnTo>
                    <a:pt x="416" y="148"/>
                  </a:lnTo>
                  <a:lnTo>
                    <a:pt x="398" y="151"/>
                  </a:lnTo>
                  <a:lnTo>
                    <a:pt x="384" y="153"/>
                  </a:lnTo>
                  <a:lnTo>
                    <a:pt x="366" y="153"/>
                  </a:lnTo>
                  <a:lnTo>
                    <a:pt x="352" y="156"/>
                  </a:lnTo>
                  <a:lnTo>
                    <a:pt x="338" y="159"/>
                  </a:lnTo>
                  <a:lnTo>
                    <a:pt x="0" y="176"/>
                  </a:lnTo>
                  <a:lnTo>
                    <a:pt x="0" y="4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93" name="Freeform 85"/>
            <p:cNvSpPr>
              <a:spLocks/>
            </p:cNvSpPr>
            <p:nvPr>
              <p:custDataLst>
                <p:tags r:id="rId192"/>
              </p:custDataLst>
            </p:nvPr>
          </p:nvSpPr>
          <p:spPr bwMode="gray">
            <a:xfrm>
              <a:off x="1293" y="2430"/>
              <a:ext cx="164" cy="94"/>
            </a:xfrm>
            <a:custGeom>
              <a:avLst/>
              <a:gdLst>
                <a:gd name="T0" fmla="*/ 54 w 160"/>
                <a:gd name="T1" fmla="*/ 3 h 103"/>
                <a:gd name="T2" fmla="*/ 19 w 160"/>
                <a:gd name="T3" fmla="*/ 5 h 103"/>
                <a:gd name="T4" fmla="*/ 14 w 160"/>
                <a:gd name="T5" fmla="*/ 5 h 103"/>
                <a:gd name="T6" fmla="*/ 9 w 160"/>
                <a:gd name="T7" fmla="*/ 5 h 103"/>
                <a:gd name="T8" fmla="*/ 5 w 160"/>
                <a:gd name="T9" fmla="*/ 5 h 103"/>
                <a:gd name="T10" fmla="*/ 0 w 160"/>
                <a:gd name="T11" fmla="*/ 5 h 103"/>
                <a:gd name="T12" fmla="*/ 0 w 160"/>
                <a:gd name="T13" fmla="*/ 5 h 103"/>
                <a:gd name="T14" fmla="*/ 0 w 160"/>
                <a:gd name="T15" fmla="*/ 5 h 103"/>
                <a:gd name="T16" fmla="*/ 5 w 160"/>
                <a:gd name="T17" fmla="*/ 5 h 103"/>
                <a:gd name="T18" fmla="*/ 5 w 160"/>
                <a:gd name="T19" fmla="*/ 7 h 103"/>
                <a:gd name="T20" fmla="*/ 9 w 160"/>
                <a:gd name="T21" fmla="*/ 8 h 103"/>
                <a:gd name="T22" fmla="*/ 19 w 160"/>
                <a:gd name="T23" fmla="*/ 9 h 103"/>
                <a:gd name="T24" fmla="*/ 58 w 160"/>
                <a:gd name="T25" fmla="*/ 10 h 103"/>
                <a:gd name="T26" fmla="*/ 83 w 160"/>
                <a:gd name="T27" fmla="*/ 10 h 103"/>
                <a:gd name="T28" fmla="*/ 116 w 160"/>
                <a:gd name="T29" fmla="*/ 10 h 103"/>
                <a:gd name="T30" fmla="*/ 137 w 160"/>
                <a:gd name="T31" fmla="*/ 10 h 103"/>
                <a:gd name="T32" fmla="*/ 164 w 160"/>
                <a:gd name="T33" fmla="*/ 10 h 103"/>
                <a:gd name="T34" fmla="*/ 194 w 160"/>
                <a:gd name="T35" fmla="*/ 10 h 103"/>
                <a:gd name="T36" fmla="*/ 217 w 160"/>
                <a:gd name="T37" fmla="*/ 10 h 103"/>
                <a:gd name="T38" fmla="*/ 234 w 160"/>
                <a:gd name="T39" fmla="*/ 10 h 103"/>
                <a:gd name="T40" fmla="*/ 252 w 160"/>
                <a:gd name="T41" fmla="*/ 9 h 103"/>
                <a:gd name="T42" fmla="*/ 279 w 160"/>
                <a:gd name="T43" fmla="*/ 8 h 103"/>
                <a:gd name="T44" fmla="*/ 286 w 160"/>
                <a:gd name="T45" fmla="*/ 7 h 103"/>
                <a:gd name="T46" fmla="*/ 295 w 160"/>
                <a:gd name="T47" fmla="*/ 5 h 103"/>
                <a:gd name="T48" fmla="*/ 302 w 160"/>
                <a:gd name="T49" fmla="*/ 5 h 103"/>
                <a:gd name="T50" fmla="*/ 295 w 160"/>
                <a:gd name="T51" fmla="*/ 5 h 103"/>
                <a:gd name="T52" fmla="*/ 295 w 160"/>
                <a:gd name="T53" fmla="*/ 5 h 103"/>
                <a:gd name="T54" fmla="*/ 286 w 160"/>
                <a:gd name="T55" fmla="*/ 5 h 103"/>
                <a:gd name="T56" fmla="*/ 279 w 160"/>
                <a:gd name="T57" fmla="*/ 5 h 103"/>
                <a:gd name="T58" fmla="*/ 252 w 160"/>
                <a:gd name="T59" fmla="*/ 5 h 103"/>
                <a:gd name="T60" fmla="*/ 217 w 160"/>
                <a:gd name="T61" fmla="*/ 5 h 103"/>
                <a:gd name="T62" fmla="*/ 194 w 160"/>
                <a:gd name="T63" fmla="*/ 3 h 103"/>
                <a:gd name="T64" fmla="*/ 145 w 160"/>
                <a:gd name="T65" fmla="*/ 3 h 103"/>
                <a:gd name="T66" fmla="*/ 116 w 160"/>
                <a:gd name="T67" fmla="*/ 0 h 103"/>
                <a:gd name="T68" fmla="*/ 83 w 160"/>
                <a:gd name="T69" fmla="*/ 3 h 103"/>
                <a:gd name="T70" fmla="*/ 65 w 160"/>
                <a:gd name="T71" fmla="*/ 3 h 103"/>
                <a:gd name="T72" fmla="*/ 54 w 160"/>
                <a:gd name="T73" fmla="*/ 3 h 103"/>
                <a:gd name="T74" fmla="*/ 54 w 160"/>
                <a:gd name="T75" fmla="*/ 3 h 1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0"/>
                <a:gd name="T115" fmla="*/ 0 h 103"/>
                <a:gd name="T116" fmla="*/ 160 w 160"/>
                <a:gd name="T117" fmla="*/ 103 h 10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0" h="103">
                  <a:moveTo>
                    <a:pt x="28" y="3"/>
                  </a:moveTo>
                  <a:lnTo>
                    <a:pt x="19" y="12"/>
                  </a:lnTo>
                  <a:lnTo>
                    <a:pt x="14" y="20"/>
                  </a:lnTo>
                  <a:lnTo>
                    <a:pt x="9" y="29"/>
                  </a:lnTo>
                  <a:lnTo>
                    <a:pt x="5" y="40"/>
                  </a:lnTo>
                  <a:lnTo>
                    <a:pt x="0" y="46"/>
                  </a:lnTo>
                  <a:lnTo>
                    <a:pt x="0" y="54"/>
                  </a:lnTo>
                  <a:lnTo>
                    <a:pt x="0" y="60"/>
                  </a:lnTo>
                  <a:lnTo>
                    <a:pt x="5" y="66"/>
                  </a:lnTo>
                  <a:lnTo>
                    <a:pt x="5" y="74"/>
                  </a:lnTo>
                  <a:lnTo>
                    <a:pt x="9" y="83"/>
                  </a:lnTo>
                  <a:lnTo>
                    <a:pt x="19" y="91"/>
                  </a:lnTo>
                  <a:lnTo>
                    <a:pt x="32" y="97"/>
                  </a:lnTo>
                  <a:lnTo>
                    <a:pt x="46" y="100"/>
                  </a:lnTo>
                  <a:lnTo>
                    <a:pt x="60" y="100"/>
                  </a:lnTo>
                  <a:lnTo>
                    <a:pt x="73" y="100"/>
                  </a:lnTo>
                  <a:lnTo>
                    <a:pt x="87" y="103"/>
                  </a:lnTo>
                  <a:lnTo>
                    <a:pt x="101" y="100"/>
                  </a:lnTo>
                  <a:lnTo>
                    <a:pt x="115" y="100"/>
                  </a:lnTo>
                  <a:lnTo>
                    <a:pt x="124" y="97"/>
                  </a:lnTo>
                  <a:lnTo>
                    <a:pt x="133" y="94"/>
                  </a:lnTo>
                  <a:lnTo>
                    <a:pt x="147" y="86"/>
                  </a:lnTo>
                  <a:lnTo>
                    <a:pt x="151" y="74"/>
                  </a:lnTo>
                  <a:lnTo>
                    <a:pt x="156" y="63"/>
                  </a:lnTo>
                  <a:lnTo>
                    <a:pt x="160" y="54"/>
                  </a:lnTo>
                  <a:lnTo>
                    <a:pt x="156" y="43"/>
                  </a:lnTo>
                  <a:lnTo>
                    <a:pt x="156" y="31"/>
                  </a:lnTo>
                  <a:lnTo>
                    <a:pt x="151" y="23"/>
                  </a:lnTo>
                  <a:lnTo>
                    <a:pt x="147" y="17"/>
                  </a:lnTo>
                  <a:lnTo>
                    <a:pt x="133" y="9"/>
                  </a:lnTo>
                  <a:lnTo>
                    <a:pt x="115" y="6"/>
                  </a:lnTo>
                  <a:lnTo>
                    <a:pt x="101" y="3"/>
                  </a:lnTo>
                  <a:lnTo>
                    <a:pt x="78" y="3"/>
                  </a:lnTo>
                  <a:lnTo>
                    <a:pt x="60" y="0"/>
                  </a:lnTo>
                  <a:lnTo>
                    <a:pt x="46" y="3"/>
                  </a:lnTo>
                  <a:lnTo>
                    <a:pt x="37" y="3"/>
                  </a:lnTo>
                  <a:lnTo>
                    <a:pt x="28"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94" name="Freeform 86"/>
            <p:cNvSpPr>
              <a:spLocks/>
            </p:cNvSpPr>
            <p:nvPr>
              <p:custDataLst>
                <p:tags r:id="rId193"/>
              </p:custDataLst>
            </p:nvPr>
          </p:nvSpPr>
          <p:spPr bwMode="gray">
            <a:xfrm>
              <a:off x="1785" y="2469"/>
              <a:ext cx="178" cy="93"/>
            </a:xfrm>
            <a:custGeom>
              <a:avLst/>
              <a:gdLst>
                <a:gd name="T0" fmla="*/ 58 w 174"/>
                <a:gd name="T1" fmla="*/ 5 h 102"/>
                <a:gd name="T2" fmla="*/ 49 w 174"/>
                <a:gd name="T3" fmla="*/ 5 h 102"/>
                <a:gd name="T4" fmla="*/ 14 w 174"/>
                <a:gd name="T5" fmla="*/ 5 h 102"/>
                <a:gd name="T6" fmla="*/ 14 w 174"/>
                <a:gd name="T7" fmla="*/ 5 h 102"/>
                <a:gd name="T8" fmla="*/ 9 w 174"/>
                <a:gd name="T9" fmla="*/ 5 h 102"/>
                <a:gd name="T10" fmla="*/ 5 w 174"/>
                <a:gd name="T11" fmla="*/ 5 h 102"/>
                <a:gd name="T12" fmla="*/ 0 w 174"/>
                <a:gd name="T13" fmla="*/ 5 h 102"/>
                <a:gd name="T14" fmla="*/ 0 w 174"/>
                <a:gd name="T15" fmla="*/ 5 h 102"/>
                <a:gd name="T16" fmla="*/ 5 w 174"/>
                <a:gd name="T17" fmla="*/ 5 h 102"/>
                <a:gd name="T18" fmla="*/ 9 w 174"/>
                <a:gd name="T19" fmla="*/ 7 h 102"/>
                <a:gd name="T20" fmla="*/ 14 w 174"/>
                <a:gd name="T21" fmla="*/ 8 h 102"/>
                <a:gd name="T22" fmla="*/ 49 w 174"/>
                <a:gd name="T23" fmla="*/ 9 h 102"/>
                <a:gd name="T24" fmla="*/ 63 w 174"/>
                <a:gd name="T25" fmla="*/ 10 h 102"/>
                <a:gd name="T26" fmla="*/ 86 w 174"/>
                <a:gd name="T27" fmla="*/ 10 h 102"/>
                <a:gd name="T28" fmla="*/ 116 w 174"/>
                <a:gd name="T29" fmla="*/ 10 h 102"/>
                <a:gd name="T30" fmla="*/ 140 w 174"/>
                <a:gd name="T31" fmla="*/ 10 h 102"/>
                <a:gd name="T32" fmla="*/ 171 w 174"/>
                <a:gd name="T33" fmla="*/ 10 h 102"/>
                <a:gd name="T34" fmla="*/ 190 w 174"/>
                <a:gd name="T35" fmla="*/ 10 h 102"/>
                <a:gd name="T36" fmla="*/ 214 w 174"/>
                <a:gd name="T37" fmla="*/ 10 h 102"/>
                <a:gd name="T38" fmla="*/ 238 w 174"/>
                <a:gd name="T39" fmla="*/ 9 h 102"/>
                <a:gd name="T40" fmla="*/ 255 w 174"/>
                <a:gd name="T41" fmla="*/ 9 h 102"/>
                <a:gd name="T42" fmla="*/ 273 w 174"/>
                <a:gd name="T43" fmla="*/ 8 h 102"/>
                <a:gd name="T44" fmla="*/ 290 w 174"/>
                <a:gd name="T45" fmla="*/ 7 h 102"/>
                <a:gd name="T46" fmla="*/ 305 w 174"/>
                <a:gd name="T47" fmla="*/ 6 h 102"/>
                <a:gd name="T48" fmla="*/ 313 w 174"/>
                <a:gd name="T49" fmla="*/ 5 h 102"/>
                <a:gd name="T50" fmla="*/ 313 w 174"/>
                <a:gd name="T51" fmla="*/ 5 h 102"/>
                <a:gd name="T52" fmla="*/ 313 w 174"/>
                <a:gd name="T53" fmla="*/ 5 h 102"/>
                <a:gd name="T54" fmla="*/ 305 w 174"/>
                <a:gd name="T55" fmla="*/ 5 h 102"/>
                <a:gd name="T56" fmla="*/ 305 w 174"/>
                <a:gd name="T57" fmla="*/ 5 h 102"/>
                <a:gd name="T58" fmla="*/ 290 w 174"/>
                <a:gd name="T59" fmla="*/ 5 h 102"/>
                <a:gd name="T60" fmla="*/ 283 w 174"/>
                <a:gd name="T61" fmla="*/ 5 h 102"/>
                <a:gd name="T62" fmla="*/ 262 w 174"/>
                <a:gd name="T63" fmla="*/ 5 h 102"/>
                <a:gd name="T64" fmla="*/ 244 w 174"/>
                <a:gd name="T65" fmla="*/ 0 h 102"/>
                <a:gd name="T66" fmla="*/ 229 w 174"/>
                <a:gd name="T67" fmla="*/ 0 h 102"/>
                <a:gd name="T68" fmla="*/ 207 w 174"/>
                <a:gd name="T69" fmla="*/ 0 h 102"/>
                <a:gd name="T70" fmla="*/ 190 w 174"/>
                <a:gd name="T71" fmla="*/ 0 h 102"/>
                <a:gd name="T72" fmla="*/ 171 w 174"/>
                <a:gd name="T73" fmla="*/ 0 h 102"/>
                <a:gd name="T74" fmla="*/ 140 w 174"/>
                <a:gd name="T75" fmla="*/ 0 h 102"/>
                <a:gd name="T76" fmla="*/ 127 w 174"/>
                <a:gd name="T77" fmla="*/ 0 h 102"/>
                <a:gd name="T78" fmla="*/ 106 w 174"/>
                <a:gd name="T79" fmla="*/ 0 h 102"/>
                <a:gd name="T80" fmla="*/ 86 w 174"/>
                <a:gd name="T81" fmla="*/ 0 h 102"/>
                <a:gd name="T82" fmla="*/ 63 w 174"/>
                <a:gd name="T83" fmla="*/ 3 h 102"/>
                <a:gd name="T84" fmla="*/ 58 w 174"/>
                <a:gd name="T85" fmla="*/ 5 h 102"/>
                <a:gd name="T86" fmla="*/ 58 w 174"/>
                <a:gd name="T87" fmla="*/ 5 h 1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74"/>
                <a:gd name="T133" fmla="*/ 0 h 102"/>
                <a:gd name="T134" fmla="*/ 174 w 174"/>
                <a:gd name="T135" fmla="*/ 102 h 10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74" h="102">
                  <a:moveTo>
                    <a:pt x="32" y="6"/>
                  </a:moveTo>
                  <a:lnTo>
                    <a:pt x="23" y="14"/>
                  </a:lnTo>
                  <a:lnTo>
                    <a:pt x="14" y="23"/>
                  </a:lnTo>
                  <a:lnTo>
                    <a:pt x="14" y="31"/>
                  </a:lnTo>
                  <a:lnTo>
                    <a:pt x="9" y="40"/>
                  </a:lnTo>
                  <a:lnTo>
                    <a:pt x="5" y="45"/>
                  </a:lnTo>
                  <a:lnTo>
                    <a:pt x="0" y="54"/>
                  </a:lnTo>
                  <a:lnTo>
                    <a:pt x="0" y="60"/>
                  </a:lnTo>
                  <a:lnTo>
                    <a:pt x="5" y="65"/>
                  </a:lnTo>
                  <a:lnTo>
                    <a:pt x="9" y="77"/>
                  </a:lnTo>
                  <a:lnTo>
                    <a:pt x="14" y="82"/>
                  </a:lnTo>
                  <a:lnTo>
                    <a:pt x="23" y="91"/>
                  </a:lnTo>
                  <a:lnTo>
                    <a:pt x="37" y="97"/>
                  </a:lnTo>
                  <a:lnTo>
                    <a:pt x="50" y="100"/>
                  </a:lnTo>
                  <a:lnTo>
                    <a:pt x="64" y="100"/>
                  </a:lnTo>
                  <a:lnTo>
                    <a:pt x="78" y="100"/>
                  </a:lnTo>
                  <a:lnTo>
                    <a:pt x="96" y="102"/>
                  </a:lnTo>
                  <a:lnTo>
                    <a:pt x="105" y="100"/>
                  </a:lnTo>
                  <a:lnTo>
                    <a:pt x="119" y="100"/>
                  </a:lnTo>
                  <a:lnTo>
                    <a:pt x="133" y="94"/>
                  </a:lnTo>
                  <a:lnTo>
                    <a:pt x="142" y="94"/>
                  </a:lnTo>
                  <a:lnTo>
                    <a:pt x="151" y="82"/>
                  </a:lnTo>
                  <a:lnTo>
                    <a:pt x="160" y="77"/>
                  </a:lnTo>
                  <a:lnTo>
                    <a:pt x="169" y="71"/>
                  </a:lnTo>
                  <a:lnTo>
                    <a:pt x="174" y="63"/>
                  </a:lnTo>
                  <a:lnTo>
                    <a:pt x="174" y="51"/>
                  </a:lnTo>
                  <a:lnTo>
                    <a:pt x="174" y="43"/>
                  </a:lnTo>
                  <a:lnTo>
                    <a:pt x="169" y="31"/>
                  </a:lnTo>
                  <a:lnTo>
                    <a:pt x="169" y="20"/>
                  </a:lnTo>
                  <a:lnTo>
                    <a:pt x="160" y="14"/>
                  </a:lnTo>
                  <a:lnTo>
                    <a:pt x="156" y="8"/>
                  </a:lnTo>
                  <a:lnTo>
                    <a:pt x="146" y="6"/>
                  </a:lnTo>
                  <a:lnTo>
                    <a:pt x="137" y="0"/>
                  </a:lnTo>
                  <a:lnTo>
                    <a:pt x="128" y="0"/>
                  </a:lnTo>
                  <a:lnTo>
                    <a:pt x="114" y="0"/>
                  </a:lnTo>
                  <a:lnTo>
                    <a:pt x="105" y="0"/>
                  </a:lnTo>
                  <a:lnTo>
                    <a:pt x="96" y="0"/>
                  </a:lnTo>
                  <a:lnTo>
                    <a:pt x="78" y="0"/>
                  </a:lnTo>
                  <a:lnTo>
                    <a:pt x="69" y="0"/>
                  </a:lnTo>
                  <a:lnTo>
                    <a:pt x="60" y="0"/>
                  </a:lnTo>
                  <a:lnTo>
                    <a:pt x="50" y="0"/>
                  </a:lnTo>
                  <a:lnTo>
                    <a:pt x="37" y="3"/>
                  </a:lnTo>
                  <a:lnTo>
                    <a:pt x="32" y="6"/>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95" name="Freeform 87"/>
            <p:cNvSpPr>
              <a:spLocks/>
            </p:cNvSpPr>
            <p:nvPr>
              <p:custDataLst>
                <p:tags r:id="rId194"/>
              </p:custDataLst>
            </p:nvPr>
          </p:nvSpPr>
          <p:spPr bwMode="gray">
            <a:xfrm>
              <a:off x="2047" y="2479"/>
              <a:ext cx="164" cy="93"/>
            </a:xfrm>
            <a:custGeom>
              <a:avLst/>
              <a:gdLst>
                <a:gd name="T0" fmla="*/ 58 w 160"/>
                <a:gd name="T1" fmla="*/ 3 h 103"/>
                <a:gd name="T2" fmla="*/ 18 w 160"/>
                <a:gd name="T3" fmla="*/ 5 h 103"/>
                <a:gd name="T4" fmla="*/ 14 w 160"/>
                <a:gd name="T5" fmla="*/ 5 h 103"/>
                <a:gd name="T6" fmla="*/ 9 w 160"/>
                <a:gd name="T7" fmla="*/ 5 h 103"/>
                <a:gd name="T8" fmla="*/ 0 w 160"/>
                <a:gd name="T9" fmla="*/ 5 h 103"/>
                <a:gd name="T10" fmla="*/ 0 w 160"/>
                <a:gd name="T11" fmla="*/ 5 h 103"/>
                <a:gd name="T12" fmla="*/ 0 w 160"/>
                <a:gd name="T13" fmla="*/ 5 h 103"/>
                <a:gd name="T14" fmla="*/ 0 w 160"/>
                <a:gd name="T15" fmla="*/ 5 h 103"/>
                <a:gd name="T16" fmla="*/ 0 w 160"/>
                <a:gd name="T17" fmla="*/ 5 h 103"/>
                <a:gd name="T18" fmla="*/ 0 w 160"/>
                <a:gd name="T19" fmla="*/ 5 h 103"/>
                <a:gd name="T20" fmla="*/ 9 w 160"/>
                <a:gd name="T21" fmla="*/ 5 h 103"/>
                <a:gd name="T22" fmla="*/ 18 w 160"/>
                <a:gd name="T23" fmla="*/ 6 h 103"/>
                <a:gd name="T24" fmla="*/ 58 w 160"/>
                <a:gd name="T25" fmla="*/ 7 h 103"/>
                <a:gd name="T26" fmla="*/ 74 w 160"/>
                <a:gd name="T27" fmla="*/ 7 h 103"/>
                <a:gd name="T28" fmla="*/ 101 w 160"/>
                <a:gd name="T29" fmla="*/ 7 h 103"/>
                <a:gd name="T30" fmla="*/ 137 w 160"/>
                <a:gd name="T31" fmla="*/ 7 h 103"/>
                <a:gd name="T32" fmla="*/ 164 w 160"/>
                <a:gd name="T33" fmla="*/ 8 h 103"/>
                <a:gd name="T34" fmla="*/ 194 w 160"/>
                <a:gd name="T35" fmla="*/ 7 h 103"/>
                <a:gd name="T36" fmla="*/ 216 w 160"/>
                <a:gd name="T37" fmla="*/ 7 h 103"/>
                <a:gd name="T38" fmla="*/ 234 w 160"/>
                <a:gd name="T39" fmla="*/ 7 h 103"/>
                <a:gd name="T40" fmla="*/ 252 w 160"/>
                <a:gd name="T41" fmla="*/ 7 h 103"/>
                <a:gd name="T42" fmla="*/ 278 w 160"/>
                <a:gd name="T43" fmla="*/ 5 h 103"/>
                <a:gd name="T44" fmla="*/ 295 w 160"/>
                <a:gd name="T45" fmla="*/ 5 h 103"/>
                <a:gd name="T46" fmla="*/ 295 w 160"/>
                <a:gd name="T47" fmla="*/ 5 h 103"/>
                <a:gd name="T48" fmla="*/ 302 w 160"/>
                <a:gd name="T49" fmla="*/ 5 h 103"/>
                <a:gd name="T50" fmla="*/ 302 w 160"/>
                <a:gd name="T51" fmla="*/ 5 h 103"/>
                <a:gd name="T52" fmla="*/ 295 w 160"/>
                <a:gd name="T53" fmla="*/ 5 h 103"/>
                <a:gd name="T54" fmla="*/ 286 w 160"/>
                <a:gd name="T55" fmla="*/ 5 h 103"/>
                <a:gd name="T56" fmla="*/ 278 w 160"/>
                <a:gd name="T57" fmla="*/ 5 h 103"/>
                <a:gd name="T58" fmla="*/ 252 w 160"/>
                <a:gd name="T59" fmla="*/ 5 h 103"/>
                <a:gd name="T60" fmla="*/ 224 w 160"/>
                <a:gd name="T61" fmla="*/ 5 h 103"/>
                <a:gd name="T62" fmla="*/ 181 w 160"/>
                <a:gd name="T63" fmla="*/ 3 h 103"/>
                <a:gd name="T64" fmla="*/ 145 w 160"/>
                <a:gd name="T65" fmla="*/ 3 h 103"/>
                <a:gd name="T66" fmla="*/ 101 w 160"/>
                <a:gd name="T67" fmla="*/ 0 h 103"/>
                <a:gd name="T68" fmla="*/ 74 w 160"/>
                <a:gd name="T69" fmla="*/ 0 h 103"/>
                <a:gd name="T70" fmla="*/ 58 w 160"/>
                <a:gd name="T71" fmla="*/ 0 h 103"/>
                <a:gd name="T72" fmla="*/ 58 w 160"/>
                <a:gd name="T73" fmla="*/ 3 h 103"/>
                <a:gd name="T74" fmla="*/ 58 w 160"/>
                <a:gd name="T75" fmla="*/ 3 h 1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0"/>
                <a:gd name="T115" fmla="*/ 0 h 103"/>
                <a:gd name="T116" fmla="*/ 160 w 160"/>
                <a:gd name="T117" fmla="*/ 103 h 10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0" h="103">
                  <a:moveTo>
                    <a:pt x="32" y="3"/>
                  </a:moveTo>
                  <a:lnTo>
                    <a:pt x="18" y="9"/>
                  </a:lnTo>
                  <a:lnTo>
                    <a:pt x="14" y="20"/>
                  </a:lnTo>
                  <a:lnTo>
                    <a:pt x="9" y="29"/>
                  </a:lnTo>
                  <a:lnTo>
                    <a:pt x="0" y="37"/>
                  </a:lnTo>
                  <a:lnTo>
                    <a:pt x="0" y="46"/>
                  </a:lnTo>
                  <a:lnTo>
                    <a:pt x="0" y="52"/>
                  </a:lnTo>
                  <a:lnTo>
                    <a:pt x="0" y="57"/>
                  </a:lnTo>
                  <a:lnTo>
                    <a:pt x="0" y="66"/>
                  </a:lnTo>
                  <a:lnTo>
                    <a:pt x="0" y="71"/>
                  </a:lnTo>
                  <a:lnTo>
                    <a:pt x="9" y="83"/>
                  </a:lnTo>
                  <a:lnTo>
                    <a:pt x="18" y="91"/>
                  </a:lnTo>
                  <a:lnTo>
                    <a:pt x="32" y="94"/>
                  </a:lnTo>
                  <a:lnTo>
                    <a:pt x="41" y="97"/>
                  </a:lnTo>
                  <a:lnTo>
                    <a:pt x="55" y="100"/>
                  </a:lnTo>
                  <a:lnTo>
                    <a:pt x="73" y="100"/>
                  </a:lnTo>
                  <a:lnTo>
                    <a:pt x="87" y="103"/>
                  </a:lnTo>
                  <a:lnTo>
                    <a:pt x="101" y="100"/>
                  </a:lnTo>
                  <a:lnTo>
                    <a:pt x="114" y="97"/>
                  </a:lnTo>
                  <a:lnTo>
                    <a:pt x="124" y="94"/>
                  </a:lnTo>
                  <a:lnTo>
                    <a:pt x="133" y="94"/>
                  </a:lnTo>
                  <a:lnTo>
                    <a:pt x="146" y="83"/>
                  </a:lnTo>
                  <a:lnTo>
                    <a:pt x="156" y="71"/>
                  </a:lnTo>
                  <a:lnTo>
                    <a:pt x="156" y="63"/>
                  </a:lnTo>
                  <a:lnTo>
                    <a:pt x="160" y="54"/>
                  </a:lnTo>
                  <a:lnTo>
                    <a:pt x="160" y="43"/>
                  </a:lnTo>
                  <a:lnTo>
                    <a:pt x="156" y="32"/>
                  </a:lnTo>
                  <a:lnTo>
                    <a:pt x="151" y="23"/>
                  </a:lnTo>
                  <a:lnTo>
                    <a:pt x="146" y="17"/>
                  </a:lnTo>
                  <a:lnTo>
                    <a:pt x="133" y="9"/>
                  </a:lnTo>
                  <a:lnTo>
                    <a:pt x="119" y="6"/>
                  </a:lnTo>
                  <a:lnTo>
                    <a:pt x="96" y="3"/>
                  </a:lnTo>
                  <a:lnTo>
                    <a:pt x="78" y="3"/>
                  </a:lnTo>
                  <a:lnTo>
                    <a:pt x="55" y="0"/>
                  </a:lnTo>
                  <a:lnTo>
                    <a:pt x="41" y="0"/>
                  </a:lnTo>
                  <a:lnTo>
                    <a:pt x="32" y="0"/>
                  </a:lnTo>
                  <a:lnTo>
                    <a:pt x="32"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96" name="Freeform 88"/>
            <p:cNvSpPr>
              <a:spLocks/>
            </p:cNvSpPr>
            <p:nvPr>
              <p:custDataLst>
                <p:tags r:id="rId195"/>
              </p:custDataLst>
            </p:nvPr>
          </p:nvSpPr>
          <p:spPr bwMode="gray">
            <a:xfrm>
              <a:off x="3963" y="2482"/>
              <a:ext cx="169" cy="90"/>
            </a:xfrm>
            <a:custGeom>
              <a:avLst/>
              <a:gdLst>
                <a:gd name="T0" fmla="*/ 58 w 165"/>
                <a:gd name="T1" fmla="*/ 3 h 100"/>
                <a:gd name="T2" fmla="*/ 49 w 165"/>
                <a:gd name="T3" fmla="*/ 5 h 100"/>
                <a:gd name="T4" fmla="*/ 14 w 165"/>
                <a:gd name="T5" fmla="*/ 5 h 100"/>
                <a:gd name="T6" fmla="*/ 5 w 165"/>
                <a:gd name="T7" fmla="*/ 5 h 100"/>
                <a:gd name="T8" fmla="*/ 5 w 165"/>
                <a:gd name="T9" fmla="*/ 5 h 100"/>
                <a:gd name="T10" fmla="*/ 5 w 165"/>
                <a:gd name="T11" fmla="*/ 5 h 100"/>
                <a:gd name="T12" fmla="*/ 0 w 165"/>
                <a:gd name="T13" fmla="*/ 5 h 100"/>
                <a:gd name="T14" fmla="*/ 0 w 165"/>
                <a:gd name="T15" fmla="*/ 5 h 100"/>
                <a:gd name="T16" fmla="*/ 5 w 165"/>
                <a:gd name="T17" fmla="*/ 5 h 100"/>
                <a:gd name="T18" fmla="*/ 5 w 165"/>
                <a:gd name="T19" fmla="*/ 5 h 100"/>
                <a:gd name="T20" fmla="*/ 14 w 165"/>
                <a:gd name="T21" fmla="*/ 5 h 100"/>
                <a:gd name="T22" fmla="*/ 49 w 165"/>
                <a:gd name="T23" fmla="*/ 6 h 100"/>
                <a:gd name="T24" fmla="*/ 64 w 165"/>
                <a:gd name="T25" fmla="*/ 6 h 100"/>
                <a:gd name="T26" fmla="*/ 82 w 165"/>
                <a:gd name="T27" fmla="*/ 7 h 100"/>
                <a:gd name="T28" fmla="*/ 113 w 165"/>
                <a:gd name="T29" fmla="*/ 7 h 100"/>
                <a:gd name="T30" fmla="*/ 143 w 165"/>
                <a:gd name="T31" fmla="*/ 7 h 100"/>
                <a:gd name="T32" fmla="*/ 170 w 165"/>
                <a:gd name="T33" fmla="*/ 7 h 100"/>
                <a:gd name="T34" fmla="*/ 187 w 165"/>
                <a:gd name="T35" fmla="*/ 7 h 100"/>
                <a:gd name="T36" fmla="*/ 214 w 165"/>
                <a:gd name="T37" fmla="*/ 7 h 100"/>
                <a:gd name="T38" fmla="*/ 237 w 165"/>
                <a:gd name="T39" fmla="*/ 6 h 100"/>
                <a:gd name="T40" fmla="*/ 255 w 165"/>
                <a:gd name="T41" fmla="*/ 6 h 100"/>
                <a:gd name="T42" fmla="*/ 276 w 165"/>
                <a:gd name="T43" fmla="*/ 5 h 100"/>
                <a:gd name="T44" fmla="*/ 291 w 165"/>
                <a:gd name="T45" fmla="*/ 5 h 100"/>
                <a:gd name="T46" fmla="*/ 298 w 165"/>
                <a:gd name="T47" fmla="*/ 5 h 100"/>
                <a:gd name="T48" fmla="*/ 306 w 165"/>
                <a:gd name="T49" fmla="*/ 5 h 100"/>
                <a:gd name="T50" fmla="*/ 306 w 165"/>
                <a:gd name="T51" fmla="*/ 5 h 100"/>
                <a:gd name="T52" fmla="*/ 298 w 165"/>
                <a:gd name="T53" fmla="*/ 5 h 100"/>
                <a:gd name="T54" fmla="*/ 283 w 165"/>
                <a:gd name="T55" fmla="*/ 5 h 100"/>
                <a:gd name="T56" fmla="*/ 276 w 165"/>
                <a:gd name="T57" fmla="*/ 5 h 100"/>
                <a:gd name="T58" fmla="*/ 247 w 165"/>
                <a:gd name="T59" fmla="*/ 5 h 100"/>
                <a:gd name="T60" fmla="*/ 221 w 165"/>
                <a:gd name="T61" fmla="*/ 5 h 100"/>
                <a:gd name="T62" fmla="*/ 206 w 165"/>
                <a:gd name="T63" fmla="*/ 3 h 100"/>
                <a:gd name="T64" fmla="*/ 178 w 165"/>
                <a:gd name="T65" fmla="*/ 3 h 100"/>
                <a:gd name="T66" fmla="*/ 170 w 165"/>
                <a:gd name="T67" fmla="*/ 3 h 100"/>
                <a:gd name="T68" fmla="*/ 143 w 165"/>
                <a:gd name="T69" fmla="*/ 3 h 100"/>
                <a:gd name="T70" fmla="*/ 113 w 165"/>
                <a:gd name="T71" fmla="*/ 0 h 100"/>
                <a:gd name="T72" fmla="*/ 72 w 165"/>
                <a:gd name="T73" fmla="*/ 3 h 100"/>
                <a:gd name="T74" fmla="*/ 64 w 165"/>
                <a:gd name="T75" fmla="*/ 3 h 100"/>
                <a:gd name="T76" fmla="*/ 58 w 165"/>
                <a:gd name="T77" fmla="*/ 3 h 100"/>
                <a:gd name="T78" fmla="*/ 58 w 165"/>
                <a:gd name="T79" fmla="*/ 3 h 1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5"/>
                <a:gd name="T121" fmla="*/ 0 h 100"/>
                <a:gd name="T122" fmla="*/ 165 w 165"/>
                <a:gd name="T123" fmla="*/ 100 h 1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5" h="100">
                  <a:moveTo>
                    <a:pt x="32" y="3"/>
                  </a:moveTo>
                  <a:lnTo>
                    <a:pt x="23" y="12"/>
                  </a:lnTo>
                  <a:lnTo>
                    <a:pt x="14" y="20"/>
                  </a:lnTo>
                  <a:lnTo>
                    <a:pt x="5" y="29"/>
                  </a:lnTo>
                  <a:lnTo>
                    <a:pt x="5" y="37"/>
                  </a:lnTo>
                  <a:lnTo>
                    <a:pt x="5" y="46"/>
                  </a:lnTo>
                  <a:lnTo>
                    <a:pt x="0" y="51"/>
                  </a:lnTo>
                  <a:lnTo>
                    <a:pt x="0" y="57"/>
                  </a:lnTo>
                  <a:lnTo>
                    <a:pt x="5" y="66"/>
                  </a:lnTo>
                  <a:lnTo>
                    <a:pt x="5" y="74"/>
                  </a:lnTo>
                  <a:lnTo>
                    <a:pt x="14" y="83"/>
                  </a:lnTo>
                  <a:lnTo>
                    <a:pt x="23" y="91"/>
                  </a:lnTo>
                  <a:lnTo>
                    <a:pt x="37" y="94"/>
                  </a:lnTo>
                  <a:lnTo>
                    <a:pt x="46" y="100"/>
                  </a:lnTo>
                  <a:lnTo>
                    <a:pt x="60" y="100"/>
                  </a:lnTo>
                  <a:lnTo>
                    <a:pt x="78" y="100"/>
                  </a:lnTo>
                  <a:lnTo>
                    <a:pt x="92" y="100"/>
                  </a:lnTo>
                  <a:lnTo>
                    <a:pt x="101" y="100"/>
                  </a:lnTo>
                  <a:lnTo>
                    <a:pt x="115" y="100"/>
                  </a:lnTo>
                  <a:lnTo>
                    <a:pt x="128" y="94"/>
                  </a:lnTo>
                  <a:lnTo>
                    <a:pt x="137" y="91"/>
                  </a:lnTo>
                  <a:lnTo>
                    <a:pt x="147" y="83"/>
                  </a:lnTo>
                  <a:lnTo>
                    <a:pt x="156" y="74"/>
                  </a:lnTo>
                  <a:lnTo>
                    <a:pt x="160" y="63"/>
                  </a:lnTo>
                  <a:lnTo>
                    <a:pt x="165" y="54"/>
                  </a:lnTo>
                  <a:lnTo>
                    <a:pt x="165" y="43"/>
                  </a:lnTo>
                  <a:lnTo>
                    <a:pt x="160" y="34"/>
                  </a:lnTo>
                  <a:lnTo>
                    <a:pt x="151" y="26"/>
                  </a:lnTo>
                  <a:lnTo>
                    <a:pt x="147" y="17"/>
                  </a:lnTo>
                  <a:lnTo>
                    <a:pt x="133" y="9"/>
                  </a:lnTo>
                  <a:lnTo>
                    <a:pt x="119" y="6"/>
                  </a:lnTo>
                  <a:lnTo>
                    <a:pt x="110" y="3"/>
                  </a:lnTo>
                  <a:lnTo>
                    <a:pt x="96" y="3"/>
                  </a:lnTo>
                  <a:lnTo>
                    <a:pt x="92" y="3"/>
                  </a:lnTo>
                  <a:lnTo>
                    <a:pt x="78" y="3"/>
                  </a:lnTo>
                  <a:lnTo>
                    <a:pt x="60" y="0"/>
                  </a:lnTo>
                  <a:lnTo>
                    <a:pt x="41" y="3"/>
                  </a:lnTo>
                  <a:lnTo>
                    <a:pt x="37" y="3"/>
                  </a:lnTo>
                  <a:lnTo>
                    <a:pt x="32"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97" name="Freeform 89"/>
            <p:cNvSpPr>
              <a:spLocks/>
            </p:cNvSpPr>
            <p:nvPr>
              <p:custDataLst>
                <p:tags r:id="rId196"/>
              </p:custDataLst>
            </p:nvPr>
          </p:nvSpPr>
          <p:spPr bwMode="gray">
            <a:xfrm>
              <a:off x="4212" y="2453"/>
              <a:ext cx="168" cy="91"/>
            </a:xfrm>
            <a:custGeom>
              <a:avLst/>
              <a:gdLst>
                <a:gd name="T0" fmla="*/ 62 w 164"/>
                <a:gd name="T1" fmla="*/ 3 h 99"/>
                <a:gd name="T2" fmla="*/ 48 w 164"/>
                <a:gd name="T3" fmla="*/ 6 h 99"/>
                <a:gd name="T4" fmla="*/ 18 w 164"/>
                <a:gd name="T5" fmla="*/ 6 h 99"/>
                <a:gd name="T6" fmla="*/ 9 w 164"/>
                <a:gd name="T7" fmla="*/ 6 h 99"/>
                <a:gd name="T8" fmla="*/ 9 w 164"/>
                <a:gd name="T9" fmla="*/ 6 h 99"/>
                <a:gd name="T10" fmla="*/ 4 w 164"/>
                <a:gd name="T11" fmla="*/ 6 h 99"/>
                <a:gd name="T12" fmla="*/ 0 w 164"/>
                <a:gd name="T13" fmla="*/ 6 h 99"/>
                <a:gd name="T14" fmla="*/ 0 w 164"/>
                <a:gd name="T15" fmla="*/ 6 h 99"/>
                <a:gd name="T16" fmla="*/ 4 w 164"/>
                <a:gd name="T17" fmla="*/ 6 h 99"/>
                <a:gd name="T18" fmla="*/ 9 w 164"/>
                <a:gd name="T19" fmla="*/ 8 h 99"/>
                <a:gd name="T20" fmla="*/ 18 w 164"/>
                <a:gd name="T21" fmla="*/ 9 h 99"/>
                <a:gd name="T22" fmla="*/ 48 w 164"/>
                <a:gd name="T23" fmla="*/ 10 h 99"/>
                <a:gd name="T24" fmla="*/ 62 w 164"/>
                <a:gd name="T25" fmla="*/ 11 h 99"/>
                <a:gd name="T26" fmla="*/ 90 w 164"/>
                <a:gd name="T27" fmla="*/ 11 h 99"/>
                <a:gd name="T28" fmla="*/ 122 w 164"/>
                <a:gd name="T29" fmla="*/ 11 h 99"/>
                <a:gd name="T30" fmla="*/ 142 w 164"/>
                <a:gd name="T31" fmla="*/ 11 h 99"/>
                <a:gd name="T32" fmla="*/ 169 w 164"/>
                <a:gd name="T33" fmla="*/ 12 h 99"/>
                <a:gd name="T34" fmla="*/ 198 w 164"/>
                <a:gd name="T35" fmla="*/ 11 h 99"/>
                <a:gd name="T36" fmla="*/ 228 w 164"/>
                <a:gd name="T37" fmla="*/ 11 h 99"/>
                <a:gd name="T38" fmla="*/ 238 w 164"/>
                <a:gd name="T39" fmla="*/ 11 h 99"/>
                <a:gd name="T40" fmla="*/ 264 w 164"/>
                <a:gd name="T41" fmla="*/ 10 h 99"/>
                <a:gd name="T42" fmla="*/ 282 w 164"/>
                <a:gd name="T43" fmla="*/ 9 h 99"/>
                <a:gd name="T44" fmla="*/ 297 w 164"/>
                <a:gd name="T45" fmla="*/ 8 h 99"/>
                <a:gd name="T46" fmla="*/ 305 w 164"/>
                <a:gd name="T47" fmla="*/ 6 h 99"/>
                <a:gd name="T48" fmla="*/ 305 w 164"/>
                <a:gd name="T49" fmla="*/ 6 h 99"/>
                <a:gd name="T50" fmla="*/ 305 w 164"/>
                <a:gd name="T51" fmla="*/ 6 h 99"/>
                <a:gd name="T52" fmla="*/ 297 w 164"/>
                <a:gd name="T53" fmla="*/ 6 h 99"/>
                <a:gd name="T54" fmla="*/ 290 w 164"/>
                <a:gd name="T55" fmla="*/ 6 h 99"/>
                <a:gd name="T56" fmla="*/ 282 w 164"/>
                <a:gd name="T57" fmla="*/ 6 h 99"/>
                <a:gd name="T58" fmla="*/ 256 w 164"/>
                <a:gd name="T59" fmla="*/ 5 h 99"/>
                <a:gd name="T60" fmla="*/ 228 w 164"/>
                <a:gd name="T61" fmla="*/ 3 h 99"/>
                <a:gd name="T62" fmla="*/ 205 w 164"/>
                <a:gd name="T63" fmla="*/ 3 h 99"/>
                <a:gd name="T64" fmla="*/ 186 w 164"/>
                <a:gd name="T65" fmla="*/ 0 h 99"/>
                <a:gd name="T66" fmla="*/ 169 w 164"/>
                <a:gd name="T67" fmla="*/ 0 h 99"/>
                <a:gd name="T68" fmla="*/ 150 w 164"/>
                <a:gd name="T69" fmla="*/ 0 h 99"/>
                <a:gd name="T70" fmla="*/ 122 w 164"/>
                <a:gd name="T71" fmla="*/ 0 h 99"/>
                <a:gd name="T72" fmla="*/ 80 w 164"/>
                <a:gd name="T73" fmla="*/ 0 h 99"/>
                <a:gd name="T74" fmla="*/ 62 w 164"/>
                <a:gd name="T75" fmla="*/ 0 h 99"/>
                <a:gd name="T76" fmla="*/ 62 w 164"/>
                <a:gd name="T77" fmla="*/ 3 h 99"/>
                <a:gd name="T78" fmla="*/ 62 w 164"/>
                <a:gd name="T79" fmla="*/ 3 h 9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4"/>
                <a:gd name="T121" fmla="*/ 0 h 99"/>
                <a:gd name="T122" fmla="*/ 164 w 164"/>
                <a:gd name="T123" fmla="*/ 99 h 9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4" h="99">
                  <a:moveTo>
                    <a:pt x="36" y="3"/>
                  </a:moveTo>
                  <a:lnTo>
                    <a:pt x="22" y="11"/>
                  </a:lnTo>
                  <a:lnTo>
                    <a:pt x="18" y="17"/>
                  </a:lnTo>
                  <a:lnTo>
                    <a:pt x="9" y="28"/>
                  </a:lnTo>
                  <a:lnTo>
                    <a:pt x="9" y="37"/>
                  </a:lnTo>
                  <a:lnTo>
                    <a:pt x="4" y="45"/>
                  </a:lnTo>
                  <a:lnTo>
                    <a:pt x="0" y="51"/>
                  </a:lnTo>
                  <a:lnTo>
                    <a:pt x="0" y="57"/>
                  </a:lnTo>
                  <a:lnTo>
                    <a:pt x="4" y="62"/>
                  </a:lnTo>
                  <a:lnTo>
                    <a:pt x="9" y="74"/>
                  </a:lnTo>
                  <a:lnTo>
                    <a:pt x="18" y="80"/>
                  </a:lnTo>
                  <a:lnTo>
                    <a:pt x="22" y="88"/>
                  </a:lnTo>
                  <a:lnTo>
                    <a:pt x="36" y="94"/>
                  </a:lnTo>
                  <a:lnTo>
                    <a:pt x="50" y="97"/>
                  </a:lnTo>
                  <a:lnTo>
                    <a:pt x="64" y="97"/>
                  </a:lnTo>
                  <a:lnTo>
                    <a:pt x="77" y="97"/>
                  </a:lnTo>
                  <a:lnTo>
                    <a:pt x="91" y="99"/>
                  </a:lnTo>
                  <a:lnTo>
                    <a:pt x="105" y="97"/>
                  </a:lnTo>
                  <a:lnTo>
                    <a:pt x="123" y="97"/>
                  </a:lnTo>
                  <a:lnTo>
                    <a:pt x="128" y="94"/>
                  </a:lnTo>
                  <a:lnTo>
                    <a:pt x="141" y="88"/>
                  </a:lnTo>
                  <a:lnTo>
                    <a:pt x="150" y="80"/>
                  </a:lnTo>
                  <a:lnTo>
                    <a:pt x="159" y="71"/>
                  </a:lnTo>
                  <a:lnTo>
                    <a:pt x="164" y="60"/>
                  </a:lnTo>
                  <a:lnTo>
                    <a:pt x="164" y="51"/>
                  </a:lnTo>
                  <a:lnTo>
                    <a:pt x="164" y="40"/>
                  </a:lnTo>
                  <a:lnTo>
                    <a:pt x="159" y="31"/>
                  </a:lnTo>
                  <a:lnTo>
                    <a:pt x="155" y="23"/>
                  </a:lnTo>
                  <a:lnTo>
                    <a:pt x="150" y="17"/>
                  </a:lnTo>
                  <a:lnTo>
                    <a:pt x="137" y="5"/>
                  </a:lnTo>
                  <a:lnTo>
                    <a:pt x="123" y="3"/>
                  </a:lnTo>
                  <a:lnTo>
                    <a:pt x="109" y="3"/>
                  </a:lnTo>
                  <a:lnTo>
                    <a:pt x="100" y="0"/>
                  </a:lnTo>
                  <a:lnTo>
                    <a:pt x="91" y="0"/>
                  </a:lnTo>
                  <a:lnTo>
                    <a:pt x="82" y="0"/>
                  </a:lnTo>
                  <a:lnTo>
                    <a:pt x="64" y="0"/>
                  </a:lnTo>
                  <a:lnTo>
                    <a:pt x="45" y="0"/>
                  </a:lnTo>
                  <a:lnTo>
                    <a:pt x="36" y="0"/>
                  </a:lnTo>
                  <a:lnTo>
                    <a:pt x="36"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98" name="Freeform 90"/>
            <p:cNvSpPr>
              <a:spLocks/>
            </p:cNvSpPr>
            <p:nvPr>
              <p:custDataLst>
                <p:tags r:id="rId197"/>
              </p:custDataLst>
            </p:nvPr>
          </p:nvSpPr>
          <p:spPr bwMode="gray">
            <a:xfrm>
              <a:off x="3668" y="2508"/>
              <a:ext cx="169" cy="87"/>
            </a:xfrm>
            <a:custGeom>
              <a:avLst/>
              <a:gdLst>
                <a:gd name="T0" fmla="*/ 58 w 165"/>
                <a:gd name="T1" fmla="*/ 0 h 96"/>
                <a:gd name="T2" fmla="*/ 19 w 165"/>
                <a:gd name="T3" fmla="*/ 5 h 96"/>
                <a:gd name="T4" fmla="*/ 19 w 165"/>
                <a:gd name="T5" fmla="*/ 5 h 96"/>
                <a:gd name="T6" fmla="*/ 10 w 165"/>
                <a:gd name="T7" fmla="*/ 5 h 96"/>
                <a:gd name="T8" fmla="*/ 5 w 165"/>
                <a:gd name="T9" fmla="*/ 5 h 96"/>
                <a:gd name="T10" fmla="*/ 0 w 165"/>
                <a:gd name="T11" fmla="*/ 5 h 96"/>
                <a:gd name="T12" fmla="*/ 0 w 165"/>
                <a:gd name="T13" fmla="*/ 5 h 96"/>
                <a:gd name="T14" fmla="*/ 0 w 165"/>
                <a:gd name="T15" fmla="*/ 5 h 96"/>
                <a:gd name="T16" fmla="*/ 0 w 165"/>
                <a:gd name="T17" fmla="*/ 5 h 96"/>
                <a:gd name="T18" fmla="*/ 5 w 165"/>
                <a:gd name="T19" fmla="*/ 5 h 96"/>
                <a:gd name="T20" fmla="*/ 10 w 165"/>
                <a:gd name="T21" fmla="*/ 6 h 96"/>
                <a:gd name="T22" fmla="*/ 19 w 165"/>
                <a:gd name="T23" fmla="*/ 7 h 96"/>
                <a:gd name="T24" fmla="*/ 58 w 165"/>
                <a:gd name="T25" fmla="*/ 8 h 96"/>
                <a:gd name="T26" fmla="*/ 82 w 165"/>
                <a:gd name="T27" fmla="*/ 8 h 96"/>
                <a:gd name="T28" fmla="*/ 113 w 165"/>
                <a:gd name="T29" fmla="*/ 8 h 96"/>
                <a:gd name="T30" fmla="*/ 137 w 165"/>
                <a:gd name="T31" fmla="*/ 8 h 96"/>
                <a:gd name="T32" fmla="*/ 170 w 165"/>
                <a:gd name="T33" fmla="*/ 8 h 96"/>
                <a:gd name="T34" fmla="*/ 199 w 165"/>
                <a:gd name="T35" fmla="*/ 8 h 96"/>
                <a:gd name="T36" fmla="*/ 214 w 165"/>
                <a:gd name="T37" fmla="*/ 8 h 96"/>
                <a:gd name="T38" fmla="*/ 237 w 165"/>
                <a:gd name="T39" fmla="*/ 7 h 96"/>
                <a:gd name="T40" fmla="*/ 257 w 165"/>
                <a:gd name="T41" fmla="*/ 7 h 96"/>
                <a:gd name="T42" fmla="*/ 276 w 165"/>
                <a:gd name="T43" fmla="*/ 6 h 96"/>
                <a:gd name="T44" fmla="*/ 291 w 165"/>
                <a:gd name="T45" fmla="*/ 5 h 96"/>
                <a:gd name="T46" fmla="*/ 298 w 165"/>
                <a:gd name="T47" fmla="*/ 5 h 96"/>
                <a:gd name="T48" fmla="*/ 306 w 165"/>
                <a:gd name="T49" fmla="*/ 5 h 96"/>
                <a:gd name="T50" fmla="*/ 298 w 165"/>
                <a:gd name="T51" fmla="*/ 5 h 96"/>
                <a:gd name="T52" fmla="*/ 291 w 165"/>
                <a:gd name="T53" fmla="*/ 5 h 96"/>
                <a:gd name="T54" fmla="*/ 283 w 165"/>
                <a:gd name="T55" fmla="*/ 5 h 96"/>
                <a:gd name="T56" fmla="*/ 283 w 165"/>
                <a:gd name="T57" fmla="*/ 5 h 96"/>
                <a:gd name="T58" fmla="*/ 247 w 165"/>
                <a:gd name="T59" fmla="*/ 5 h 96"/>
                <a:gd name="T60" fmla="*/ 221 w 165"/>
                <a:gd name="T61" fmla="*/ 2 h 96"/>
                <a:gd name="T62" fmla="*/ 206 w 165"/>
                <a:gd name="T63" fmla="*/ 0 h 96"/>
                <a:gd name="T64" fmla="*/ 178 w 165"/>
                <a:gd name="T65" fmla="*/ 0 h 96"/>
                <a:gd name="T66" fmla="*/ 170 w 165"/>
                <a:gd name="T67" fmla="*/ 0 h 96"/>
                <a:gd name="T68" fmla="*/ 151 w 165"/>
                <a:gd name="T69" fmla="*/ 0 h 96"/>
                <a:gd name="T70" fmla="*/ 113 w 165"/>
                <a:gd name="T71" fmla="*/ 0 h 96"/>
                <a:gd name="T72" fmla="*/ 82 w 165"/>
                <a:gd name="T73" fmla="*/ 0 h 96"/>
                <a:gd name="T74" fmla="*/ 64 w 165"/>
                <a:gd name="T75" fmla="*/ 0 h 96"/>
                <a:gd name="T76" fmla="*/ 58 w 165"/>
                <a:gd name="T77" fmla="*/ 0 h 96"/>
                <a:gd name="T78" fmla="*/ 58 w 165"/>
                <a:gd name="T79" fmla="*/ 0 h 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5"/>
                <a:gd name="T121" fmla="*/ 0 h 96"/>
                <a:gd name="T122" fmla="*/ 165 w 165"/>
                <a:gd name="T123" fmla="*/ 96 h 9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5" h="96">
                  <a:moveTo>
                    <a:pt x="32" y="0"/>
                  </a:moveTo>
                  <a:lnTo>
                    <a:pt x="19" y="8"/>
                  </a:lnTo>
                  <a:lnTo>
                    <a:pt x="19" y="20"/>
                  </a:lnTo>
                  <a:lnTo>
                    <a:pt x="10" y="28"/>
                  </a:lnTo>
                  <a:lnTo>
                    <a:pt x="5" y="37"/>
                  </a:lnTo>
                  <a:lnTo>
                    <a:pt x="0" y="39"/>
                  </a:lnTo>
                  <a:lnTo>
                    <a:pt x="0" y="48"/>
                  </a:lnTo>
                  <a:lnTo>
                    <a:pt x="0" y="57"/>
                  </a:lnTo>
                  <a:lnTo>
                    <a:pt x="0" y="62"/>
                  </a:lnTo>
                  <a:lnTo>
                    <a:pt x="5" y="71"/>
                  </a:lnTo>
                  <a:lnTo>
                    <a:pt x="10" y="82"/>
                  </a:lnTo>
                  <a:lnTo>
                    <a:pt x="19" y="85"/>
                  </a:lnTo>
                  <a:lnTo>
                    <a:pt x="32" y="94"/>
                  </a:lnTo>
                  <a:lnTo>
                    <a:pt x="46" y="94"/>
                  </a:lnTo>
                  <a:lnTo>
                    <a:pt x="60" y="96"/>
                  </a:lnTo>
                  <a:lnTo>
                    <a:pt x="74" y="96"/>
                  </a:lnTo>
                  <a:lnTo>
                    <a:pt x="92" y="96"/>
                  </a:lnTo>
                  <a:lnTo>
                    <a:pt x="106" y="96"/>
                  </a:lnTo>
                  <a:lnTo>
                    <a:pt x="115" y="94"/>
                  </a:lnTo>
                  <a:lnTo>
                    <a:pt x="128" y="91"/>
                  </a:lnTo>
                  <a:lnTo>
                    <a:pt x="138" y="88"/>
                  </a:lnTo>
                  <a:lnTo>
                    <a:pt x="147" y="79"/>
                  </a:lnTo>
                  <a:lnTo>
                    <a:pt x="156" y="71"/>
                  </a:lnTo>
                  <a:lnTo>
                    <a:pt x="160" y="62"/>
                  </a:lnTo>
                  <a:lnTo>
                    <a:pt x="165" y="51"/>
                  </a:lnTo>
                  <a:lnTo>
                    <a:pt x="160" y="39"/>
                  </a:lnTo>
                  <a:lnTo>
                    <a:pt x="156" y="28"/>
                  </a:lnTo>
                  <a:lnTo>
                    <a:pt x="151" y="20"/>
                  </a:lnTo>
                  <a:lnTo>
                    <a:pt x="151" y="14"/>
                  </a:lnTo>
                  <a:lnTo>
                    <a:pt x="133" y="5"/>
                  </a:lnTo>
                  <a:lnTo>
                    <a:pt x="119" y="2"/>
                  </a:lnTo>
                  <a:lnTo>
                    <a:pt x="110" y="0"/>
                  </a:lnTo>
                  <a:lnTo>
                    <a:pt x="96" y="0"/>
                  </a:lnTo>
                  <a:lnTo>
                    <a:pt x="92" y="0"/>
                  </a:lnTo>
                  <a:lnTo>
                    <a:pt x="83" y="0"/>
                  </a:lnTo>
                  <a:lnTo>
                    <a:pt x="60" y="0"/>
                  </a:lnTo>
                  <a:lnTo>
                    <a:pt x="46" y="0"/>
                  </a:lnTo>
                  <a:lnTo>
                    <a:pt x="37" y="0"/>
                  </a:lnTo>
                  <a:lnTo>
                    <a:pt x="32"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99" name="Freeform 91"/>
            <p:cNvSpPr>
              <a:spLocks/>
            </p:cNvSpPr>
            <p:nvPr>
              <p:custDataLst>
                <p:tags r:id="rId198"/>
              </p:custDataLst>
            </p:nvPr>
          </p:nvSpPr>
          <p:spPr bwMode="gray">
            <a:xfrm>
              <a:off x="2717" y="2050"/>
              <a:ext cx="197" cy="621"/>
            </a:xfrm>
            <a:custGeom>
              <a:avLst/>
              <a:gdLst>
                <a:gd name="T0" fmla="*/ 132 w 192"/>
                <a:gd name="T1" fmla="*/ 10 h 681"/>
                <a:gd name="T2" fmla="*/ 94 w 192"/>
                <a:gd name="T3" fmla="*/ 15 h 681"/>
                <a:gd name="T4" fmla="*/ 66 w 192"/>
                <a:gd name="T5" fmla="*/ 19 h 681"/>
                <a:gd name="T6" fmla="*/ 49 w 192"/>
                <a:gd name="T7" fmla="*/ 24 h 681"/>
                <a:gd name="T8" fmla="*/ 13 w 192"/>
                <a:gd name="T9" fmla="*/ 29 h 681"/>
                <a:gd name="T10" fmla="*/ 9 w 192"/>
                <a:gd name="T11" fmla="*/ 33 h 681"/>
                <a:gd name="T12" fmla="*/ 4 w 192"/>
                <a:gd name="T13" fmla="*/ 36 h 681"/>
                <a:gd name="T14" fmla="*/ 0 w 192"/>
                <a:gd name="T15" fmla="*/ 39 h 681"/>
                <a:gd name="T16" fmla="*/ 0 w 192"/>
                <a:gd name="T17" fmla="*/ 43 h 681"/>
                <a:gd name="T18" fmla="*/ 0 w 192"/>
                <a:gd name="T19" fmla="*/ 47 h 681"/>
                <a:gd name="T20" fmla="*/ 0 w 192"/>
                <a:gd name="T21" fmla="*/ 51 h 681"/>
                <a:gd name="T22" fmla="*/ 0 w 192"/>
                <a:gd name="T23" fmla="*/ 54 h 681"/>
                <a:gd name="T24" fmla="*/ 0 w 192"/>
                <a:gd name="T25" fmla="*/ 56 h 681"/>
                <a:gd name="T26" fmla="*/ 0 w 192"/>
                <a:gd name="T27" fmla="*/ 57 h 681"/>
                <a:gd name="T28" fmla="*/ 4 w 192"/>
                <a:gd name="T29" fmla="*/ 60 h 681"/>
                <a:gd name="T30" fmla="*/ 13 w 192"/>
                <a:gd name="T31" fmla="*/ 61 h 681"/>
                <a:gd name="T32" fmla="*/ 18 w 192"/>
                <a:gd name="T33" fmla="*/ 61 h 681"/>
                <a:gd name="T34" fmla="*/ 49 w 192"/>
                <a:gd name="T35" fmla="*/ 57 h 681"/>
                <a:gd name="T36" fmla="*/ 49 w 192"/>
                <a:gd name="T37" fmla="*/ 56 h 681"/>
                <a:gd name="T38" fmla="*/ 49 w 192"/>
                <a:gd name="T39" fmla="*/ 54 h 681"/>
                <a:gd name="T40" fmla="*/ 53 w 192"/>
                <a:gd name="T41" fmla="*/ 51 h 681"/>
                <a:gd name="T42" fmla="*/ 53 w 192"/>
                <a:gd name="T43" fmla="*/ 47 h 681"/>
                <a:gd name="T44" fmla="*/ 66 w 192"/>
                <a:gd name="T45" fmla="*/ 47 h 681"/>
                <a:gd name="T46" fmla="*/ 66 w 192"/>
                <a:gd name="T47" fmla="*/ 43 h 681"/>
                <a:gd name="T48" fmla="*/ 76 w 192"/>
                <a:gd name="T49" fmla="*/ 39 h 681"/>
                <a:gd name="T50" fmla="*/ 84 w 192"/>
                <a:gd name="T51" fmla="*/ 37 h 681"/>
                <a:gd name="T52" fmla="*/ 94 w 192"/>
                <a:gd name="T53" fmla="*/ 36 h 681"/>
                <a:gd name="T54" fmla="*/ 118 w 192"/>
                <a:gd name="T55" fmla="*/ 33 h 681"/>
                <a:gd name="T56" fmla="*/ 126 w 192"/>
                <a:gd name="T57" fmla="*/ 30 h 681"/>
                <a:gd name="T58" fmla="*/ 132 w 192"/>
                <a:gd name="T59" fmla="*/ 26 h 681"/>
                <a:gd name="T60" fmla="*/ 148 w 192"/>
                <a:gd name="T61" fmla="*/ 23 h 681"/>
                <a:gd name="T62" fmla="*/ 159 w 192"/>
                <a:gd name="T63" fmla="*/ 21 h 681"/>
                <a:gd name="T64" fmla="*/ 168 w 192"/>
                <a:gd name="T65" fmla="*/ 19 h 681"/>
                <a:gd name="T66" fmla="*/ 176 w 192"/>
                <a:gd name="T67" fmla="*/ 17 h 681"/>
                <a:gd name="T68" fmla="*/ 190 w 192"/>
                <a:gd name="T69" fmla="*/ 15 h 681"/>
                <a:gd name="T70" fmla="*/ 196 w 192"/>
                <a:gd name="T71" fmla="*/ 14 h 681"/>
                <a:gd name="T72" fmla="*/ 211 w 192"/>
                <a:gd name="T73" fmla="*/ 12 h 681"/>
                <a:gd name="T74" fmla="*/ 228 w 192"/>
                <a:gd name="T75" fmla="*/ 10 h 681"/>
                <a:gd name="T76" fmla="*/ 276 w 192"/>
                <a:gd name="T77" fmla="*/ 7 h 681"/>
                <a:gd name="T78" fmla="*/ 318 w 192"/>
                <a:gd name="T79" fmla="*/ 5 h 681"/>
                <a:gd name="T80" fmla="*/ 356 w 192"/>
                <a:gd name="T81" fmla="*/ 5 h 681"/>
                <a:gd name="T82" fmla="*/ 375 w 192"/>
                <a:gd name="T83" fmla="*/ 0 h 681"/>
                <a:gd name="T84" fmla="*/ 318 w 192"/>
                <a:gd name="T85" fmla="*/ 5 h 681"/>
                <a:gd name="T86" fmla="*/ 205 w 192"/>
                <a:gd name="T87" fmla="*/ 5 h 681"/>
                <a:gd name="T88" fmla="*/ 159 w 192"/>
                <a:gd name="T89" fmla="*/ 6 h 68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92"/>
                <a:gd name="T136" fmla="*/ 0 h 681"/>
                <a:gd name="T137" fmla="*/ 192 w 192"/>
                <a:gd name="T138" fmla="*/ 681 h 68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92" h="681">
                  <a:moveTo>
                    <a:pt x="82" y="69"/>
                  </a:moveTo>
                  <a:lnTo>
                    <a:pt x="73" y="86"/>
                  </a:lnTo>
                  <a:lnTo>
                    <a:pt x="68" y="103"/>
                  </a:lnTo>
                  <a:lnTo>
                    <a:pt x="59" y="123"/>
                  </a:lnTo>
                  <a:lnTo>
                    <a:pt x="59" y="140"/>
                  </a:lnTo>
                  <a:lnTo>
                    <a:pt x="50" y="160"/>
                  </a:lnTo>
                  <a:lnTo>
                    <a:pt x="45" y="177"/>
                  </a:lnTo>
                  <a:lnTo>
                    <a:pt x="41" y="194"/>
                  </a:lnTo>
                  <a:lnTo>
                    <a:pt x="36" y="211"/>
                  </a:lnTo>
                  <a:lnTo>
                    <a:pt x="32" y="228"/>
                  </a:lnTo>
                  <a:lnTo>
                    <a:pt x="27" y="245"/>
                  </a:lnTo>
                  <a:lnTo>
                    <a:pt x="23" y="262"/>
                  </a:lnTo>
                  <a:lnTo>
                    <a:pt x="23" y="279"/>
                  </a:lnTo>
                  <a:lnTo>
                    <a:pt x="18" y="297"/>
                  </a:lnTo>
                  <a:lnTo>
                    <a:pt x="13" y="314"/>
                  </a:lnTo>
                  <a:lnTo>
                    <a:pt x="13" y="328"/>
                  </a:lnTo>
                  <a:lnTo>
                    <a:pt x="13" y="345"/>
                  </a:lnTo>
                  <a:lnTo>
                    <a:pt x="9" y="362"/>
                  </a:lnTo>
                  <a:lnTo>
                    <a:pt x="4" y="376"/>
                  </a:lnTo>
                  <a:lnTo>
                    <a:pt x="4" y="391"/>
                  </a:lnTo>
                  <a:lnTo>
                    <a:pt x="4" y="405"/>
                  </a:lnTo>
                  <a:lnTo>
                    <a:pt x="0" y="419"/>
                  </a:lnTo>
                  <a:lnTo>
                    <a:pt x="0" y="433"/>
                  </a:lnTo>
                  <a:lnTo>
                    <a:pt x="0" y="445"/>
                  </a:lnTo>
                  <a:lnTo>
                    <a:pt x="0" y="462"/>
                  </a:lnTo>
                  <a:lnTo>
                    <a:pt x="0" y="476"/>
                  </a:lnTo>
                  <a:lnTo>
                    <a:pt x="0" y="487"/>
                  </a:lnTo>
                  <a:lnTo>
                    <a:pt x="0" y="502"/>
                  </a:lnTo>
                  <a:lnTo>
                    <a:pt x="0" y="513"/>
                  </a:lnTo>
                  <a:lnTo>
                    <a:pt x="0" y="524"/>
                  </a:lnTo>
                  <a:lnTo>
                    <a:pt x="0" y="536"/>
                  </a:lnTo>
                  <a:lnTo>
                    <a:pt x="0" y="550"/>
                  </a:lnTo>
                  <a:lnTo>
                    <a:pt x="0" y="561"/>
                  </a:lnTo>
                  <a:lnTo>
                    <a:pt x="0" y="570"/>
                  </a:lnTo>
                  <a:lnTo>
                    <a:pt x="0" y="578"/>
                  </a:lnTo>
                  <a:lnTo>
                    <a:pt x="0" y="590"/>
                  </a:lnTo>
                  <a:lnTo>
                    <a:pt x="0" y="598"/>
                  </a:lnTo>
                  <a:lnTo>
                    <a:pt x="0" y="607"/>
                  </a:lnTo>
                  <a:lnTo>
                    <a:pt x="0" y="615"/>
                  </a:lnTo>
                  <a:lnTo>
                    <a:pt x="0" y="621"/>
                  </a:lnTo>
                  <a:lnTo>
                    <a:pt x="0" y="630"/>
                  </a:lnTo>
                  <a:lnTo>
                    <a:pt x="0" y="635"/>
                  </a:lnTo>
                  <a:lnTo>
                    <a:pt x="0" y="641"/>
                  </a:lnTo>
                  <a:lnTo>
                    <a:pt x="4" y="650"/>
                  </a:lnTo>
                  <a:lnTo>
                    <a:pt x="4" y="655"/>
                  </a:lnTo>
                  <a:lnTo>
                    <a:pt x="4" y="664"/>
                  </a:lnTo>
                  <a:lnTo>
                    <a:pt x="9" y="675"/>
                  </a:lnTo>
                  <a:lnTo>
                    <a:pt x="13" y="681"/>
                  </a:lnTo>
                  <a:lnTo>
                    <a:pt x="18" y="678"/>
                  </a:lnTo>
                  <a:lnTo>
                    <a:pt x="18" y="675"/>
                  </a:lnTo>
                  <a:lnTo>
                    <a:pt x="18" y="667"/>
                  </a:lnTo>
                  <a:lnTo>
                    <a:pt x="23" y="655"/>
                  </a:lnTo>
                  <a:lnTo>
                    <a:pt x="23" y="647"/>
                  </a:lnTo>
                  <a:lnTo>
                    <a:pt x="23" y="638"/>
                  </a:lnTo>
                  <a:lnTo>
                    <a:pt x="23" y="630"/>
                  </a:lnTo>
                  <a:lnTo>
                    <a:pt x="23" y="624"/>
                  </a:lnTo>
                  <a:lnTo>
                    <a:pt x="23" y="615"/>
                  </a:lnTo>
                  <a:lnTo>
                    <a:pt x="23" y="607"/>
                  </a:lnTo>
                  <a:lnTo>
                    <a:pt x="23" y="598"/>
                  </a:lnTo>
                  <a:lnTo>
                    <a:pt x="23" y="590"/>
                  </a:lnTo>
                  <a:lnTo>
                    <a:pt x="23" y="581"/>
                  </a:lnTo>
                  <a:lnTo>
                    <a:pt x="23" y="573"/>
                  </a:lnTo>
                  <a:lnTo>
                    <a:pt x="27" y="564"/>
                  </a:lnTo>
                  <a:lnTo>
                    <a:pt x="27" y="553"/>
                  </a:lnTo>
                  <a:lnTo>
                    <a:pt x="27" y="541"/>
                  </a:lnTo>
                  <a:lnTo>
                    <a:pt x="27" y="533"/>
                  </a:lnTo>
                  <a:lnTo>
                    <a:pt x="32" y="524"/>
                  </a:lnTo>
                  <a:lnTo>
                    <a:pt x="32" y="516"/>
                  </a:lnTo>
                  <a:lnTo>
                    <a:pt x="36" y="504"/>
                  </a:lnTo>
                  <a:lnTo>
                    <a:pt x="36" y="493"/>
                  </a:lnTo>
                  <a:lnTo>
                    <a:pt x="36" y="485"/>
                  </a:lnTo>
                  <a:lnTo>
                    <a:pt x="36" y="473"/>
                  </a:lnTo>
                  <a:lnTo>
                    <a:pt x="41" y="465"/>
                  </a:lnTo>
                  <a:lnTo>
                    <a:pt x="41" y="453"/>
                  </a:lnTo>
                  <a:lnTo>
                    <a:pt x="41" y="442"/>
                  </a:lnTo>
                  <a:lnTo>
                    <a:pt x="45" y="430"/>
                  </a:lnTo>
                  <a:lnTo>
                    <a:pt x="45" y="422"/>
                  </a:lnTo>
                  <a:lnTo>
                    <a:pt x="45" y="410"/>
                  </a:lnTo>
                  <a:lnTo>
                    <a:pt x="45" y="402"/>
                  </a:lnTo>
                  <a:lnTo>
                    <a:pt x="50" y="391"/>
                  </a:lnTo>
                  <a:lnTo>
                    <a:pt x="50" y="379"/>
                  </a:lnTo>
                  <a:lnTo>
                    <a:pt x="50" y="371"/>
                  </a:lnTo>
                  <a:lnTo>
                    <a:pt x="55" y="359"/>
                  </a:lnTo>
                  <a:lnTo>
                    <a:pt x="59" y="348"/>
                  </a:lnTo>
                  <a:lnTo>
                    <a:pt x="59" y="336"/>
                  </a:lnTo>
                  <a:lnTo>
                    <a:pt x="59" y="328"/>
                  </a:lnTo>
                  <a:lnTo>
                    <a:pt x="64" y="316"/>
                  </a:lnTo>
                  <a:lnTo>
                    <a:pt x="64" y="305"/>
                  </a:lnTo>
                  <a:lnTo>
                    <a:pt x="68" y="297"/>
                  </a:lnTo>
                  <a:lnTo>
                    <a:pt x="68" y="285"/>
                  </a:lnTo>
                  <a:lnTo>
                    <a:pt x="68" y="277"/>
                  </a:lnTo>
                  <a:lnTo>
                    <a:pt x="68" y="265"/>
                  </a:lnTo>
                  <a:lnTo>
                    <a:pt x="77" y="257"/>
                  </a:lnTo>
                  <a:lnTo>
                    <a:pt x="77" y="248"/>
                  </a:lnTo>
                  <a:lnTo>
                    <a:pt x="77" y="240"/>
                  </a:lnTo>
                  <a:lnTo>
                    <a:pt x="82" y="228"/>
                  </a:lnTo>
                  <a:lnTo>
                    <a:pt x="82" y="223"/>
                  </a:lnTo>
                  <a:lnTo>
                    <a:pt x="82" y="211"/>
                  </a:lnTo>
                  <a:lnTo>
                    <a:pt x="87" y="205"/>
                  </a:lnTo>
                  <a:lnTo>
                    <a:pt x="87" y="197"/>
                  </a:lnTo>
                  <a:lnTo>
                    <a:pt x="91" y="188"/>
                  </a:lnTo>
                  <a:lnTo>
                    <a:pt x="91" y="183"/>
                  </a:lnTo>
                  <a:lnTo>
                    <a:pt x="91" y="174"/>
                  </a:lnTo>
                  <a:lnTo>
                    <a:pt x="96" y="168"/>
                  </a:lnTo>
                  <a:lnTo>
                    <a:pt x="96" y="163"/>
                  </a:lnTo>
                  <a:lnTo>
                    <a:pt x="96" y="154"/>
                  </a:lnTo>
                  <a:lnTo>
                    <a:pt x="100" y="148"/>
                  </a:lnTo>
                  <a:lnTo>
                    <a:pt x="100" y="146"/>
                  </a:lnTo>
                  <a:lnTo>
                    <a:pt x="100" y="137"/>
                  </a:lnTo>
                  <a:lnTo>
                    <a:pt x="105" y="129"/>
                  </a:lnTo>
                  <a:lnTo>
                    <a:pt x="109" y="123"/>
                  </a:lnTo>
                  <a:lnTo>
                    <a:pt x="114" y="114"/>
                  </a:lnTo>
                  <a:lnTo>
                    <a:pt x="114" y="111"/>
                  </a:lnTo>
                  <a:lnTo>
                    <a:pt x="118" y="103"/>
                  </a:lnTo>
                  <a:lnTo>
                    <a:pt x="123" y="94"/>
                  </a:lnTo>
                  <a:lnTo>
                    <a:pt x="132" y="86"/>
                  </a:lnTo>
                  <a:lnTo>
                    <a:pt x="141" y="74"/>
                  </a:lnTo>
                  <a:lnTo>
                    <a:pt x="150" y="66"/>
                  </a:lnTo>
                  <a:lnTo>
                    <a:pt x="155" y="57"/>
                  </a:lnTo>
                  <a:lnTo>
                    <a:pt x="164" y="46"/>
                  </a:lnTo>
                  <a:lnTo>
                    <a:pt x="169" y="37"/>
                  </a:lnTo>
                  <a:lnTo>
                    <a:pt x="178" y="26"/>
                  </a:lnTo>
                  <a:lnTo>
                    <a:pt x="182" y="20"/>
                  </a:lnTo>
                  <a:lnTo>
                    <a:pt x="187" y="12"/>
                  </a:lnTo>
                  <a:lnTo>
                    <a:pt x="187" y="9"/>
                  </a:lnTo>
                  <a:lnTo>
                    <a:pt x="192" y="0"/>
                  </a:lnTo>
                  <a:lnTo>
                    <a:pt x="187" y="0"/>
                  </a:lnTo>
                  <a:lnTo>
                    <a:pt x="178" y="6"/>
                  </a:lnTo>
                  <a:lnTo>
                    <a:pt x="164" y="15"/>
                  </a:lnTo>
                  <a:lnTo>
                    <a:pt x="146" y="26"/>
                  </a:lnTo>
                  <a:lnTo>
                    <a:pt x="123" y="37"/>
                  </a:lnTo>
                  <a:lnTo>
                    <a:pt x="105" y="49"/>
                  </a:lnTo>
                  <a:lnTo>
                    <a:pt x="96" y="57"/>
                  </a:lnTo>
                  <a:lnTo>
                    <a:pt x="82" y="66"/>
                  </a:lnTo>
                  <a:lnTo>
                    <a:pt x="82" y="6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00" name="Freeform 92"/>
            <p:cNvSpPr>
              <a:spLocks/>
            </p:cNvSpPr>
            <p:nvPr>
              <p:custDataLst>
                <p:tags r:id="rId199"/>
              </p:custDataLst>
            </p:nvPr>
          </p:nvSpPr>
          <p:spPr bwMode="gray">
            <a:xfrm>
              <a:off x="2656" y="2138"/>
              <a:ext cx="605" cy="46"/>
            </a:xfrm>
            <a:custGeom>
              <a:avLst/>
              <a:gdLst>
                <a:gd name="T0" fmla="*/ 132 w 590"/>
                <a:gd name="T1" fmla="*/ 5 h 51"/>
                <a:gd name="T2" fmla="*/ 195 w 590"/>
                <a:gd name="T3" fmla="*/ 5 h 51"/>
                <a:gd name="T4" fmla="*/ 263 w 590"/>
                <a:gd name="T5" fmla="*/ 5 h 51"/>
                <a:gd name="T6" fmla="*/ 323 w 590"/>
                <a:gd name="T7" fmla="*/ 3 h 51"/>
                <a:gd name="T8" fmla="*/ 385 w 590"/>
                <a:gd name="T9" fmla="*/ 0 h 51"/>
                <a:gd name="T10" fmla="*/ 439 w 590"/>
                <a:gd name="T11" fmla="*/ 0 h 51"/>
                <a:gd name="T12" fmla="*/ 502 w 590"/>
                <a:gd name="T13" fmla="*/ 0 h 51"/>
                <a:gd name="T14" fmla="*/ 554 w 590"/>
                <a:gd name="T15" fmla="*/ 0 h 51"/>
                <a:gd name="T16" fmla="*/ 607 w 590"/>
                <a:gd name="T17" fmla="*/ 3 h 51"/>
                <a:gd name="T18" fmla="*/ 658 w 590"/>
                <a:gd name="T19" fmla="*/ 3 h 51"/>
                <a:gd name="T20" fmla="*/ 710 w 590"/>
                <a:gd name="T21" fmla="*/ 5 h 51"/>
                <a:gd name="T22" fmla="*/ 756 w 590"/>
                <a:gd name="T23" fmla="*/ 5 h 51"/>
                <a:gd name="T24" fmla="*/ 799 w 590"/>
                <a:gd name="T25" fmla="*/ 5 h 51"/>
                <a:gd name="T26" fmla="*/ 842 w 590"/>
                <a:gd name="T27" fmla="*/ 5 h 51"/>
                <a:gd name="T28" fmla="*/ 895 w 590"/>
                <a:gd name="T29" fmla="*/ 5 h 51"/>
                <a:gd name="T30" fmla="*/ 966 w 590"/>
                <a:gd name="T31" fmla="*/ 5 h 51"/>
                <a:gd name="T32" fmla="*/ 1026 w 590"/>
                <a:gd name="T33" fmla="*/ 5 h 51"/>
                <a:gd name="T34" fmla="*/ 1064 w 590"/>
                <a:gd name="T35" fmla="*/ 5 h 51"/>
                <a:gd name="T36" fmla="*/ 1105 w 590"/>
                <a:gd name="T37" fmla="*/ 5 h 51"/>
                <a:gd name="T38" fmla="*/ 1132 w 590"/>
                <a:gd name="T39" fmla="*/ 5 h 51"/>
                <a:gd name="T40" fmla="*/ 1132 w 590"/>
                <a:gd name="T41" fmla="*/ 5 h 51"/>
                <a:gd name="T42" fmla="*/ 1099 w 590"/>
                <a:gd name="T43" fmla="*/ 5 h 51"/>
                <a:gd name="T44" fmla="*/ 1052 w 590"/>
                <a:gd name="T45" fmla="*/ 5 h 51"/>
                <a:gd name="T46" fmla="*/ 1012 w 590"/>
                <a:gd name="T47" fmla="*/ 5 h 51"/>
                <a:gd name="T48" fmla="*/ 966 w 590"/>
                <a:gd name="T49" fmla="*/ 5 h 51"/>
                <a:gd name="T50" fmla="*/ 904 w 590"/>
                <a:gd name="T51" fmla="*/ 5 h 51"/>
                <a:gd name="T52" fmla="*/ 852 w 590"/>
                <a:gd name="T53" fmla="*/ 5 h 51"/>
                <a:gd name="T54" fmla="*/ 790 w 590"/>
                <a:gd name="T55" fmla="*/ 5 h 51"/>
                <a:gd name="T56" fmla="*/ 739 w 590"/>
                <a:gd name="T57" fmla="*/ 5 h 51"/>
                <a:gd name="T58" fmla="*/ 675 w 590"/>
                <a:gd name="T59" fmla="*/ 5 h 51"/>
                <a:gd name="T60" fmla="*/ 613 w 590"/>
                <a:gd name="T61" fmla="*/ 5 h 51"/>
                <a:gd name="T62" fmla="*/ 563 w 590"/>
                <a:gd name="T63" fmla="*/ 5 h 51"/>
                <a:gd name="T64" fmla="*/ 509 w 590"/>
                <a:gd name="T65" fmla="*/ 5 h 51"/>
                <a:gd name="T66" fmla="*/ 458 w 590"/>
                <a:gd name="T67" fmla="*/ 5 h 51"/>
                <a:gd name="T68" fmla="*/ 414 w 590"/>
                <a:gd name="T69" fmla="*/ 5 h 51"/>
                <a:gd name="T70" fmla="*/ 368 w 590"/>
                <a:gd name="T71" fmla="*/ 5 h 51"/>
                <a:gd name="T72" fmla="*/ 323 w 590"/>
                <a:gd name="T73" fmla="*/ 5 h 51"/>
                <a:gd name="T74" fmla="*/ 274 w 590"/>
                <a:gd name="T75" fmla="*/ 5 h 51"/>
                <a:gd name="T76" fmla="*/ 210 w 590"/>
                <a:gd name="T77" fmla="*/ 5 h 51"/>
                <a:gd name="T78" fmla="*/ 147 w 590"/>
                <a:gd name="T79" fmla="*/ 5 h 51"/>
                <a:gd name="T80" fmla="*/ 84 w 590"/>
                <a:gd name="T81" fmla="*/ 5 h 51"/>
                <a:gd name="T82" fmla="*/ 19 w 590"/>
                <a:gd name="T83" fmla="*/ 5 h 51"/>
                <a:gd name="T84" fmla="*/ 94 w 590"/>
                <a:gd name="T85" fmla="*/ 5 h 5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90"/>
                <a:gd name="T130" fmla="*/ 0 h 51"/>
                <a:gd name="T131" fmla="*/ 590 w 590"/>
                <a:gd name="T132" fmla="*/ 51 h 5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90" h="51">
                  <a:moveTo>
                    <a:pt x="51" y="14"/>
                  </a:moveTo>
                  <a:lnTo>
                    <a:pt x="69" y="12"/>
                  </a:lnTo>
                  <a:lnTo>
                    <a:pt x="83" y="9"/>
                  </a:lnTo>
                  <a:lnTo>
                    <a:pt x="101" y="6"/>
                  </a:lnTo>
                  <a:lnTo>
                    <a:pt x="119" y="6"/>
                  </a:lnTo>
                  <a:lnTo>
                    <a:pt x="137" y="6"/>
                  </a:lnTo>
                  <a:lnTo>
                    <a:pt x="151" y="3"/>
                  </a:lnTo>
                  <a:lnTo>
                    <a:pt x="169" y="3"/>
                  </a:lnTo>
                  <a:lnTo>
                    <a:pt x="183" y="3"/>
                  </a:lnTo>
                  <a:lnTo>
                    <a:pt x="201" y="0"/>
                  </a:lnTo>
                  <a:lnTo>
                    <a:pt x="215" y="0"/>
                  </a:lnTo>
                  <a:lnTo>
                    <a:pt x="229" y="0"/>
                  </a:lnTo>
                  <a:lnTo>
                    <a:pt x="247" y="0"/>
                  </a:lnTo>
                  <a:lnTo>
                    <a:pt x="261" y="0"/>
                  </a:lnTo>
                  <a:lnTo>
                    <a:pt x="274" y="0"/>
                  </a:lnTo>
                  <a:lnTo>
                    <a:pt x="288" y="0"/>
                  </a:lnTo>
                  <a:lnTo>
                    <a:pt x="306" y="3"/>
                  </a:lnTo>
                  <a:lnTo>
                    <a:pt x="316" y="3"/>
                  </a:lnTo>
                  <a:lnTo>
                    <a:pt x="334" y="3"/>
                  </a:lnTo>
                  <a:lnTo>
                    <a:pt x="343" y="3"/>
                  </a:lnTo>
                  <a:lnTo>
                    <a:pt x="357" y="6"/>
                  </a:lnTo>
                  <a:lnTo>
                    <a:pt x="370" y="6"/>
                  </a:lnTo>
                  <a:lnTo>
                    <a:pt x="384" y="6"/>
                  </a:lnTo>
                  <a:lnTo>
                    <a:pt x="393" y="6"/>
                  </a:lnTo>
                  <a:lnTo>
                    <a:pt x="407" y="9"/>
                  </a:lnTo>
                  <a:lnTo>
                    <a:pt x="416" y="9"/>
                  </a:lnTo>
                  <a:lnTo>
                    <a:pt x="425" y="12"/>
                  </a:lnTo>
                  <a:lnTo>
                    <a:pt x="439" y="14"/>
                  </a:lnTo>
                  <a:lnTo>
                    <a:pt x="448" y="14"/>
                  </a:lnTo>
                  <a:lnTo>
                    <a:pt x="466" y="17"/>
                  </a:lnTo>
                  <a:lnTo>
                    <a:pt x="489" y="20"/>
                  </a:lnTo>
                  <a:lnTo>
                    <a:pt x="503" y="26"/>
                  </a:lnTo>
                  <a:lnTo>
                    <a:pt x="521" y="26"/>
                  </a:lnTo>
                  <a:lnTo>
                    <a:pt x="535" y="29"/>
                  </a:lnTo>
                  <a:lnTo>
                    <a:pt x="549" y="34"/>
                  </a:lnTo>
                  <a:lnTo>
                    <a:pt x="553" y="37"/>
                  </a:lnTo>
                  <a:lnTo>
                    <a:pt x="567" y="40"/>
                  </a:lnTo>
                  <a:lnTo>
                    <a:pt x="576" y="43"/>
                  </a:lnTo>
                  <a:lnTo>
                    <a:pt x="581" y="49"/>
                  </a:lnTo>
                  <a:lnTo>
                    <a:pt x="590" y="49"/>
                  </a:lnTo>
                  <a:lnTo>
                    <a:pt x="590" y="51"/>
                  </a:lnTo>
                  <a:lnTo>
                    <a:pt x="581" y="51"/>
                  </a:lnTo>
                  <a:lnTo>
                    <a:pt x="572" y="49"/>
                  </a:lnTo>
                  <a:lnTo>
                    <a:pt x="558" y="49"/>
                  </a:lnTo>
                  <a:lnTo>
                    <a:pt x="549" y="43"/>
                  </a:lnTo>
                  <a:lnTo>
                    <a:pt x="540" y="43"/>
                  </a:lnTo>
                  <a:lnTo>
                    <a:pt x="526" y="40"/>
                  </a:lnTo>
                  <a:lnTo>
                    <a:pt x="517" y="40"/>
                  </a:lnTo>
                  <a:lnTo>
                    <a:pt x="503" y="37"/>
                  </a:lnTo>
                  <a:lnTo>
                    <a:pt x="489" y="37"/>
                  </a:lnTo>
                  <a:lnTo>
                    <a:pt x="471" y="34"/>
                  </a:lnTo>
                  <a:lnTo>
                    <a:pt x="457" y="34"/>
                  </a:lnTo>
                  <a:lnTo>
                    <a:pt x="444" y="32"/>
                  </a:lnTo>
                  <a:lnTo>
                    <a:pt x="425" y="32"/>
                  </a:lnTo>
                  <a:lnTo>
                    <a:pt x="412" y="32"/>
                  </a:lnTo>
                  <a:lnTo>
                    <a:pt x="398" y="29"/>
                  </a:lnTo>
                  <a:lnTo>
                    <a:pt x="384" y="29"/>
                  </a:lnTo>
                  <a:lnTo>
                    <a:pt x="370" y="29"/>
                  </a:lnTo>
                  <a:lnTo>
                    <a:pt x="352" y="26"/>
                  </a:lnTo>
                  <a:lnTo>
                    <a:pt x="334" y="26"/>
                  </a:lnTo>
                  <a:lnTo>
                    <a:pt x="320" y="26"/>
                  </a:lnTo>
                  <a:lnTo>
                    <a:pt x="306" y="26"/>
                  </a:lnTo>
                  <a:lnTo>
                    <a:pt x="293" y="26"/>
                  </a:lnTo>
                  <a:lnTo>
                    <a:pt x="279" y="26"/>
                  </a:lnTo>
                  <a:lnTo>
                    <a:pt x="265" y="26"/>
                  </a:lnTo>
                  <a:lnTo>
                    <a:pt x="252" y="26"/>
                  </a:lnTo>
                  <a:lnTo>
                    <a:pt x="238" y="26"/>
                  </a:lnTo>
                  <a:lnTo>
                    <a:pt x="229" y="26"/>
                  </a:lnTo>
                  <a:lnTo>
                    <a:pt x="215" y="26"/>
                  </a:lnTo>
                  <a:lnTo>
                    <a:pt x="210" y="26"/>
                  </a:lnTo>
                  <a:lnTo>
                    <a:pt x="192" y="26"/>
                  </a:lnTo>
                  <a:lnTo>
                    <a:pt x="183" y="29"/>
                  </a:lnTo>
                  <a:lnTo>
                    <a:pt x="169" y="29"/>
                  </a:lnTo>
                  <a:lnTo>
                    <a:pt x="156" y="29"/>
                  </a:lnTo>
                  <a:lnTo>
                    <a:pt x="142" y="32"/>
                  </a:lnTo>
                  <a:lnTo>
                    <a:pt x="128" y="34"/>
                  </a:lnTo>
                  <a:lnTo>
                    <a:pt x="110" y="34"/>
                  </a:lnTo>
                  <a:lnTo>
                    <a:pt x="96" y="37"/>
                  </a:lnTo>
                  <a:lnTo>
                    <a:pt x="78" y="37"/>
                  </a:lnTo>
                  <a:lnTo>
                    <a:pt x="64" y="40"/>
                  </a:lnTo>
                  <a:lnTo>
                    <a:pt x="46" y="40"/>
                  </a:lnTo>
                  <a:lnTo>
                    <a:pt x="32" y="40"/>
                  </a:lnTo>
                  <a:lnTo>
                    <a:pt x="19" y="43"/>
                  </a:lnTo>
                  <a:lnTo>
                    <a:pt x="0" y="46"/>
                  </a:lnTo>
                  <a:lnTo>
                    <a:pt x="51" y="1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01" name="Freeform 93"/>
            <p:cNvSpPr>
              <a:spLocks/>
            </p:cNvSpPr>
            <p:nvPr>
              <p:custDataLst>
                <p:tags r:id="rId200"/>
              </p:custDataLst>
            </p:nvPr>
          </p:nvSpPr>
          <p:spPr bwMode="gray">
            <a:xfrm>
              <a:off x="2632" y="2239"/>
              <a:ext cx="643" cy="58"/>
            </a:xfrm>
            <a:custGeom>
              <a:avLst/>
              <a:gdLst>
                <a:gd name="T0" fmla="*/ 95 w 627"/>
                <a:gd name="T1" fmla="*/ 6 h 63"/>
                <a:gd name="T2" fmla="*/ 140 w 627"/>
                <a:gd name="T3" fmla="*/ 6 h 63"/>
                <a:gd name="T4" fmla="*/ 195 w 627"/>
                <a:gd name="T5" fmla="*/ 6 h 63"/>
                <a:gd name="T6" fmla="*/ 244 w 627"/>
                <a:gd name="T7" fmla="*/ 6 h 63"/>
                <a:gd name="T8" fmla="*/ 298 w 627"/>
                <a:gd name="T9" fmla="*/ 6 h 63"/>
                <a:gd name="T10" fmla="*/ 353 w 627"/>
                <a:gd name="T11" fmla="*/ 6 h 63"/>
                <a:gd name="T12" fmla="*/ 414 w 627"/>
                <a:gd name="T13" fmla="*/ 6 h 63"/>
                <a:gd name="T14" fmla="*/ 469 w 627"/>
                <a:gd name="T15" fmla="*/ 3 h 63"/>
                <a:gd name="T16" fmla="*/ 520 w 627"/>
                <a:gd name="T17" fmla="*/ 0 h 63"/>
                <a:gd name="T18" fmla="*/ 581 w 627"/>
                <a:gd name="T19" fmla="*/ 0 h 63"/>
                <a:gd name="T20" fmla="*/ 635 w 627"/>
                <a:gd name="T21" fmla="*/ 0 h 63"/>
                <a:gd name="T22" fmla="*/ 687 w 627"/>
                <a:gd name="T23" fmla="*/ 0 h 63"/>
                <a:gd name="T24" fmla="*/ 740 w 627"/>
                <a:gd name="T25" fmla="*/ 0 h 63"/>
                <a:gd name="T26" fmla="*/ 783 w 627"/>
                <a:gd name="T27" fmla="*/ 0 h 63"/>
                <a:gd name="T28" fmla="*/ 828 w 627"/>
                <a:gd name="T29" fmla="*/ 0 h 63"/>
                <a:gd name="T30" fmla="*/ 891 w 627"/>
                <a:gd name="T31" fmla="*/ 0 h 63"/>
                <a:gd name="T32" fmla="*/ 924 w 627"/>
                <a:gd name="T33" fmla="*/ 3 h 63"/>
                <a:gd name="T34" fmla="*/ 969 w 627"/>
                <a:gd name="T35" fmla="*/ 3 h 63"/>
                <a:gd name="T36" fmla="*/ 1029 w 627"/>
                <a:gd name="T37" fmla="*/ 6 h 63"/>
                <a:gd name="T38" fmla="*/ 1093 w 627"/>
                <a:gd name="T39" fmla="*/ 6 h 63"/>
                <a:gd name="T40" fmla="*/ 1148 w 627"/>
                <a:gd name="T41" fmla="*/ 6 h 63"/>
                <a:gd name="T42" fmla="*/ 1188 w 627"/>
                <a:gd name="T43" fmla="*/ 6 h 63"/>
                <a:gd name="T44" fmla="*/ 1197 w 627"/>
                <a:gd name="T45" fmla="*/ 6 h 63"/>
                <a:gd name="T46" fmla="*/ 1181 w 627"/>
                <a:gd name="T47" fmla="*/ 6 h 63"/>
                <a:gd name="T48" fmla="*/ 1136 w 627"/>
                <a:gd name="T49" fmla="*/ 6 h 63"/>
                <a:gd name="T50" fmla="*/ 1093 w 627"/>
                <a:gd name="T51" fmla="*/ 6 h 63"/>
                <a:gd name="T52" fmla="*/ 1029 w 627"/>
                <a:gd name="T53" fmla="*/ 6 h 63"/>
                <a:gd name="T54" fmla="*/ 962 w 627"/>
                <a:gd name="T55" fmla="*/ 6 h 63"/>
                <a:gd name="T56" fmla="*/ 900 w 627"/>
                <a:gd name="T57" fmla="*/ 6 h 63"/>
                <a:gd name="T58" fmla="*/ 828 w 627"/>
                <a:gd name="T59" fmla="*/ 6 h 63"/>
                <a:gd name="T60" fmla="*/ 757 w 627"/>
                <a:gd name="T61" fmla="*/ 6 h 63"/>
                <a:gd name="T62" fmla="*/ 705 w 627"/>
                <a:gd name="T63" fmla="*/ 6 h 63"/>
                <a:gd name="T64" fmla="*/ 659 w 627"/>
                <a:gd name="T65" fmla="*/ 6 h 63"/>
                <a:gd name="T66" fmla="*/ 615 w 627"/>
                <a:gd name="T67" fmla="*/ 6 h 63"/>
                <a:gd name="T68" fmla="*/ 563 w 627"/>
                <a:gd name="T69" fmla="*/ 6 h 63"/>
                <a:gd name="T70" fmla="*/ 520 w 627"/>
                <a:gd name="T71" fmla="*/ 6 h 63"/>
                <a:gd name="T72" fmla="*/ 458 w 627"/>
                <a:gd name="T73" fmla="*/ 6 h 63"/>
                <a:gd name="T74" fmla="*/ 406 w 627"/>
                <a:gd name="T75" fmla="*/ 6 h 63"/>
                <a:gd name="T76" fmla="*/ 353 w 627"/>
                <a:gd name="T77" fmla="*/ 6 h 63"/>
                <a:gd name="T78" fmla="*/ 306 w 627"/>
                <a:gd name="T79" fmla="*/ 6 h 63"/>
                <a:gd name="T80" fmla="*/ 255 w 627"/>
                <a:gd name="T81" fmla="*/ 6 h 63"/>
                <a:gd name="T82" fmla="*/ 210 w 627"/>
                <a:gd name="T83" fmla="*/ 6 h 63"/>
                <a:gd name="T84" fmla="*/ 176 w 627"/>
                <a:gd name="T85" fmla="*/ 6 h 63"/>
                <a:gd name="T86" fmla="*/ 125 w 627"/>
                <a:gd name="T87" fmla="*/ 6 h 63"/>
                <a:gd name="T88" fmla="*/ 54 w 627"/>
                <a:gd name="T89" fmla="*/ 6 h 63"/>
                <a:gd name="T90" fmla="*/ 67 w 627"/>
                <a:gd name="T91" fmla="*/ 6 h 6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27"/>
                <a:gd name="T139" fmla="*/ 0 h 63"/>
                <a:gd name="T140" fmla="*/ 627 w 627"/>
                <a:gd name="T141" fmla="*/ 63 h 6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27" h="63">
                  <a:moveTo>
                    <a:pt x="37" y="37"/>
                  </a:moveTo>
                  <a:lnTo>
                    <a:pt x="51" y="34"/>
                  </a:lnTo>
                  <a:lnTo>
                    <a:pt x="64" y="29"/>
                  </a:lnTo>
                  <a:lnTo>
                    <a:pt x="74" y="26"/>
                  </a:lnTo>
                  <a:lnTo>
                    <a:pt x="87" y="23"/>
                  </a:lnTo>
                  <a:lnTo>
                    <a:pt x="101" y="20"/>
                  </a:lnTo>
                  <a:lnTo>
                    <a:pt x="115" y="17"/>
                  </a:lnTo>
                  <a:lnTo>
                    <a:pt x="128" y="15"/>
                  </a:lnTo>
                  <a:lnTo>
                    <a:pt x="142" y="15"/>
                  </a:lnTo>
                  <a:lnTo>
                    <a:pt x="156" y="12"/>
                  </a:lnTo>
                  <a:lnTo>
                    <a:pt x="170" y="9"/>
                  </a:lnTo>
                  <a:lnTo>
                    <a:pt x="183" y="6"/>
                  </a:lnTo>
                  <a:lnTo>
                    <a:pt x="197" y="6"/>
                  </a:lnTo>
                  <a:lnTo>
                    <a:pt x="215" y="6"/>
                  </a:lnTo>
                  <a:lnTo>
                    <a:pt x="229" y="3"/>
                  </a:lnTo>
                  <a:lnTo>
                    <a:pt x="243" y="3"/>
                  </a:lnTo>
                  <a:lnTo>
                    <a:pt x="261" y="3"/>
                  </a:lnTo>
                  <a:lnTo>
                    <a:pt x="270" y="0"/>
                  </a:lnTo>
                  <a:lnTo>
                    <a:pt x="288" y="0"/>
                  </a:lnTo>
                  <a:lnTo>
                    <a:pt x="302" y="0"/>
                  </a:lnTo>
                  <a:lnTo>
                    <a:pt x="316" y="0"/>
                  </a:lnTo>
                  <a:lnTo>
                    <a:pt x="329" y="0"/>
                  </a:lnTo>
                  <a:lnTo>
                    <a:pt x="339" y="0"/>
                  </a:lnTo>
                  <a:lnTo>
                    <a:pt x="357" y="0"/>
                  </a:lnTo>
                  <a:lnTo>
                    <a:pt x="375" y="0"/>
                  </a:lnTo>
                  <a:lnTo>
                    <a:pt x="384" y="0"/>
                  </a:lnTo>
                  <a:lnTo>
                    <a:pt x="393" y="0"/>
                  </a:lnTo>
                  <a:lnTo>
                    <a:pt x="407" y="0"/>
                  </a:lnTo>
                  <a:lnTo>
                    <a:pt x="421" y="0"/>
                  </a:lnTo>
                  <a:lnTo>
                    <a:pt x="430" y="0"/>
                  </a:lnTo>
                  <a:lnTo>
                    <a:pt x="444" y="0"/>
                  </a:lnTo>
                  <a:lnTo>
                    <a:pt x="462" y="0"/>
                  </a:lnTo>
                  <a:lnTo>
                    <a:pt x="471" y="3"/>
                  </a:lnTo>
                  <a:lnTo>
                    <a:pt x="480" y="3"/>
                  </a:lnTo>
                  <a:lnTo>
                    <a:pt x="494" y="3"/>
                  </a:lnTo>
                  <a:lnTo>
                    <a:pt x="503" y="3"/>
                  </a:lnTo>
                  <a:lnTo>
                    <a:pt x="517" y="6"/>
                  </a:lnTo>
                  <a:lnTo>
                    <a:pt x="535" y="6"/>
                  </a:lnTo>
                  <a:lnTo>
                    <a:pt x="553" y="9"/>
                  </a:lnTo>
                  <a:lnTo>
                    <a:pt x="567" y="9"/>
                  </a:lnTo>
                  <a:lnTo>
                    <a:pt x="581" y="12"/>
                  </a:lnTo>
                  <a:lnTo>
                    <a:pt x="595" y="15"/>
                  </a:lnTo>
                  <a:lnTo>
                    <a:pt x="604" y="15"/>
                  </a:lnTo>
                  <a:lnTo>
                    <a:pt x="617" y="17"/>
                  </a:lnTo>
                  <a:lnTo>
                    <a:pt x="627" y="20"/>
                  </a:lnTo>
                  <a:lnTo>
                    <a:pt x="622" y="20"/>
                  </a:lnTo>
                  <a:lnTo>
                    <a:pt x="617" y="20"/>
                  </a:lnTo>
                  <a:lnTo>
                    <a:pt x="613" y="20"/>
                  </a:lnTo>
                  <a:lnTo>
                    <a:pt x="604" y="23"/>
                  </a:lnTo>
                  <a:lnTo>
                    <a:pt x="590" y="20"/>
                  </a:lnTo>
                  <a:lnTo>
                    <a:pt x="576" y="20"/>
                  </a:lnTo>
                  <a:lnTo>
                    <a:pt x="567" y="20"/>
                  </a:lnTo>
                  <a:lnTo>
                    <a:pt x="558" y="20"/>
                  </a:lnTo>
                  <a:lnTo>
                    <a:pt x="535" y="17"/>
                  </a:lnTo>
                  <a:lnTo>
                    <a:pt x="517" y="17"/>
                  </a:lnTo>
                  <a:lnTo>
                    <a:pt x="499" y="17"/>
                  </a:lnTo>
                  <a:lnTo>
                    <a:pt x="485" y="17"/>
                  </a:lnTo>
                  <a:lnTo>
                    <a:pt x="467" y="17"/>
                  </a:lnTo>
                  <a:lnTo>
                    <a:pt x="448" y="17"/>
                  </a:lnTo>
                  <a:lnTo>
                    <a:pt x="430" y="17"/>
                  </a:lnTo>
                  <a:lnTo>
                    <a:pt x="416" y="17"/>
                  </a:lnTo>
                  <a:lnTo>
                    <a:pt x="393" y="17"/>
                  </a:lnTo>
                  <a:lnTo>
                    <a:pt x="375" y="20"/>
                  </a:lnTo>
                  <a:lnTo>
                    <a:pt x="366" y="20"/>
                  </a:lnTo>
                  <a:lnTo>
                    <a:pt x="357" y="20"/>
                  </a:lnTo>
                  <a:lnTo>
                    <a:pt x="343" y="20"/>
                  </a:lnTo>
                  <a:lnTo>
                    <a:pt x="334" y="23"/>
                  </a:lnTo>
                  <a:lnTo>
                    <a:pt x="320" y="23"/>
                  </a:lnTo>
                  <a:lnTo>
                    <a:pt x="307" y="26"/>
                  </a:lnTo>
                  <a:lnTo>
                    <a:pt x="293" y="26"/>
                  </a:lnTo>
                  <a:lnTo>
                    <a:pt x="284" y="29"/>
                  </a:lnTo>
                  <a:lnTo>
                    <a:pt x="270" y="29"/>
                  </a:lnTo>
                  <a:lnTo>
                    <a:pt x="252" y="29"/>
                  </a:lnTo>
                  <a:lnTo>
                    <a:pt x="238" y="32"/>
                  </a:lnTo>
                  <a:lnTo>
                    <a:pt x="224" y="34"/>
                  </a:lnTo>
                  <a:lnTo>
                    <a:pt x="211" y="34"/>
                  </a:lnTo>
                  <a:lnTo>
                    <a:pt x="197" y="34"/>
                  </a:lnTo>
                  <a:lnTo>
                    <a:pt x="183" y="34"/>
                  </a:lnTo>
                  <a:lnTo>
                    <a:pt x="174" y="37"/>
                  </a:lnTo>
                  <a:lnTo>
                    <a:pt x="160" y="40"/>
                  </a:lnTo>
                  <a:lnTo>
                    <a:pt x="147" y="40"/>
                  </a:lnTo>
                  <a:lnTo>
                    <a:pt x="133" y="43"/>
                  </a:lnTo>
                  <a:lnTo>
                    <a:pt x="124" y="43"/>
                  </a:lnTo>
                  <a:lnTo>
                    <a:pt x="110" y="43"/>
                  </a:lnTo>
                  <a:lnTo>
                    <a:pt x="101" y="49"/>
                  </a:lnTo>
                  <a:lnTo>
                    <a:pt x="92" y="49"/>
                  </a:lnTo>
                  <a:lnTo>
                    <a:pt x="83" y="52"/>
                  </a:lnTo>
                  <a:lnTo>
                    <a:pt x="64" y="54"/>
                  </a:lnTo>
                  <a:lnTo>
                    <a:pt x="46" y="54"/>
                  </a:lnTo>
                  <a:lnTo>
                    <a:pt x="28" y="57"/>
                  </a:lnTo>
                  <a:lnTo>
                    <a:pt x="0" y="63"/>
                  </a:lnTo>
                  <a:lnTo>
                    <a:pt x="37" y="37"/>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02" name="Freeform 94"/>
            <p:cNvSpPr>
              <a:spLocks/>
            </p:cNvSpPr>
            <p:nvPr>
              <p:custDataLst>
                <p:tags r:id="rId201"/>
              </p:custDataLst>
            </p:nvPr>
          </p:nvSpPr>
          <p:spPr bwMode="gray">
            <a:xfrm>
              <a:off x="2628" y="2323"/>
              <a:ext cx="614" cy="45"/>
            </a:xfrm>
            <a:custGeom>
              <a:avLst/>
              <a:gdLst>
                <a:gd name="T0" fmla="*/ 201 w 599"/>
                <a:gd name="T1" fmla="*/ 6 h 49"/>
                <a:gd name="T2" fmla="*/ 244 w 599"/>
                <a:gd name="T3" fmla="*/ 6 h 49"/>
                <a:gd name="T4" fmla="*/ 293 w 599"/>
                <a:gd name="T5" fmla="*/ 3 h 49"/>
                <a:gd name="T6" fmla="*/ 338 w 599"/>
                <a:gd name="T7" fmla="*/ 0 h 49"/>
                <a:gd name="T8" fmla="*/ 381 w 599"/>
                <a:gd name="T9" fmla="*/ 0 h 49"/>
                <a:gd name="T10" fmla="*/ 433 w 599"/>
                <a:gd name="T11" fmla="*/ 0 h 49"/>
                <a:gd name="T12" fmla="*/ 488 w 599"/>
                <a:gd name="T13" fmla="*/ 0 h 49"/>
                <a:gd name="T14" fmla="*/ 521 w 599"/>
                <a:gd name="T15" fmla="*/ 0 h 49"/>
                <a:gd name="T16" fmla="*/ 573 w 599"/>
                <a:gd name="T17" fmla="*/ 0 h 49"/>
                <a:gd name="T18" fmla="*/ 616 w 599"/>
                <a:gd name="T19" fmla="*/ 0 h 49"/>
                <a:gd name="T20" fmla="*/ 661 w 599"/>
                <a:gd name="T21" fmla="*/ 3 h 49"/>
                <a:gd name="T22" fmla="*/ 702 w 599"/>
                <a:gd name="T23" fmla="*/ 6 h 49"/>
                <a:gd name="T24" fmla="*/ 755 w 599"/>
                <a:gd name="T25" fmla="*/ 6 h 49"/>
                <a:gd name="T26" fmla="*/ 789 w 599"/>
                <a:gd name="T27" fmla="*/ 6 h 49"/>
                <a:gd name="T28" fmla="*/ 826 w 599"/>
                <a:gd name="T29" fmla="*/ 6 h 49"/>
                <a:gd name="T30" fmla="*/ 858 w 599"/>
                <a:gd name="T31" fmla="*/ 6 h 49"/>
                <a:gd name="T32" fmla="*/ 919 w 599"/>
                <a:gd name="T33" fmla="*/ 6 h 49"/>
                <a:gd name="T34" fmla="*/ 982 w 599"/>
                <a:gd name="T35" fmla="*/ 6 h 49"/>
                <a:gd name="T36" fmla="*/ 1034 w 599"/>
                <a:gd name="T37" fmla="*/ 6 h 49"/>
                <a:gd name="T38" fmla="*/ 1079 w 599"/>
                <a:gd name="T39" fmla="*/ 6 h 49"/>
                <a:gd name="T40" fmla="*/ 1120 w 599"/>
                <a:gd name="T41" fmla="*/ 6 h 49"/>
                <a:gd name="T42" fmla="*/ 1139 w 599"/>
                <a:gd name="T43" fmla="*/ 6 h 49"/>
                <a:gd name="T44" fmla="*/ 1105 w 599"/>
                <a:gd name="T45" fmla="*/ 6 h 49"/>
                <a:gd name="T46" fmla="*/ 1034 w 599"/>
                <a:gd name="T47" fmla="*/ 6 h 49"/>
                <a:gd name="T48" fmla="*/ 964 w 599"/>
                <a:gd name="T49" fmla="*/ 6 h 49"/>
                <a:gd name="T50" fmla="*/ 889 w 599"/>
                <a:gd name="T51" fmla="*/ 6 h 49"/>
                <a:gd name="T52" fmla="*/ 826 w 599"/>
                <a:gd name="T53" fmla="*/ 6 h 49"/>
                <a:gd name="T54" fmla="*/ 789 w 599"/>
                <a:gd name="T55" fmla="*/ 6 h 49"/>
                <a:gd name="T56" fmla="*/ 748 w 599"/>
                <a:gd name="T57" fmla="*/ 6 h 49"/>
                <a:gd name="T58" fmla="*/ 702 w 599"/>
                <a:gd name="T59" fmla="*/ 6 h 49"/>
                <a:gd name="T60" fmla="*/ 652 w 599"/>
                <a:gd name="T61" fmla="*/ 6 h 49"/>
                <a:gd name="T62" fmla="*/ 616 w 599"/>
                <a:gd name="T63" fmla="*/ 6 h 49"/>
                <a:gd name="T64" fmla="*/ 566 w 599"/>
                <a:gd name="T65" fmla="*/ 6 h 49"/>
                <a:gd name="T66" fmla="*/ 521 w 599"/>
                <a:gd name="T67" fmla="*/ 6 h 49"/>
                <a:gd name="T68" fmla="*/ 488 w 599"/>
                <a:gd name="T69" fmla="*/ 6 h 49"/>
                <a:gd name="T70" fmla="*/ 433 w 599"/>
                <a:gd name="T71" fmla="*/ 6 h 49"/>
                <a:gd name="T72" fmla="*/ 381 w 599"/>
                <a:gd name="T73" fmla="*/ 6 h 49"/>
                <a:gd name="T74" fmla="*/ 338 w 599"/>
                <a:gd name="T75" fmla="*/ 6 h 49"/>
                <a:gd name="T76" fmla="*/ 293 w 599"/>
                <a:gd name="T77" fmla="*/ 6 h 49"/>
                <a:gd name="T78" fmla="*/ 244 w 599"/>
                <a:gd name="T79" fmla="*/ 6 h 49"/>
                <a:gd name="T80" fmla="*/ 201 w 599"/>
                <a:gd name="T81" fmla="*/ 6 h 49"/>
                <a:gd name="T82" fmla="*/ 164 w 599"/>
                <a:gd name="T83" fmla="*/ 6 h 49"/>
                <a:gd name="T84" fmla="*/ 124 w 599"/>
                <a:gd name="T85" fmla="*/ 6 h 49"/>
                <a:gd name="T86" fmla="*/ 74 w 599"/>
                <a:gd name="T87" fmla="*/ 6 h 49"/>
                <a:gd name="T88" fmla="*/ 18 w 599"/>
                <a:gd name="T89" fmla="*/ 6 h 49"/>
                <a:gd name="T90" fmla="*/ 0 w 599"/>
                <a:gd name="T91" fmla="*/ 6 h 49"/>
                <a:gd name="T92" fmla="*/ 49 w 599"/>
                <a:gd name="T93" fmla="*/ 6 h 49"/>
                <a:gd name="T94" fmla="*/ 103 w 599"/>
                <a:gd name="T95" fmla="*/ 6 h 49"/>
                <a:gd name="T96" fmla="*/ 146 w 599"/>
                <a:gd name="T97" fmla="*/ 6 h 49"/>
                <a:gd name="T98" fmla="*/ 164 w 599"/>
                <a:gd name="T99" fmla="*/ 6 h 49"/>
                <a:gd name="T100" fmla="*/ 172 w 599"/>
                <a:gd name="T101" fmla="*/ 6 h 4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99"/>
                <a:gd name="T154" fmla="*/ 0 h 49"/>
                <a:gd name="T155" fmla="*/ 599 w 599"/>
                <a:gd name="T156" fmla="*/ 49 h 4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99" h="49">
                  <a:moveTo>
                    <a:pt x="91" y="12"/>
                  </a:moveTo>
                  <a:lnTo>
                    <a:pt x="105" y="9"/>
                  </a:lnTo>
                  <a:lnTo>
                    <a:pt x="114" y="6"/>
                  </a:lnTo>
                  <a:lnTo>
                    <a:pt x="128" y="6"/>
                  </a:lnTo>
                  <a:lnTo>
                    <a:pt x="142" y="3"/>
                  </a:lnTo>
                  <a:lnTo>
                    <a:pt x="155" y="3"/>
                  </a:lnTo>
                  <a:lnTo>
                    <a:pt x="169" y="0"/>
                  </a:lnTo>
                  <a:lnTo>
                    <a:pt x="178" y="0"/>
                  </a:lnTo>
                  <a:lnTo>
                    <a:pt x="192" y="0"/>
                  </a:lnTo>
                  <a:lnTo>
                    <a:pt x="201" y="0"/>
                  </a:lnTo>
                  <a:lnTo>
                    <a:pt x="219" y="0"/>
                  </a:lnTo>
                  <a:lnTo>
                    <a:pt x="228" y="0"/>
                  </a:lnTo>
                  <a:lnTo>
                    <a:pt x="242" y="0"/>
                  </a:lnTo>
                  <a:lnTo>
                    <a:pt x="256" y="0"/>
                  </a:lnTo>
                  <a:lnTo>
                    <a:pt x="265" y="0"/>
                  </a:lnTo>
                  <a:lnTo>
                    <a:pt x="274" y="0"/>
                  </a:lnTo>
                  <a:lnTo>
                    <a:pt x="292" y="0"/>
                  </a:lnTo>
                  <a:lnTo>
                    <a:pt x="301" y="0"/>
                  </a:lnTo>
                  <a:lnTo>
                    <a:pt x="311" y="0"/>
                  </a:lnTo>
                  <a:lnTo>
                    <a:pt x="324" y="0"/>
                  </a:lnTo>
                  <a:lnTo>
                    <a:pt x="338" y="3"/>
                  </a:lnTo>
                  <a:lnTo>
                    <a:pt x="347" y="3"/>
                  </a:lnTo>
                  <a:lnTo>
                    <a:pt x="361" y="3"/>
                  </a:lnTo>
                  <a:lnTo>
                    <a:pt x="370" y="6"/>
                  </a:lnTo>
                  <a:lnTo>
                    <a:pt x="384" y="6"/>
                  </a:lnTo>
                  <a:lnTo>
                    <a:pt x="397" y="6"/>
                  </a:lnTo>
                  <a:lnTo>
                    <a:pt x="407" y="9"/>
                  </a:lnTo>
                  <a:lnTo>
                    <a:pt x="416" y="9"/>
                  </a:lnTo>
                  <a:lnTo>
                    <a:pt x="425" y="12"/>
                  </a:lnTo>
                  <a:lnTo>
                    <a:pt x="434" y="12"/>
                  </a:lnTo>
                  <a:lnTo>
                    <a:pt x="448" y="15"/>
                  </a:lnTo>
                  <a:lnTo>
                    <a:pt x="452" y="15"/>
                  </a:lnTo>
                  <a:lnTo>
                    <a:pt x="466" y="17"/>
                  </a:lnTo>
                  <a:lnTo>
                    <a:pt x="484" y="20"/>
                  </a:lnTo>
                  <a:lnTo>
                    <a:pt x="498" y="23"/>
                  </a:lnTo>
                  <a:lnTo>
                    <a:pt x="516" y="26"/>
                  </a:lnTo>
                  <a:lnTo>
                    <a:pt x="535" y="29"/>
                  </a:lnTo>
                  <a:lnTo>
                    <a:pt x="544" y="32"/>
                  </a:lnTo>
                  <a:lnTo>
                    <a:pt x="557" y="35"/>
                  </a:lnTo>
                  <a:lnTo>
                    <a:pt x="567" y="37"/>
                  </a:lnTo>
                  <a:lnTo>
                    <a:pt x="580" y="40"/>
                  </a:lnTo>
                  <a:lnTo>
                    <a:pt x="589" y="43"/>
                  </a:lnTo>
                  <a:lnTo>
                    <a:pt x="599" y="49"/>
                  </a:lnTo>
                  <a:lnTo>
                    <a:pt x="589" y="49"/>
                  </a:lnTo>
                  <a:lnTo>
                    <a:pt x="580" y="46"/>
                  </a:lnTo>
                  <a:lnTo>
                    <a:pt x="562" y="43"/>
                  </a:lnTo>
                  <a:lnTo>
                    <a:pt x="544" y="40"/>
                  </a:lnTo>
                  <a:lnTo>
                    <a:pt x="530" y="37"/>
                  </a:lnTo>
                  <a:lnTo>
                    <a:pt x="507" y="37"/>
                  </a:lnTo>
                  <a:lnTo>
                    <a:pt x="489" y="35"/>
                  </a:lnTo>
                  <a:lnTo>
                    <a:pt x="466" y="35"/>
                  </a:lnTo>
                  <a:lnTo>
                    <a:pt x="448" y="35"/>
                  </a:lnTo>
                  <a:lnTo>
                    <a:pt x="434" y="32"/>
                  </a:lnTo>
                  <a:lnTo>
                    <a:pt x="425" y="32"/>
                  </a:lnTo>
                  <a:lnTo>
                    <a:pt x="416" y="29"/>
                  </a:lnTo>
                  <a:lnTo>
                    <a:pt x="402" y="29"/>
                  </a:lnTo>
                  <a:lnTo>
                    <a:pt x="393" y="29"/>
                  </a:lnTo>
                  <a:lnTo>
                    <a:pt x="379" y="29"/>
                  </a:lnTo>
                  <a:lnTo>
                    <a:pt x="370" y="29"/>
                  </a:lnTo>
                  <a:lnTo>
                    <a:pt x="361" y="29"/>
                  </a:lnTo>
                  <a:lnTo>
                    <a:pt x="343" y="29"/>
                  </a:lnTo>
                  <a:lnTo>
                    <a:pt x="333" y="29"/>
                  </a:lnTo>
                  <a:lnTo>
                    <a:pt x="324" y="29"/>
                  </a:lnTo>
                  <a:lnTo>
                    <a:pt x="311" y="29"/>
                  </a:lnTo>
                  <a:lnTo>
                    <a:pt x="297" y="29"/>
                  </a:lnTo>
                  <a:lnTo>
                    <a:pt x="288" y="29"/>
                  </a:lnTo>
                  <a:lnTo>
                    <a:pt x="274" y="29"/>
                  </a:lnTo>
                  <a:lnTo>
                    <a:pt x="265" y="29"/>
                  </a:lnTo>
                  <a:lnTo>
                    <a:pt x="256" y="29"/>
                  </a:lnTo>
                  <a:lnTo>
                    <a:pt x="242" y="29"/>
                  </a:lnTo>
                  <a:lnTo>
                    <a:pt x="228" y="29"/>
                  </a:lnTo>
                  <a:lnTo>
                    <a:pt x="219" y="29"/>
                  </a:lnTo>
                  <a:lnTo>
                    <a:pt x="201" y="29"/>
                  </a:lnTo>
                  <a:lnTo>
                    <a:pt x="187" y="29"/>
                  </a:lnTo>
                  <a:lnTo>
                    <a:pt x="178" y="29"/>
                  </a:lnTo>
                  <a:lnTo>
                    <a:pt x="169" y="29"/>
                  </a:lnTo>
                  <a:lnTo>
                    <a:pt x="155" y="29"/>
                  </a:lnTo>
                  <a:lnTo>
                    <a:pt x="137" y="29"/>
                  </a:lnTo>
                  <a:lnTo>
                    <a:pt x="128" y="29"/>
                  </a:lnTo>
                  <a:lnTo>
                    <a:pt x="119" y="32"/>
                  </a:lnTo>
                  <a:lnTo>
                    <a:pt x="105" y="32"/>
                  </a:lnTo>
                  <a:lnTo>
                    <a:pt x="91" y="32"/>
                  </a:lnTo>
                  <a:lnTo>
                    <a:pt x="87" y="32"/>
                  </a:lnTo>
                  <a:lnTo>
                    <a:pt x="73" y="35"/>
                  </a:lnTo>
                  <a:lnTo>
                    <a:pt x="64" y="35"/>
                  </a:lnTo>
                  <a:lnTo>
                    <a:pt x="55" y="35"/>
                  </a:lnTo>
                  <a:lnTo>
                    <a:pt x="41" y="35"/>
                  </a:lnTo>
                  <a:lnTo>
                    <a:pt x="36" y="35"/>
                  </a:lnTo>
                  <a:lnTo>
                    <a:pt x="18" y="35"/>
                  </a:lnTo>
                  <a:lnTo>
                    <a:pt x="14" y="35"/>
                  </a:lnTo>
                  <a:lnTo>
                    <a:pt x="0" y="32"/>
                  </a:lnTo>
                  <a:lnTo>
                    <a:pt x="9" y="29"/>
                  </a:lnTo>
                  <a:lnTo>
                    <a:pt x="23" y="23"/>
                  </a:lnTo>
                  <a:lnTo>
                    <a:pt x="36" y="20"/>
                  </a:lnTo>
                  <a:lnTo>
                    <a:pt x="55" y="17"/>
                  </a:lnTo>
                  <a:lnTo>
                    <a:pt x="68" y="15"/>
                  </a:lnTo>
                  <a:lnTo>
                    <a:pt x="78" y="15"/>
                  </a:lnTo>
                  <a:lnTo>
                    <a:pt x="87" y="12"/>
                  </a:lnTo>
                  <a:lnTo>
                    <a:pt x="91" y="12"/>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03" name="Freeform 95"/>
            <p:cNvSpPr>
              <a:spLocks/>
            </p:cNvSpPr>
            <p:nvPr>
              <p:custDataLst>
                <p:tags r:id="rId202"/>
              </p:custDataLst>
            </p:nvPr>
          </p:nvSpPr>
          <p:spPr bwMode="gray">
            <a:xfrm>
              <a:off x="1260" y="2190"/>
              <a:ext cx="993" cy="80"/>
            </a:xfrm>
            <a:custGeom>
              <a:avLst/>
              <a:gdLst>
                <a:gd name="T0" fmla="*/ 73 w 969"/>
                <a:gd name="T1" fmla="*/ 3 h 88"/>
                <a:gd name="T2" fmla="*/ 137 w 969"/>
                <a:gd name="T3" fmla="*/ 5 h 88"/>
                <a:gd name="T4" fmla="*/ 223 w 969"/>
                <a:gd name="T5" fmla="*/ 5 h 88"/>
                <a:gd name="T6" fmla="*/ 309 w 969"/>
                <a:gd name="T7" fmla="*/ 5 h 88"/>
                <a:gd name="T8" fmla="*/ 363 w 969"/>
                <a:gd name="T9" fmla="*/ 5 h 88"/>
                <a:gd name="T10" fmla="*/ 424 w 969"/>
                <a:gd name="T11" fmla="*/ 5 h 88"/>
                <a:gd name="T12" fmla="*/ 483 w 969"/>
                <a:gd name="T13" fmla="*/ 5 h 88"/>
                <a:gd name="T14" fmla="*/ 544 w 969"/>
                <a:gd name="T15" fmla="*/ 5 h 88"/>
                <a:gd name="T16" fmla="*/ 614 w 969"/>
                <a:gd name="T17" fmla="*/ 5 h 88"/>
                <a:gd name="T18" fmla="*/ 675 w 969"/>
                <a:gd name="T19" fmla="*/ 5 h 88"/>
                <a:gd name="T20" fmla="*/ 736 w 969"/>
                <a:gd name="T21" fmla="*/ 5 h 88"/>
                <a:gd name="T22" fmla="*/ 794 w 969"/>
                <a:gd name="T23" fmla="*/ 5 h 88"/>
                <a:gd name="T24" fmla="*/ 874 w 969"/>
                <a:gd name="T25" fmla="*/ 5 h 88"/>
                <a:gd name="T26" fmla="*/ 933 w 969"/>
                <a:gd name="T27" fmla="*/ 5 h 88"/>
                <a:gd name="T28" fmla="*/ 992 w 969"/>
                <a:gd name="T29" fmla="*/ 5 h 88"/>
                <a:gd name="T30" fmla="*/ 1063 w 969"/>
                <a:gd name="T31" fmla="*/ 5 h 88"/>
                <a:gd name="T32" fmla="*/ 1175 w 969"/>
                <a:gd name="T33" fmla="*/ 5 h 88"/>
                <a:gd name="T34" fmla="*/ 1263 w 969"/>
                <a:gd name="T35" fmla="*/ 5 h 88"/>
                <a:gd name="T36" fmla="*/ 1346 w 969"/>
                <a:gd name="T37" fmla="*/ 5 h 88"/>
                <a:gd name="T38" fmla="*/ 1433 w 969"/>
                <a:gd name="T39" fmla="*/ 5 h 88"/>
                <a:gd name="T40" fmla="*/ 1519 w 969"/>
                <a:gd name="T41" fmla="*/ 5 h 88"/>
                <a:gd name="T42" fmla="*/ 1598 w 969"/>
                <a:gd name="T43" fmla="*/ 5 h 88"/>
                <a:gd name="T44" fmla="*/ 1657 w 969"/>
                <a:gd name="T45" fmla="*/ 5 h 88"/>
                <a:gd name="T46" fmla="*/ 1745 w 969"/>
                <a:gd name="T47" fmla="*/ 5 h 88"/>
                <a:gd name="T48" fmla="*/ 1808 w 969"/>
                <a:gd name="T49" fmla="*/ 5 h 88"/>
                <a:gd name="T50" fmla="*/ 1828 w 969"/>
                <a:gd name="T51" fmla="*/ 7 h 88"/>
                <a:gd name="T52" fmla="*/ 1772 w 969"/>
                <a:gd name="T53" fmla="*/ 7 h 88"/>
                <a:gd name="T54" fmla="*/ 1699 w 969"/>
                <a:gd name="T55" fmla="*/ 7 h 88"/>
                <a:gd name="T56" fmla="*/ 1631 w 969"/>
                <a:gd name="T57" fmla="*/ 7 h 88"/>
                <a:gd name="T58" fmla="*/ 1554 w 969"/>
                <a:gd name="T59" fmla="*/ 7 h 88"/>
                <a:gd name="T60" fmla="*/ 1448 w 969"/>
                <a:gd name="T61" fmla="*/ 6 h 88"/>
                <a:gd name="T62" fmla="*/ 1363 w 969"/>
                <a:gd name="T63" fmla="*/ 6 h 88"/>
                <a:gd name="T64" fmla="*/ 1268 w 969"/>
                <a:gd name="T65" fmla="*/ 6 h 88"/>
                <a:gd name="T66" fmla="*/ 1184 w 969"/>
                <a:gd name="T67" fmla="*/ 6 h 88"/>
                <a:gd name="T68" fmla="*/ 1089 w 969"/>
                <a:gd name="T69" fmla="*/ 5 h 88"/>
                <a:gd name="T70" fmla="*/ 1012 w 969"/>
                <a:gd name="T71" fmla="*/ 5 h 88"/>
                <a:gd name="T72" fmla="*/ 918 w 969"/>
                <a:gd name="T73" fmla="*/ 5 h 88"/>
                <a:gd name="T74" fmla="*/ 862 w 969"/>
                <a:gd name="T75" fmla="*/ 5 h 88"/>
                <a:gd name="T76" fmla="*/ 794 w 969"/>
                <a:gd name="T77" fmla="*/ 5 h 88"/>
                <a:gd name="T78" fmla="*/ 736 w 969"/>
                <a:gd name="T79" fmla="*/ 5 h 88"/>
                <a:gd name="T80" fmla="*/ 666 w 969"/>
                <a:gd name="T81" fmla="*/ 5 h 88"/>
                <a:gd name="T82" fmla="*/ 605 w 969"/>
                <a:gd name="T83" fmla="*/ 5 h 88"/>
                <a:gd name="T84" fmla="*/ 526 w 969"/>
                <a:gd name="T85" fmla="*/ 5 h 88"/>
                <a:gd name="T86" fmla="*/ 465 w 969"/>
                <a:gd name="T87" fmla="*/ 5 h 88"/>
                <a:gd name="T88" fmla="*/ 397 w 969"/>
                <a:gd name="T89" fmla="*/ 5 h 88"/>
                <a:gd name="T90" fmla="*/ 339 w 969"/>
                <a:gd name="T91" fmla="*/ 5 h 88"/>
                <a:gd name="T92" fmla="*/ 279 w 969"/>
                <a:gd name="T93" fmla="*/ 5 h 88"/>
                <a:gd name="T94" fmla="*/ 180 w 969"/>
                <a:gd name="T95" fmla="*/ 5 h 88"/>
                <a:gd name="T96" fmla="*/ 93 w 969"/>
                <a:gd name="T97" fmla="*/ 5 h 88"/>
                <a:gd name="T98" fmla="*/ 19 w 969"/>
                <a:gd name="T99" fmla="*/ 5 h 88"/>
                <a:gd name="T100" fmla="*/ 58 w 969"/>
                <a:gd name="T101" fmla="*/ 0 h 8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69"/>
                <a:gd name="T154" fmla="*/ 0 h 88"/>
                <a:gd name="T155" fmla="*/ 969 w 969"/>
                <a:gd name="T156" fmla="*/ 88 h 8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69" h="88">
                  <a:moveTo>
                    <a:pt x="32" y="0"/>
                  </a:moveTo>
                  <a:lnTo>
                    <a:pt x="37" y="0"/>
                  </a:lnTo>
                  <a:lnTo>
                    <a:pt x="41" y="3"/>
                  </a:lnTo>
                  <a:lnTo>
                    <a:pt x="51" y="3"/>
                  </a:lnTo>
                  <a:lnTo>
                    <a:pt x="60" y="6"/>
                  </a:lnTo>
                  <a:lnTo>
                    <a:pt x="73" y="6"/>
                  </a:lnTo>
                  <a:lnTo>
                    <a:pt x="87" y="9"/>
                  </a:lnTo>
                  <a:lnTo>
                    <a:pt x="101" y="9"/>
                  </a:lnTo>
                  <a:lnTo>
                    <a:pt x="119" y="12"/>
                  </a:lnTo>
                  <a:lnTo>
                    <a:pt x="133" y="12"/>
                  </a:lnTo>
                  <a:lnTo>
                    <a:pt x="151" y="14"/>
                  </a:lnTo>
                  <a:lnTo>
                    <a:pt x="165" y="14"/>
                  </a:lnTo>
                  <a:lnTo>
                    <a:pt x="169" y="17"/>
                  </a:lnTo>
                  <a:lnTo>
                    <a:pt x="183" y="17"/>
                  </a:lnTo>
                  <a:lnTo>
                    <a:pt x="192" y="20"/>
                  </a:lnTo>
                  <a:lnTo>
                    <a:pt x="201" y="20"/>
                  </a:lnTo>
                  <a:lnTo>
                    <a:pt x="211" y="20"/>
                  </a:lnTo>
                  <a:lnTo>
                    <a:pt x="224" y="20"/>
                  </a:lnTo>
                  <a:lnTo>
                    <a:pt x="233" y="23"/>
                  </a:lnTo>
                  <a:lnTo>
                    <a:pt x="243" y="23"/>
                  </a:lnTo>
                  <a:lnTo>
                    <a:pt x="256" y="23"/>
                  </a:lnTo>
                  <a:lnTo>
                    <a:pt x="270" y="23"/>
                  </a:lnTo>
                  <a:lnTo>
                    <a:pt x="279" y="26"/>
                  </a:lnTo>
                  <a:lnTo>
                    <a:pt x="288" y="26"/>
                  </a:lnTo>
                  <a:lnTo>
                    <a:pt x="302" y="29"/>
                  </a:lnTo>
                  <a:lnTo>
                    <a:pt x="316" y="29"/>
                  </a:lnTo>
                  <a:lnTo>
                    <a:pt x="325" y="32"/>
                  </a:lnTo>
                  <a:lnTo>
                    <a:pt x="334" y="32"/>
                  </a:lnTo>
                  <a:lnTo>
                    <a:pt x="348" y="32"/>
                  </a:lnTo>
                  <a:lnTo>
                    <a:pt x="357" y="34"/>
                  </a:lnTo>
                  <a:lnTo>
                    <a:pt x="371" y="34"/>
                  </a:lnTo>
                  <a:lnTo>
                    <a:pt x="380" y="34"/>
                  </a:lnTo>
                  <a:lnTo>
                    <a:pt x="389" y="34"/>
                  </a:lnTo>
                  <a:lnTo>
                    <a:pt x="403" y="34"/>
                  </a:lnTo>
                  <a:lnTo>
                    <a:pt x="416" y="37"/>
                  </a:lnTo>
                  <a:lnTo>
                    <a:pt x="421" y="37"/>
                  </a:lnTo>
                  <a:lnTo>
                    <a:pt x="439" y="40"/>
                  </a:lnTo>
                  <a:lnTo>
                    <a:pt x="448" y="40"/>
                  </a:lnTo>
                  <a:lnTo>
                    <a:pt x="462" y="40"/>
                  </a:lnTo>
                  <a:lnTo>
                    <a:pt x="471" y="40"/>
                  </a:lnTo>
                  <a:lnTo>
                    <a:pt x="480" y="43"/>
                  </a:lnTo>
                  <a:lnTo>
                    <a:pt x="494" y="43"/>
                  </a:lnTo>
                  <a:lnTo>
                    <a:pt x="503" y="43"/>
                  </a:lnTo>
                  <a:lnTo>
                    <a:pt x="512" y="43"/>
                  </a:lnTo>
                  <a:lnTo>
                    <a:pt x="526" y="46"/>
                  </a:lnTo>
                  <a:lnTo>
                    <a:pt x="535" y="46"/>
                  </a:lnTo>
                  <a:lnTo>
                    <a:pt x="544" y="46"/>
                  </a:lnTo>
                  <a:lnTo>
                    <a:pt x="562" y="46"/>
                  </a:lnTo>
                  <a:lnTo>
                    <a:pt x="585" y="46"/>
                  </a:lnTo>
                  <a:lnTo>
                    <a:pt x="599" y="49"/>
                  </a:lnTo>
                  <a:lnTo>
                    <a:pt x="622" y="51"/>
                  </a:lnTo>
                  <a:lnTo>
                    <a:pt x="636" y="51"/>
                  </a:lnTo>
                  <a:lnTo>
                    <a:pt x="654" y="51"/>
                  </a:lnTo>
                  <a:lnTo>
                    <a:pt x="668" y="51"/>
                  </a:lnTo>
                  <a:lnTo>
                    <a:pt x="681" y="51"/>
                  </a:lnTo>
                  <a:lnTo>
                    <a:pt x="700" y="51"/>
                  </a:lnTo>
                  <a:lnTo>
                    <a:pt x="713" y="51"/>
                  </a:lnTo>
                  <a:lnTo>
                    <a:pt x="732" y="51"/>
                  </a:lnTo>
                  <a:lnTo>
                    <a:pt x="750" y="51"/>
                  </a:lnTo>
                  <a:lnTo>
                    <a:pt x="759" y="51"/>
                  </a:lnTo>
                  <a:lnTo>
                    <a:pt x="777" y="51"/>
                  </a:lnTo>
                  <a:lnTo>
                    <a:pt x="786" y="54"/>
                  </a:lnTo>
                  <a:lnTo>
                    <a:pt x="805" y="54"/>
                  </a:lnTo>
                  <a:lnTo>
                    <a:pt x="818" y="54"/>
                  </a:lnTo>
                  <a:lnTo>
                    <a:pt x="832" y="54"/>
                  </a:lnTo>
                  <a:lnTo>
                    <a:pt x="846" y="54"/>
                  </a:lnTo>
                  <a:lnTo>
                    <a:pt x="860" y="57"/>
                  </a:lnTo>
                  <a:lnTo>
                    <a:pt x="869" y="57"/>
                  </a:lnTo>
                  <a:lnTo>
                    <a:pt x="878" y="57"/>
                  </a:lnTo>
                  <a:lnTo>
                    <a:pt x="892" y="57"/>
                  </a:lnTo>
                  <a:lnTo>
                    <a:pt x="901" y="60"/>
                  </a:lnTo>
                  <a:lnTo>
                    <a:pt x="924" y="60"/>
                  </a:lnTo>
                  <a:lnTo>
                    <a:pt x="937" y="60"/>
                  </a:lnTo>
                  <a:lnTo>
                    <a:pt x="951" y="60"/>
                  </a:lnTo>
                  <a:lnTo>
                    <a:pt x="956" y="63"/>
                  </a:lnTo>
                  <a:lnTo>
                    <a:pt x="965" y="63"/>
                  </a:lnTo>
                  <a:lnTo>
                    <a:pt x="969" y="63"/>
                  </a:lnTo>
                  <a:lnTo>
                    <a:pt x="969" y="88"/>
                  </a:lnTo>
                  <a:lnTo>
                    <a:pt x="965" y="86"/>
                  </a:lnTo>
                  <a:lnTo>
                    <a:pt x="951" y="86"/>
                  </a:lnTo>
                  <a:lnTo>
                    <a:pt x="937" y="86"/>
                  </a:lnTo>
                  <a:lnTo>
                    <a:pt x="924" y="86"/>
                  </a:lnTo>
                  <a:lnTo>
                    <a:pt x="914" y="83"/>
                  </a:lnTo>
                  <a:lnTo>
                    <a:pt x="901" y="83"/>
                  </a:lnTo>
                  <a:lnTo>
                    <a:pt x="887" y="83"/>
                  </a:lnTo>
                  <a:lnTo>
                    <a:pt x="878" y="83"/>
                  </a:lnTo>
                  <a:lnTo>
                    <a:pt x="864" y="83"/>
                  </a:lnTo>
                  <a:lnTo>
                    <a:pt x="846" y="83"/>
                  </a:lnTo>
                  <a:lnTo>
                    <a:pt x="837" y="83"/>
                  </a:lnTo>
                  <a:lnTo>
                    <a:pt x="823" y="83"/>
                  </a:lnTo>
                  <a:lnTo>
                    <a:pt x="805" y="83"/>
                  </a:lnTo>
                  <a:lnTo>
                    <a:pt x="786" y="83"/>
                  </a:lnTo>
                  <a:lnTo>
                    <a:pt x="768" y="80"/>
                  </a:lnTo>
                  <a:lnTo>
                    <a:pt x="754" y="80"/>
                  </a:lnTo>
                  <a:lnTo>
                    <a:pt x="736" y="80"/>
                  </a:lnTo>
                  <a:lnTo>
                    <a:pt x="722" y="80"/>
                  </a:lnTo>
                  <a:lnTo>
                    <a:pt x="704" y="80"/>
                  </a:lnTo>
                  <a:lnTo>
                    <a:pt x="690" y="80"/>
                  </a:lnTo>
                  <a:lnTo>
                    <a:pt x="672" y="77"/>
                  </a:lnTo>
                  <a:lnTo>
                    <a:pt x="658" y="77"/>
                  </a:lnTo>
                  <a:lnTo>
                    <a:pt x="640" y="77"/>
                  </a:lnTo>
                  <a:lnTo>
                    <a:pt x="626" y="77"/>
                  </a:lnTo>
                  <a:lnTo>
                    <a:pt x="608" y="74"/>
                  </a:lnTo>
                  <a:lnTo>
                    <a:pt x="590" y="74"/>
                  </a:lnTo>
                  <a:lnTo>
                    <a:pt x="576" y="74"/>
                  </a:lnTo>
                  <a:lnTo>
                    <a:pt x="567" y="74"/>
                  </a:lnTo>
                  <a:lnTo>
                    <a:pt x="549" y="71"/>
                  </a:lnTo>
                  <a:lnTo>
                    <a:pt x="535" y="71"/>
                  </a:lnTo>
                  <a:lnTo>
                    <a:pt x="517" y="69"/>
                  </a:lnTo>
                  <a:lnTo>
                    <a:pt x="499" y="69"/>
                  </a:lnTo>
                  <a:lnTo>
                    <a:pt x="485" y="69"/>
                  </a:lnTo>
                  <a:lnTo>
                    <a:pt x="476" y="69"/>
                  </a:lnTo>
                  <a:lnTo>
                    <a:pt x="467" y="66"/>
                  </a:lnTo>
                  <a:lnTo>
                    <a:pt x="457" y="66"/>
                  </a:lnTo>
                  <a:lnTo>
                    <a:pt x="444" y="66"/>
                  </a:lnTo>
                  <a:lnTo>
                    <a:pt x="435" y="63"/>
                  </a:lnTo>
                  <a:lnTo>
                    <a:pt x="421" y="63"/>
                  </a:lnTo>
                  <a:lnTo>
                    <a:pt x="412" y="63"/>
                  </a:lnTo>
                  <a:lnTo>
                    <a:pt x="403" y="60"/>
                  </a:lnTo>
                  <a:lnTo>
                    <a:pt x="389" y="60"/>
                  </a:lnTo>
                  <a:lnTo>
                    <a:pt x="380" y="57"/>
                  </a:lnTo>
                  <a:lnTo>
                    <a:pt x="366" y="57"/>
                  </a:lnTo>
                  <a:lnTo>
                    <a:pt x="352" y="57"/>
                  </a:lnTo>
                  <a:lnTo>
                    <a:pt x="343" y="54"/>
                  </a:lnTo>
                  <a:lnTo>
                    <a:pt x="334" y="54"/>
                  </a:lnTo>
                  <a:lnTo>
                    <a:pt x="320" y="54"/>
                  </a:lnTo>
                  <a:lnTo>
                    <a:pt x="307" y="51"/>
                  </a:lnTo>
                  <a:lnTo>
                    <a:pt x="297" y="51"/>
                  </a:lnTo>
                  <a:lnTo>
                    <a:pt x="279" y="51"/>
                  </a:lnTo>
                  <a:lnTo>
                    <a:pt x="270" y="51"/>
                  </a:lnTo>
                  <a:lnTo>
                    <a:pt x="261" y="49"/>
                  </a:lnTo>
                  <a:lnTo>
                    <a:pt x="247" y="46"/>
                  </a:lnTo>
                  <a:lnTo>
                    <a:pt x="238" y="46"/>
                  </a:lnTo>
                  <a:lnTo>
                    <a:pt x="224" y="46"/>
                  </a:lnTo>
                  <a:lnTo>
                    <a:pt x="211" y="46"/>
                  </a:lnTo>
                  <a:lnTo>
                    <a:pt x="201" y="43"/>
                  </a:lnTo>
                  <a:lnTo>
                    <a:pt x="188" y="43"/>
                  </a:lnTo>
                  <a:lnTo>
                    <a:pt x="179" y="43"/>
                  </a:lnTo>
                  <a:lnTo>
                    <a:pt x="165" y="40"/>
                  </a:lnTo>
                  <a:lnTo>
                    <a:pt x="156" y="40"/>
                  </a:lnTo>
                  <a:lnTo>
                    <a:pt x="147" y="37"/>
                  </a:lnTo>
                  <a:lnTo>
                    <a:pt x="137" y="37"/>
                  </a:lnTo>
                  <a:lnTo>
                    <a:pt x="115" y="34"/>
                  </a:lnTo>
                  <a:lnTo>
                    <a:pt x="96" y="34"/>
                  </a:lnTo>
                  <a:lnTo>
                    <a:pt x="78" y="32"/>
                  </a:lnTo>
                  <a:lnTo>
                    <a:pt x="69" y="32"/>
                  </a:lnTo>
                  <a:lnTo>
                    <a:pt x="51" y="29"/>
                  </a:lnTo>
                  <a:lnTo>
                    <a:pt x="41" y="26"/>
                  </a:lnTo>
                  <a:lnTo>
                    <a:pt x="23" y="26"/>
                  </a:lnTo>
                  <a:lnTo>
                    <a:pt x="19" y="26"/>
                  </a:lnTo>
                  <a:lnTo>
                    <a:pt x="5" y="23"/>
                  </a:lnTo>
                  <a:lnTo>
                    <a:pt x="0" y="23"/>
                  </a:lnTo>
                  <a:lnTo>
                    <a:pt x="32"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04" name="Freeform 96"/>
            <p:cNvSpPr>
              <a:spLocks/>
            </p:cNvSpPr>
            <p:nvPr>
              <p:custDataLst>
                <p:tags r:id="rId203"/>
              </p:custDataLst>
            </p:nvPr>
          </p:nvSpPr>
          <p:spPr bwMode="gray">
            <a:xfrm>
              <a:off x="3720" y="2221"/>
              <a:ext cx="623" cy="63"/>
            </a:xfrm>
            <a:custGeom>
              <a:avLst/>
              <a:gdLst>
                <a:gd name="T0" fmla="*/ 13 w 608"/>
                <a:gd name="T1" fmla="*/ 5 h 69"/>
                <a:gd name="T2" fmla="*/ 73 w 608"/>
                <a:gd name="T3" fmla="*/ 5 h 69"/>
                <a:gd name="T4" fmla="*/ 129 w 608"/>
                <a:gd name="T5" fmla="*/ 5 h 69"/>
                <a:gd name="T6" fmla="*/ 189 w 608"/>
                <a:gd name="T7" fmla="*/ 5 h 69"/>
                <a:gd name="T8" fmla="*/ 241 w 608"/>
                <a:gd name="T9" fmla="*/ 5 h 69"/>
                <a:gd name="T10" fmla="*/ 293 w 608"/>
                <a:gd name="T11" fmla="*/ 5 h 69"/>
                <a:gd name="T12" fmla="*/ 342 w 608"/>
                <a:gd name="T13" fmla="*/ 5 h 69"/>
                <a:gd name="T14" fmla="*/ 394 w 608"/>
                <a:gd name="T15" fmla="*/ 5 h 69"/>
                <a:gd name="T16" fmla="*/ 445 w 608"/>
                <a:gd name="T17" fmla="*/ 5 h 69"/>
                <a:gd name="T18" fmla="*/ 489 w 608"/>
                <a:gd name="T19" fmla="*/ 5 h 69"/>
                <a:gd name="T20" fmla="*/ 550 w 608"/>
                <a:gd name="T21" fmla="*/ 5 h 69"/>
                <a:gd name="T22" fmla="*/ 593 w 608"/>
                <a:gd name="T23" fmla="*/ 5 h 69"/>
                <a:gd name="T24" fmla="*/ 637 w 608"/>
                <a:gd name="T25" fmla="*/ 5 h 69"/>
                <a:gd name="T26" fmla="*/ 681 w 608"/>
                <a:gd name="T27" fmla="*/ 5 h 69"/>
                <a:gd name="T28" fmla="*/ 733 w 608"/>
                <a:gd name="T29" fmla="*/ 5 h 69"/>
                <a:gd name="T30" fmla="*/ 775 w 608"/>
                <a:gd name="T31" fmla="*/ 5 h 69"/>
                <a:gd name="T32" fmla="*/ 835 w 608"/>
                <a:gd name="T33" fmla="*/ 5 h 69"/>
                <a:gd name="T34" fmla="*/ 903 w 608"/>
                <a:gd name="T35" fmla="*/ 5 h 69"/>
                <a:gd name="T36" fmla="*/ 971 w 608"/>
                <a:gd name="T37" fmla="*/ 5 h 69"/>
                <a:gd name="T38" fmla="*/ 1024 w 608"/>
                <a:gd name="T39" fmla="*/ 5 h 69"/>
                <a:gd name="T40" fmla="*/ 1067 w 608"/>
                <a:gd name="T41" fmla="*/ 3 h 69"/>
                <a:gd name="T42" fmla="*/ 1102 w 608"/>
                <a:gd name="T43" fmla="*/ 0 h 69"/>
                <a:gd name="T44" fmla="*/ 1136 w 608"/>
                <a:gd name="T45" fmla="*/ 0 h 69"/>
                <a:gd name="T46" fmla="*/ 1147 w 608"/>
                <a:gd name="T47" fmla="*/ 5 h 69"/>
                <a:gd name="T48" fmla="*/ 1125 w 608"/>
                <a:gd name="T49" fmla="*/ 5 h 69"/>
                <a:gd name="T50" fmla="*/ 1093 w 608"/>
                <a:gd name="T51" fmla="*/ 5 h 69"/>
                <a:gd name="T52" fmla="*/ 1062 w 608"/>
                <a:gd name="T53" fmla="*/ 5 h 69"/>
                <a:gd name="T54" fmla="*/ 1006 w 608"/>
                <a:gd name="T55" fmla="*/ 5 h 69"/>
                <a:gd name="T56" fmla="*/ 967 w 608"/>
                <a:gd name="T57" fmla="*/ 5 h 69"/>
                <a:gd name="T58" fmla="*/ 903 w 608"/>
                <a:gd name="T59" fmla="*/ 5 h 69"/>
                <a:gd name="T60" fmla="*/ 843 w 608"/>
                <a:gd name="T61" fmla="*/ 5 h 69"/>
                <a:gd name="T62" fmla="*/ 784 w 608"/>
                <a:gd name="T63" fmla="*/ 5 h 69"/>
                <a:gd name="T64" fmla="*/ 722 w 608"/>
                <a:gd name="T65" fmla="*/ 5 h 69"/>
                <a:gd name="T66" fmla="*/ 665 w 608"/>
                <a:gd name="T67" fmla="*/ 5 h 69"/>
                <a:gd name="T68" fmla="*/ 603 w 608"/>
                <a:gd name="T69" fmla="*/ 5 h 69"/>
                <a:gd name="T70" fmla="*/ 550 w 608"/>
                <a:gd name="T71" fmla="*/ 5 h 69"/>
                <a:gd name="T72" fmla="*/ 489 w 608"/>
                <a:gd name="T73" fmla="*/ 5 h 69"/>
                <a:gd name="T74" fmla="*/ 455 w 608"/>
                <a:gd name="T75" fmla="*/ 5 h 69"/>
                <a:gd name="T76" fmla="*/ 423 w 608"/>
                <a:gd name="T77" fmla="*/ 5 h 69"/>
                <a:gd name="T78" fmla="*/ 352 w 608"/>
                <a:gd name="T79" fmla="*/ 5 h 69"/>
                <a:gd name="T80" fmla="*/ 275 w 608"/>
                <a:gd name="T81" fmla="*/ 5 h 69"/>
                <a:gd name="T82" fmla="*/ 206 w 608"/>
                <a:gd name="T83" fmla="*/ 5 h 69"/>
                <a:gd name="T84" fmla="*/ 142 w 608"/>
                <a:gd name="T85" fmla="*/ 6 h 69"/>
                <a:gd name="T86" fmla="*/ 81 w 608"/>
                <a:gd name="T87" fmla="*/ 6 h 69"/>
                <a:gd name="T88" fmla="*/ 49 w 608"/>
                <a:gd name="T89" fmla="*/ 6 h 69"/>
                <a:gd name="T90" fmla="*/ 0 w 608"/>
                <a:gd name="T91" fmla="*/ 6 h 69"/>
                <a:gd name="T92" fmla="*/ 0 w 608"/>
                <a:gd name="T93" fmla="*/ 5 h 6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08"/>
                <a:gd name="T142" fmla="*/ 0 h 69"/>
                <a:gd name="T143" fmla="*/ 608 w 608"/>
                <a:gd name="T144" fmla="*/ 69 h 6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08" h="69">
                  <a:moveTo>
                    <a:pt x="0" y="40"/>
                  </a:moveTo>
                  <a:lnTo>
                    <a:pt x="13" y="37"/>
                  </a:lnTo>
                  <a:lnTo>
                    <a:pt x="27" y="37"/>
                  </a:lnTo>
                  <a:lnTo>
                    <a:pt x="41" y="37"/>
                  </a:lnTo>
                  <a:lnTo>
                    <a:pt x="59" y="37"/>
                  </a:lnTo>
                  <a:lnTo>
                    <a:pt x="68" y="37"/>
                  </a:lnTo>
                  <a:lnTo>
                    <a:pt x="87" y="37"/>
                  </a:lnTo>
                  <a:lnTo>
                    <a:pt x="100" y="37"/>
                  </a:lnTo>
                  <a:lnTo>
                    <a:pt x="119" y="37"/>
                  </a:lnTo>
                  <a:lnTo>
                    <a:pt x="128" y="35"/>
                  </a:lnTo>
                  <a:lnTo>
                    <a:pt x="141" y="35"/>
                  </a:lnTo>
                  <a:lnTo>
                    <a:pt x="155" y="35"/>
                  </a:lnTo>
                  <a:lnTo>
                    <a:pt x="169" y="35"/>
                  </a:lnTo>
                  <a:lnTo>
                    <a:pt x="182" y="35"/>
                  </a:lnTo>
                  <a:lnTo>
                    <a:pt x="201" y="35"/>
                  </a:lnTo>
                  <a:lnTo>
                    <a:pt x="210" y="35"/>
                  </a:lnTo>
                  <a:lnTo>
                    <a:pt x="224" y="35"/>
                  </a:lnTo>
                  <a:lnTo>
                    <a:pt x="237" y="32"/>
                  </a:lnTo>
                  <a:lnTo>
                    <a:pt x="251" y="32"/>
                  </a:lnTo>
                  <a:lnTo>
                    <a:pt x="260" y="29"/>
                  </a:lnTo>
                  <a:lnTo>
                    <a:pt x="278" y="29"/>
                  </a:lnTo>
                  <a:lnTo>
                    <a:pt x="292" y="29"/>
                  </a:lnTo>
                  <a:lnTo>
                    <a:pt x="301" y="26"/>
                  </a:lnTo>
                  <a:lnTo>
                    <a:pt x="315" y="26"/>
                  </a:lnTo>
                  <a:lnTo>
                    <a:pt x="329" y="26"/>
                  </a:lnTo>
                  <a:lnTo>
                    <a:pt x="338" y="26"/>
                  </a:lnTo>
                  <a:lnTo>
                    <a:pt x="352" y="23"/>
                  </a:lnTo>
                  <a:lnTo>
                    <a:pt x="361" y="23"/>
                  </a:lnTo>
                  <a:lnTo>
                    <a:pt x="374" y="23"/>
                  </a:lnTo>
                  <a:lnTo>
                    <a:pt x="388" y="20"/>
                  </a:lnTo>
                  <a:lnTo>
                    <a:pt x="397" y="20"/>
                  </a:lnTo>
                  <a:lnTo>
                    <a:pt x="411" y="20"/>
                  </a:lnTo>
                  <a:lnTo>
                    <a:pt x="425" y="20"/>
                  </a:lnTo>
                  <a:lnTo>
                    <a:pt x="443" y="17"/>
                  </a:lnTo>
                  <a:lnTo>
                    <a:pt x="461" y="17"/>
                  </a:lnTo>
                  <a:lnTo>
                    <a:pt x="480" y="12"/>
                  </a:lnTo>
                  <a:lnTo>
                    <a:pt x="498" y="12"/>
                  </a:lnTo>
                  <a:lnTo>
                    <a:pt x="516" y="12"/>
                  </a:lnTo>
                  <a:lnTo>
                    <a:pt x="530" y="9"/>
                  </a:lnTo>
                  <a:lnTo>
                    <a:pt x="544" y="6"/>
                  </a:lnTo>
                  <a:lnTo>
                    <a:pt x="557" y="6"/>
                  </a:lnTo>
                  <a:lnTo>
                    <a:pt x="566" y="3"/>
                  </a:lnTo>
                  <a:lnTo>
                    <a:pt x="580" y="0"/>
                  </a:lnTo>
                  <a:lnTo>
                    <a:pt x="585" y="0"/>
                  </a:lnTo>
                  <a:lnTo>
                    <a:pt x="594" y="0"/>
                  </a:lnTo>
                  <a:lnTo>
                    <a:pt x="603" y="0"/>
                  </a:lnTo>
                  <a:lnTo>
                    <a:pt x="608" y="0"/>
                  </a:lnTo>
                  <a:lnTo>
                    <a:pt x="608" y="29"/>
                  </a:lnTo>
                  <a:lnTo>
                    <a:pt x="603" y="29"/>
                  </a:lnTo>
                  <a:lnTo>
                    <a:pt x="598" y="29"/>
                  </a:lnTo>
                  <a:lnTo>
                    <a:pt x="585" y="29"/>
                  </a:lnTo>
                  <a:lnTo>
                    <a:pt x="580" y="32"/>
                  </a:lnTo>
                  <a:lnTo>
                    <a:pt x="571" y="32"/>
                  </a:lnTo>
                  <a:lnTo>
                    <a:pt x="562" y="35"/>
                  </a:lnTo>
                  <a:lnTo>
                    <a:pt x="548" y="35"/>
                  </a:lnTo>
                  <a:lnTo>
                    <a:pt x="534" y="35"/>
                  </a:lnTo>
                  <a:lnTo>
                    <a:pt x="525" y="35"/>
                  </a:lnTo>
                  <a:lnTo>
                    <a:pt x="512" y="37"/>
                  </a:lnTo>
                  <a:lnTo>
                    <a:pt x="498" y="37"/>
                  </a:lnTo>
                  <a:lnTo>
                    <a:pt x="480" y="37"/>
                  </a:lnTo>
                  <a:lnTo>
                    <a:pt x="466" y="40"/>
                  </a:lnTo>
                  <a:lnTo>
                    <a:pt x="448" y="40"/>
                  </a:lnTo>
                  <a:lnTo>
                    <a:pt x="434" y="40"/>
                  </a:lnTo>
                  <a:lnTo>
                    <a:pt x="416" y="43"/>
                  </a:lnTo>
                  <a:lnTo>
                    <a:pt x="402" y="43"/>
                  </a:lnTo>
                  <a:lnTo>
                    <a:pt x="384" y="46"/>
                  </a:lnTo>
                  <a:lnTo>
                    <a:pt x="370" y="49"/>
                  </a:lnTo>
                  <a:lnTo>
                    <a:pt x="352" y="49"/>
                  </a:lnTo>
                  <a:lnTo>
                    <a:pt x="333" y="49"/>
                  </a:lnTo>
                  <a:lnTo>
                    <a:pt x="320" y="54"/>
                  </a:lnTo>
                  <a:lnTo>
                    <a:pt x="301" y="54"/>
                  </a:lnTo>
                  <a:lnTo>
                    <a:pt x="292" y="54"/>
                  </a:lnTo>
                  <a:lnTo>
                    <a:pt x="278" y="54"/>
                  </a:lnTo>
                  <a:lnTo>
                    <a:pt x="260" y="54"/>
                  </a:lnTo>
                  <a:lnTo>
                    <a:pt x="251" y="57"/>
                  </a:lnTo>
                  <a:lnTo>
                    <a:pt x="242" y="57"/>
                  </a:lnTo>
                  <a:lnTo>
                    <a:pt x="228" y="60"/>
                  </a:lnTo>
                  <a:lnTo>
                    <a:pt x="224" y="60"/>
                  </a:lnTo>
                  <a:lnTo>
                    <a:pt x="201" y="60"/>
                  </a:lnTo>
                  <a:lnTo>
                    <a:pt x="187" y="63"/>
                  </a:lnTo>
                  <a:lnTo>
                    <a:pt x="164" y="63"/>
                  </a:lnTo>
                  <a:lnTo>
                    <a:pt x="146" y="63"/>
                  </a:lnTo>
                  <a:lnTo>
                    <a:pt x="128" y="63"/>
                  </a:lnTo>
                  <a:lnTo>
                    <a:pt x="109" y="63"/>
                  </a:lnTo>
                  <a:lnTo>
                    <a:pt x="91" y="66"/>
                  </a:lnTo>
                  <a:lnTo>
                    <a:pt x="77" y="69"/>
                  </a:lnTo>
                  <a:lnTo>
                    <a:pt x="59" y="69"/>
                  </a:lnTo>
                  <a:lnTo>
                    <a:pt x="45" y="69"/>
                  </a:lnTo>
                  <a:lnTo>
                    <a:pt x="32" y="69"/>
                  </a:lnTo>
                  <a:lnTo>
                    <a:pt x="23" y="69"/>
                  </a:lnTo>
                  <a:lnTo>
                    <a:pt x="0" y="69"/>
                  </a:lnTo>
                  <a:lnTo>
                    <a:pt x="0" y="4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05" name="Freeform 97"/>
            <p:cNvSpPr>
              <a:spLocks/>
            </p:cNvSpPr>
            <p:nvPr>
              <p:custDataLst>
                <p:tags r:id="rId204"/>
              </p:custDataLst>
            </p:nvPr>
          </p:nvSpPr>
          <p:spPr bwMode="gray">
            <a:xfrm>
              <a:off x="2328" y="1914"/>
              <a:ext cx="193" cy="794"/>
            </a:xfrm>
            <a:custGeom>
              <a:avLst/>
              <a:gdLst>
                <a:gd name="T0" fmla="*/ 0 w 188"/>
                <a:gd name="T1" fmla="*/ 82 h 869"/>
                <a:gd name="T2" fmla="*/ 45 w 188"/>
                <a:gd name="T3" fmla="*/ 84 h 869"/>
                <a:gd name="T4" fmla="*/ 69 w 188"/>
                <a:gd name="T5" fmla="*/ 84 h 869"/>
                <a:gd name="T6" fmla="*/ 127 w 188"/>
                <a:gd name="T7" fmla="*/ 84 h 869"/>
                <a:gd name="T8" fmla="*/ 162 w 188"/>
                <a:gd name="T9" fmla="*/ 84 h 869"/>
                <a:gd name="T10" fmla="*/ 207 w 188"/>
                <a:gd name="T11" fmla="*/ 84 h 869"/>
                <a:gd name="T12" fmla="*/ 253 w 188"/>
                <a:gd name="T13" fmla="*/ 82 h 869"/>
                <a:gd name="T14" fmla="*/ 253 w 188"/>
                <a:gd name="T15" fmla="*/ 81 h 869"/>
                <a:gd name="T16" fmla="*/ 253 w 188"/>
                <a:gd name="T17" fmla="*/ 80 h 869"/>
                <a:gd name="T18" fmla="*/ 264 w 188"/>
                <a:gd name="T19" fmla="*/ 78 h 869"/>
                <a:gd name="T20" fmla="*/ 264 w 188"/>
                <a:gd name="T21" fmla="*/ 77 h 869"/>
                <a:gd name="T22" fmla="*/ 264 w 188"/>
                <a:gd name="T23" fmla="*/ 75 h 869"/>
                <a:gd name="T24" fmla="*/ 271 w 188"/>
                <a:gd name="T25" fmla="*/ 72 h 869"/>
                <a:gd name="T26" fmla="*/ 271 w 188"/>
                <a:gd name="T27" fmla="*/ 70 h 869"/>
                <a:gd name="T28" fmla="*/ 271 w 188"/>
                <a:gd name="T29" fmla="*/ 68 h 869"/>
                <a:gd name="T30" fmla="*/ 281 w 188"/>
                <a:gd name="T31" fmla="*/ 64 h 869"/>
                <a:gd name="T32" fmla="*/ 281 w 188"/>
                <a:gd name="T33" fmla="*/ 63 h 869"/>
                <a:gd name="T34" fmla="*/ 290 w 188"/>
                <a:gd name="T35" fmla="*/ 58 h 869"/>
                <a:gd name="T36" fmla="*/ 290 w 188"/>
                <a:gd name="T37" fmla="*/ 56 h 869"/>
                <a:gd name="T38" fmla="*/ 290 w 188"/>
                <a:gd name="T39" fmla="*/ 53 h 869"/>
                <a:gd name="T40" fmla="*/ 290 w 188"/>
                <a:gd name="T41" fmla="*/ 48 h 869"/>
                <a:gd name="T42" fmla="*/ 308 w 188"/>
                <a:gd name="T43" fmla="*/ 46 h 869"/>
                <a:gd name="T44" fmla="*/ 308 w 188"/>
                <a:gd name="T45" fmla="*/ 43 h 869"/>
                <a:gd name="T46" fmla="*/ 316 w 188"/>
                <a:gd name="T47" fmla="*/ 39 h 869"/>
                <a:gd name="T48" fmla="*/ 316 w 188"/>
                <a:gd name="T49" fmla="*/ 37 h 869"/>
                <a:gd name="T50" fmla="*/ 316 w 188"/>
                <a:gd name="T51" fmla="*/ 34 h 869"/>
                <a:gd name="T52" fmla="*/ 325 w 188"/>
                <a:gd name="T53" fmla="*/ 30 h 869"/>
                <a:gd name="T54" fmla="*/ 325 w 188"/>
                <a:gd name="T55" fmla="*/ 26 h 869"/>
                <a:gd name="T56" fmla="*/ 334 w 188"/>
                <a:gd name="T57" fmla="*/ 24 h 869"/>
                <a:gd name="T58" fmla="*/ 334 w 188"/>
                <a:gd name="T59" fmla="*/ 22 h 869"/>
                <a:gd name="T60" fmla="*/ 334 w 188"/>
                <a:gd name="T61" fmla="*/ 18 h 869"/>
                <a:gd name="T62" fmla="*/ 345 w 188"/>
                <a:gd name="T63" fmla="*/ 16 h 869"/>
                <a:gd name="T64" fmla="*/ 345 w 188"/>
                <a:gd name="T65" fmla="*/ 14 h 869"/>
                <a:gd name="T66" fmla="*/ 354 w 188"/>
                <a:gd name="T67" fmla="*/ 13 h 869"/>
                <a:gd name="T68" fmla="*/ 361 w 188"/>
                <a:gd name="T69" fmla="*/ 11 h 869"/>
                <a:gd name="T70" fmla="*/ 361 w 188"/>
                <a:gd name="T71" fmla="*/ 10 h 869"/>
                <a:gd name="T72" fmla="*/ 371 w 188"/>
                <a:gd name="T73" fmla="*/ 9 h 869"/>
                <a:gd name="T74" fmla="*/ 371 w 188"/>
                <a:gd name="T75" fmla="*/ 6 h 869"/>
                <a:gd name="T76" fmla="*/ 345 w 188"/>
                <a:gd name="T77" fmla="*/ 5 h 869"/>
                <a:gd name="T78" fmla="*/ 298 w 188"/>
                <a:gd name="T79" fmla="*/ 5 h 869"/>
                <a:gd name="T80" fmla="*/ 253 w 188"/>
                <a:gd name="T81" fmla="*/ 5 h 869"/>
                <a:gd name="T82" fmla="*/ 200 w 188"/>
                <a:gd name="T83" fmla="*/ 5 h 869"/>
                <a:gd name="T84" fmla="*/ 153 w 188"/>
                <a:gd name="T85" fmla="*/ 5 h 869"/>
                <a:gd name="T86" fmla="*/ 110 w 188"/>
                <a:gd name="T87" fmla="*/ 0 h 86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8"/>
                <a:gd name="T133" fmla="*/ 0 h 869"/>
                <a:gd name="T134" fmla="*/ 188 w 188"/>
                <a:gd name="T135" fmla="*/ 869 h 86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8" h="869">
                  <a:moveTo>
                    <a:pt x="55" y="0"/>
                  </a:moveTo>
                  <a:lnTo>
                    <a:pt x="0" y="860"/>
                  </a:lnTo>
                  <a:lnTo>
                    <a:pt x="9" y="860"/>
                  </a:lnTo>
                  <a:lnTo>
                    <a:pt x="19" y="863"/>
                  </a:lnTo>
                  <a:lnTo>
                    <a:pt x="28" y="863"/>
                  </a:lnTo>
                  <a:lnTo>
                    <a:pt x="37" y="866"/>
                  </a:lnTo>
                  <a:lnTo>
                    <a:pt x="51" y="866"/>
                  </a:lnTo>
                  <a:lnTo>
                    <a:pt x="64" y="869"/>
                  </a:lnTo>
                  <a:lnTo>
                    <a:pt x="69" y="869"/>
                  </a:lnTo>
                  <a:lnTo>
                    <a:pt x="83" y="869"/>
                  </a:lnTo>
                  <a:lnTo>
                    <a:pt x="92" y="869"/>
                  </a:lnTo>
                  <a:lnTo>
                    <a:pt x="105" y="869"/>
                  </a:lnTo>
                  <a:lnTo>
                    <a:pt x="119" y="866"/>
                  </a:lnTo>
                  <a:lnTo>
                    <a:pt x="128" y="860"/>
                  </a:lnTo>
                  <a:lnTo>
                    <a:pt x="128" y="857"/>
                  </a:lnTo>
                  <a:lnTo>
                    <a:pt x="128" y="849"/>
                  </a:lnTo>
                  <a:lnTo>
                    <a:pt x="128" y="843"/>
                  </a:lnTo>
                  <a:lnTo>
                    <a:pt x="128" y="838"/>
                  </a:lnTo>
                  <a:lnTo>
                    <a:pt x="128" y="829"/>
                  </a:lnTo>
                  <a:lnTo>
                    <a:pt x="133" y="823"/>
                  </a:lnTo>
                  <a:lnTo>
                    <a:pt x="133" y="812"/>
                  </a:lnTo>
                  <a:lnTo>
                    <a:pt x="133" y="803"/>
                  </a:lnTo>
                  <a:lnTo>
                    <a:pt x="133" y="795"/>
                  </a:lnTo>
                  <a:lnTo>
                    <a:pt x="133" y="786"/>
                  </a:lnTo>
                  <a:lnTo>
                    <a:pt x="133" y="775"/>
                  </a:lnTo>
                  <a:lnTo>
                    <a:pt x="137" y="761"/>
                  </a:lnTo>
                  <a:lnTo>
                    <a:pt x="137" y="749"/>
                  </a:lnTo>
                  <a:lnTo>
                    <a:pt x="137" y="738"/>
                  </a:lnTo>
                  <a:lnTo>
                    <a:pt x="137" y="724"/>
                  </a:lnTo>
                  <a:lnTo>
                    <a:pt x="137" y="709"/>
                  </a:lnTo>
                  <a:lnTo>
                    <a:pt x="137" y="695"/>
                  </a:lnTo>
                  <a:lnTo>
                    <a:pt x="142" y="678"/>
                  </a:lnTo>
                  <a:lnTo>
                    <a:pt x="142" y="664"/>
                  </a:lnTo>
                  <a:lnTo>
                    <a:pt x="142" y="650"/>
                  </a:lnTo>
                  <a:lnTo>
                    <a:pt x="142" y="635"/>
                  </a:lnTo>
                  <a:lnTo>
                    <a:pt x="147" y="618"/>
                  </a:lnTo>
                  <a:lnTo>
                    <a:pt x="147" y="601"/>
                  </a:lnTo>
                  <a:lnTo>
                    <a:pt x="147" y="584"/>
                  </a:lnTo>
                  <a:lnTo>
                    <a:pt x="147" y="567"/>
                  </a:lnTo>
                  <a:lnTo>
                    <a:pt x="147" y="550"/>
                  </a:lnTo>
                  <a:lnTo>
                    <a:pt x="147" y="533"/>
                  </a:lnTo>
                  <a:lnTo>
                    <a:pt x="147" y="519"/>
                  </a:lnTo>
                  <a:lnTo>
                    <a:pt x="151" y="499"/>
                  </a:lnTo>
                  <a:lnTo>
                    <a:pt x="156" y="482"/>
                  </a:lnTo>
                  <a:lnTo>
                    <a:pt x="156" y="464"/>
                  </a:lnTo>
                  <a:lnTo>
                    <a:pt x="156" y="447"/>
                  </a:lnTo>
                  <a:lnTo>
                    <a:pt x="156" y="430"/>
                  </a:lnTo>
                  <a:lnTo>
                    <a:pt x="160" y="410"/>
                  </a:lnTo>
                  <a:lnTo>
                    <a:pt x="160" y="396"/>
                  </a:lnTo>
                  <a:lnTo>
                    <a:pt x="160" y="376"/>
                  </a:lnTo>
                  <a:lnTo>
                    <a:pt x="160" y="362"/>
                  </a:lnTo>
                  <a:lnTo>
                    <a:pt x="160" y="345"/>
                  </a:lnTo>
                  <a:lnTo>
                    <a:pt x="160" y="328"/>
                  </a:lnTo>
                  <a:lnTo>
                    <a:pt x="165" y="311"/>
                  </a:lnTo>
                  <a:lnTo>
                    <a:pt x="165" y="294"/>
                  </a:lnTo>
                  <a:lnTo>
                    <a:pt x="165" y="282"/>
                  </a:lnTo>
                  <a:lnTo>
                    <a:pt x="165" y="265"/>
                  </a:lnTo>
                  <a:lnTo>
                    <a:pt x="169" y="251"/>
                  </a:lnTo>
                  <a:lnTo>
                    <a:pt x="169" y="237"/>
                  </a:lnTo>
                  <a:lnTo>
                    <a:pt x="169" y="222"/>
                  </a:lnTo>
                  <a:lnTo>
                    <a:pt x="169" y="208"/>
                  </a:lnTo>
                  <a:lnTo>
                    <a:pt x="169" y="194"/>
                  </a:lnTo>
                  <a:lnTo>
                    <a:pt x="174" y="183"/>
                  </a:lnTo>
                  <a:lnTo>
                    <a:pt x="174" y="171"/>
                  </a:lnTo>
                  <a:lnTo>
                    <a:pt x="174" y="160"/>
                  </a:lnTo>
                  <a:lnTo>
                    <a:pt x="174" y="148"/>
                  </a:lnTo>
                  <a:lnTo>
                    <a:pt x="179" y="140"/>
                  </a:lnTo>
                  <a:lnTo>
                    <a:pt x="179" y="131"/>
                  </a:lnTo>
                  <a:lnTo>
                    <a:pt x="179" y="123"/>
                  </a:lnTo>
                  <a:lnTo>
                    <a:pt x="183" y="114"/>
                  </a:lnTo>
                  <a:lnTo>
                    <a:pt x="183" y="106"/>
                  </a:lnTo>
                  <a:lnTo>
                    <a:pt x="183" y="103"/>
                  </a:lnTo>
                  <a:lnTo>
                    <a:pt x="183" y="91"/>
                  </a:lnTo>
                  <a:lnTo>
                    <a:pt x="188" y="89"/>
                  </a:lnTo>
                  <a:lnTo>
                    <a:pt x="188" y="77"/>
                  </a:lnTo>
                  <a:lnTo>
                    <a:pt x="188" y="69"/>
                  </a:lnTo>
                  <a:lnTo>
                    <a:pt x="179" y="60"/>
                  </a:lnTo>
                  <a:lnTo>
                    <a:pt x="174" y="54"/>
                  </a:lnTo>
                  <a:lnTo>
                    <a:pt x="160" y="46"/>
                  </a:lnTo>
                  <a:lnTo>
                    <a:pt x="151" y="40"/>
                  </a:lnTo>
                  <a:lnTo>
                    <a:pt x="137" y="35"/>
                  </a:lnTo>
                  <a:lnTo>
                    <a:pt x="128" y="29"/>
                  </a:lnTo>
                  <a:lnTo>
                    <a:pt x="115" y="20"/>
                  </a:lnTo>
                  <a:lnTo>
                    <a:pt x="101" y="15"/>
                  </a:lnTo>
                  <a:lnTo>
                    <a:pt x="87" y="12"/>
                  </a:lnTo>
                  <a:lnTo>
                    <a:pt x="78" y="9"/>
                  </a:lnTo>
                  <a:lnTo>
                    <a:pt x="60" y="3"/>
                  </a:lnTo>
                  <a:lnTo>
                    <a:pt x="55"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06" name="Freeform 98"/>
            <p:cNvSpPr>
              <a:spLocks/>
            </p:cNvSpPr>
            <p:nvPr>
              <p:custDataLst>
                <p:tags r:id="rId205"/>
              </p:custDataLst>
            </p:nvPr>
          </p:nvSpPr>
          <p:spPr bwMode="gray">
            <a:xfrm>
              <a:off x="3443" y="1961"/>
              <a:ext cx="188" cy="716"/>
            </a:xfrm>
            <a:custGeom>
              <a:avLst/>
              <a:gdLst>
                <a:gd name="T0" fmla="*/ 276 w 183"/>
                <a:gd name="T1" fmla="*/ 5 h 783"/>
                <a:gd name="T2" fmla="*/ 285 w 183"/>
                <a:gd name="T3" fmla="*/ 5 h 783"/>
                <a:gd name="T4" fmla="*/ 304 w 183"/>
                <a:gd name="T5" fmla="*/ 6 h 783"/>
                <a:gd name="T6" fmla="*/ 304 w 183"/>
                <a:gd name="T7" fmla="*/ 11 h 783"/>
                <a:gd name="T8" fmla="*/ 322 w 183"/>
                <a:gd name="T9" fmla="*/ 15 h 783"/>
                <a:gd name="T10" fmla="*/ 334 w 183"/>
                <a:gd name="T11" fmla="*/ 18 h 783"/>
                <a:gd name="T12" fmla="*/ 342 w 183"/>
                <a:gd name="T13" fmla="*/ 24 h 783"/>
                <a:gd name="T14" fmla="*/ 342 w 183"/>
                <a:gd name="T15" fmla="*/ 28 h 783"/>
                <a:gd name="T16" fmla="*/ 351 w 183"/>
                <a:gd name="T17" fmla="*/ 34 h 783"/>
                <a:gd name="T18" fmla="*/ 359 w 183"/>
                <a:gd name="T19" fmla="*/ 37 h 783"/>
                <a:gd name="T20" fmla="*/ 369 w 183"/>
                <a:gd name="T21" fmla="*/ 44 h 783"/>
                <a:gd name="T22" fmla="*/ 369 w 183"/>
                <a:gd name="T23" fmla="*/ 48 h 783"/>
                <a:gd name="T24" fmla="*/ 369 w 183"/>
                <a:gd name="T25" fmla="*/ 53 h 783"/>
                <a:gd name="T26" fmla="*/ 369 w 183"/>
                <a:gd name="T27" fmla="*/ 57 h 783"/>
                <a:gd name="T28" fmla="*/ 369 w 183"/>
                <a:gd name="T29" fmla="*/ 61 h 783"/>
                <a:gd name="T30" fmla="*/ 369 w 183"/>
                <a:gd name="T31" fmla="*/ 65 h 783"/>
                <a:gd name="T32" fmla="*/ 369 w 183"/>
                <a:gd name="T33" fmla="*/ 69 h 783"/>
                <a:gd name="T34" fmla="*/ 369 w 183"/>
                <a:gd name="T35" fmla="*/ 71 h 783"/>
                <a:gd name="T36" fmla="*/ 369 w 183"/>
                <a:gd name="T37" fmla="*/ 73 h 783"/>
                <a:gd name="T38" fmla="*/ 359 w 183"/>
                <a:gd name="T39" fmla="*/ 76 h 783"/>
                <a:gd name="T40" fmla="*/ 351 w 183"/>
                <a:gd name="T41" fmla="*/ 77 h 783"/>
                <a:gd name="T42" fmla="*/ 259 w 183"/>
                <a:gd name="T43" fmla="*/ 76 h 783"/>
                <a:gd name="T44" fmla="*/ 155 w 183"/>
                <a:gd name="T45" fmla="*/ 76 h 783"/>
                <a:gd name="T46" fmla="*/ 128 w 183"/>
                <a:gd name="T47" fmla="*/ 76 h 783"/>
                <a:gd name="T48" fmla="*/ 128 w 183"/>
                <a:gd name="T49" fmla="*/ 74 h 783"/>
                <a:gd name="T50" fmla="*/ 128 w 183"/>
                <a:gd name="T51" fmla="*/ 71 h 783"/>
                <a:gd name="T52" fmla="*/ 128 w 183"/>
                <a:gd name="T53" fmla="*/ 69 h 783"/>
                <a:gd name="T54" fmla="*/ 120 w 183"/>
                <a:gd name="T55" fmla="*/ 66 h 783"/>
                <a:gd name="T56" fmla="*/ 120 w 183"/>
                <a:gd name="T57" fmla="*/ 63 h 783"/>
                <a:gd name="T58" fmla="*/ 120 w 183"/>
                <a:gd name="T59" fmla="*/ 59 h 783"/>
                <a:gd name="T60" fmla="*/ 114 w 183"/>
                <a:gd name="T61" fmla="*/ 56 h 783"/>
                <a:gd name="T62" fmla="*/ 99 w 183"/>
                <a:gd name="T63" fmla="*/ 52 h 783"/>
                <a:gd name="T64" fmla="*/ 99 w 183"/>
                <a:gd name="T65" fmla="*/ 48 h 783"/>
                <a:gd name="T66" fmla="*/ 99 w 183"/>
                <a:gd name="T67" fmla="*/ 44 h 783"/>
                <a:gd name="T68" fmla="*/ 89 w 183"/>
                <a:gd name="T69" fmla="*/ 40 h 783"/>
                <a:gd name="T70" fmla="*/ 89 w 183"/>
                <a:gd name="T71" fmla="*/ 36 h 783"/>
                <a:gd name="T72" fmla="*/ 89 w 183"/>
                <a:gd name="T73" fmla="*/ 31 h 783"/>
                <a:gd name="T74" fmla="*/ 89 w 183"/>
                <a:gd name="T75" fmla="*/ 28 h 783"/>
                <a:gd name="T76" fmla="*/ 89 w 183"/>
                <a:gd name="T77" fmla="*/ 25 h 783"/>
                <a:gd name="T78" fmla="*/ 89 w 183"/>
                <a:gd name="T79" fmla="*/ 22 h 783"/>
                <a:gd name="T80" fmla="*/ 89 w 183"/>
                <a:gd name="T81" fmla="*/ 20 h 783"/>
                <a:gd name="T82" fmla="*/ 89 w 183"/>
                <a:gd name="T83" fmla="*/ 16 h 783"/>
                <a:gd name="T84" fmla="*/ 89 w 183"/>
                <a:gd name="T85" fmla="*/ 15 h 783"/>
                <a:gd name="T86" fmla="*/ 79 w 183"/>
                <a:gd name="T87" fmla="*/ 13 h 783"/>
                <a:gd name="T88" fmla="*/ 71 w 183"/>
                <a:gd name="T89" fmla="*/ 10 h 783"/>
                <a:gd name="T90" fmla="*/ 53 w 183"/>
                <a:gd name="T91" fmla="*/ 6 h 783"/>
                <a:gd name="T92" fmla="*/ 14 w 183"/>
                <a:gd name="T93" fmla="*/ 5 h 783"/>
                <a:gd name="T94" fmla="*/ 0 w 183"/>
                <a:gd name="T95" fmla="*/ 5 h 783"/>
                <a:gd name="T96" fmla="*/ 269 w 183"/>
                <a:gd name="T97" fmla="*/ 0 h 7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3"/>
                <a:gd name="T148" fmla="*/ 0 h 783"/>
                <a:gd name="T149" fmla="*/ 183 w 183"/>
                <a:gd name="T150" fmla="*/ 783 h 78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3" h="783">
                  <a:moveTo>
                    <a:pt x="133" y="0"/>
                  </a:moveTo>
                  <a:lnTo>
                    <a:pt x="133" y="5"/>
                  </a:lnTo>
                  <a:lnTo>
                    <a:pt x="137" y="11"/>
                  </a:lnTo>
                  <a:lnTo>
                    <a:pt x="137" y="20"/>
                  </a:lnTo>
                  <a:lnTo>
                    <a:pt x="142" y="28"/>
                  </a:lnTo>
                  <a:lnTo>
                    <a:pt x="142" y="39"/>
                  </a:lnTo>
                  <a:lnTo>
                    <a:pt x="146" y="48"/>
                  </a:lnTo>
                  <a:lnTo>
                    <a:pt x="146" y="59"/>
                  </a:lnTo>
                  <a:lnTo>
                    <a:pt x="151" y="71"/>
                  </a:lnTo>
                  <a:lnTo>
                    <a:pt x="151" y="82"/>
                  </a:lnTo>
                  <a:lnTo>
                    <a:pt x="151" y="94"/>
                  </a:lnTo>
                  <a:lnTo>
                    <a:pt x="151" y="108"/>
                  </a:lnTo>
                  <a:lnTo>
                    <a:pt x="155" y="122"/>
                  </a:lnTo>
                  <a:lnTo>
                    <a:pt x="155" y="136"/>
                  </a:lnTo>
                  <a:lnTo>
                    <a:pt x="160" y="151"/>
                  </a:lnTo>
                  <a:lnTo>
                    <a:pt x="160" y="165"/>
                  </a:lnTo>
                  <a:lnTo>
                    <a:pt x="165" y="179"/>
                  </a:lnTo>
                  <a:lnTo>
                    <a:pt x="165" y="193"/>
                  </a:lnTo>
                  <a:lnTo>
                    <a:pt x="165" y="207"/>
                  </a:lnTo>
                  <a:lnTo>
                    <a:pt x="169" y="225"/>
                  </a:lnTo>
                  <a:lnTo>
                    <a:pt x="169" y="242"/>
                  </a:lnTo>
                  <a:lnTo>
                    <a:pt x="169" y="256"/>
                  </a:lnTo>
                  <a:lnTo>
                    <a:pt x="169" y="273"/>
                  </a:lnTo>
                  <a:lnTo>
                    <a:pt x="169" y="290"/>
                  </a:lnTo>
                  <a:lnTo>
                    <a:pt x="174" y="307"/>
                  </a:lnTo>
                  <a:lnTo>
                    <a:pt x="174" y="324"/>
                  </a:lnTo>
                  <a:lnTo>
                    <a:pt x="174" y="338"/>
                  </a:lnTo>
                  <a:lnTo>
                    <a:pt x="174" y="356"/>
                  </a:lnTo>
                  <a:lnTo>
                    <a:pt x="178" y="373"/>
                  </a:lnTo>
                  <a:lnTo>
                    <a:pt x="178" y="390"/>
                  </a:lnTo>
                  <a:lnTo>
                    <a:pt x="178" y="407"/>
                  </a:lnTo>
                  <a:lnTo>
                    <a:pt x="183" y="424"/>
                  </a:lnTo>
                  <a:lnTo>
                    <a:pt x="183" y="444"/>
                  </a:lnTo>
                  <a:lnTo>
                    <a:pt x="183" y="458"/>
                  </a:lnTo>
                  <a:lnTo>
                    <a:pt x="183" y="475"/>
                  </a:lnTo>
                  <a:lnTo>
                    <a:pt x="183" y="489"/>
                  </a:lnTo>
                  <a:lnTo>
                    <a:pt x="183" y="509"/>
                  </a:lnTo>
                  <a:lnTo>
                    <a:pt x="183" y="521"/>
                  </a:lnTo>
                  <a:lnTo>
                    <a:pt x="183" y="538"/>
                  </a:lnTo>
                  <a:lnTo>
                    <a:pt x="183" y="555"/>
                  </a:lnTo>
                  <a:lnTo>
                    <a:pt x="183" y="569"/>
                  </a:lnTo>
                  <a:lnTo>
                    <a:pt x="183" y="583"/>
                  </a:lnTo>
                  <a:lnTo>
                    <a:pt x="183" y="598"/>
                  </a:lnTo>
                  <a:lnTo>
                    <a:pt x="183" y="612"/>
                  </a:lnTo>
                  <a:lnTo>
                    <a:pt x="183" y="626"/>
                  </a:lnTo>
                  <a:lnTo>
                    <a:pt x="183" y="637"/>
                  </a:lnTo>
                  <a:lnTo>
                    <a:pt x="183" y="655"/>
                  </a:lnTo>
                  <a:lnTo>
                    <a:pt x="183" y="666"/>
                  </a:lnTo>
                  <a:lnTo>
                    <a:pt x="183" y="680"/>
                  </a:lnTo>
                  <a:lnTo>
                    <a:pt x="183" y="689"/>
                  </a:lnTo>
                  <a:lnTo>
                    <a:pt x="183" y="700"/>
                  </a:lnTo>
                  <a:lnTo>
                    <a:pt x="183" y="709"/>
                  </a:lnTo>
                  <a:lnTo>
                    <a:pt x="183" y="720"/>
                  </a:lnTo>
                  <a:lnTo>
                    <a:pt x="183" y="729"/>
                  </a:lnTo>
                  <a:lnTo>
                    <a:pt x="183" y="737"/>
                  </a:lnTo>
                  <a:lnTo>
                    <a:pt x="183" y="746"/>
                  </a:lnTo>
                  <a:lnTo>
                    <a:pt x="183" y="751"/>
                  </a:lnTo>
                  <a:lnTo>
                    <a:pt x="178" y="760"/>
                  </a:lnTo>
                  <a:lnTo>
                    <a:pt x="178" y="766"/>
                  </a:lnTo>
                  <a:lnTo>
                    <a:pt x="178" y="771"/>
                  </a:lnTo>
                  <a:lnTo>
                    <a:pt x="178" y="774"/>
                  </a:lnTo>
                  <a:lnTo>
                    <a:pt x="174" y="780"/>
                  </a:lnTo>
                  <a:lnTo>
                    <a:pt x="174" y="783"/>
                  </a:lnTo>
                  <a:lnTo>
                    <a:pt x="165" y="780"/>
                  </a:lnTo>
                  <a:lnTo>
                    <a:pt x="151" y="780"/>
                  </a:lnTo>
                  <a:lnTo>
                    <a:pt x="128" y="780"/>
                  </a:lnTo>
                  <a:lnTo>
                    <a:pt x="110" y="780"/>
                  </a:lnTo>
                  <a:lnTo>
                    <a:pt x="96" y="777"/>
                  </a:lnTo>
                  <a:lnTo>
                    <a:pt x="78" y="777"/>
                  </a:lnTo>
                  <a:lnTo>
                    <a:pt x="69" y="777"/>
                  </a:lnTo>
                  <a:lnTo>
                    <a:pt x="64" y="777"/>
                  </a:lnTo>
                  <a:lnTo>
                    <a:pt x="64" y="771"/>
                  </a:lnTo>
                  <a:lnTo>
                    <a:pt x="64" y="763"/>
                  </a:lnTo>
                  <a:lnTo>
                    <a:pt x="64" y="754"/>
                  </a:lnTo>
                  <a:lnTo>
                    <a:pt x="64" y="749"/>
                  </a:lnTo>
                  <a:lnTo>
                    <a:pt x="64" y="740"/>
                  </a:lnTo>
                  <a:lnTo>
                    <a:pt x="64" y="734"/>
                  </a:lnTo>
                  <a:lnTo>
                    <a:pt x="64" y="726"/>
                  </a:lnTo>
                  <a:lnTo>
                    <a:pt x="64" y="714"/>
                  </a:lnTo>
                  <a:lnTo>
                    <a:pt x="64" y="709"/>
                  </a:lnTo>
                  <a:lnTo>
                    <a:pt x="64" y="700"/>
                  </a:lnTo>
                  <a:lnTo>
                    <a:pt x="64" y="692"/>
                  </a:lnTo>
                  <a:lnTo>
                    <a:pt x="59" y="680"/>
                  </a:lnTo>
                  <a:lnTo>
                    <a:pt x="59" y="669"/>
                  </a:lnTo>
                  <a:lnTo>
                    <a:pt x="59" y="657"/>
                  </a:lnTo>
                  <a:lnTo>
                    <a:pt x="59" y="646"/>
                  </a:lnTo>
                  <a:lnTo>
                    <a:pt x="59" y="632"/>
                  </a:lnTo>
                  <a:lnTo>
                    <a:pt x="59" y="620"/>
                  </a:lnTo>
                  <a:lnTo>
                    <a:pt x="59" y="609"/>
                  </a:lnTo>
                  <a:lnTo>
                    <a:pt x="59" y="598"/>
                  </a:lnTo>
                  <a:lnTo>
                    <a:pt x="55" y="583"/>
                  </a:lnTo>
                  <a:lnTo>
                    <a:pt x="55" y="572"/>
                  </a:lnTo>
                  <a:lnTo>
                    <a:pt x="50" y="558"/>
                  </a:lnTo>
                  <a:lnTo>
                    <a:pt x="50" y="543"/>
                  </a:lnTo>
                  <a:lnTo>
                    <a:pt x="50" y="529"/>
                  </a:lnTo>
                  <a:lnTo>
                    <a:pt x="50" y="521"/>
                  </a:lnTo>
                  <a:lnTo>
                    <a:pt x="50" y="506"/>
                  </a:lnTo>
                  <a:lnTo>
                    <a:pt x="50" y="492"/>
                  </a:lnTo>
                  <a:lnTo>
                    <a:pt x="50" y="478"/>
                  </a:lnTo>
                  <a:lnTo>
                    <a:pt x="50" y="464"/>
                  </a:lnTo>
                  <a:lnTo>
                    <a:pt x="50" y="450"/>
                  </a:lnTo>
                  <a:lnTo>
                    <a:pt x="50" y="435"/>
                  </a:lnTo>
                  <a:lnTo>
                    <a:pt x="46" y="421"/>
                  </a:lnTo>
                  <a:lnTo>
                    <a:pt x="46" y="407"/>
                  </a:lnTo>
                  <a:lnTo>
                    <a:pt x="46" y="393"/>
                  </a:lnTo>
                  <a:lnTo>
                    <a:pt x="46" y="381"/>
                  </a:lnTo>
                  <a:lnTo>
                    <a:pt x="46" y="367"/>
                  </a:lnTo>
                  <a:lnTo>
                    <a:pt x="46" y="353"/>
                  </a:lnTo>
                  <a:lnTo>
                    <a:pt x="46" y="338"/>
                  </a:lnTo>
                  <a:lnTo>
                    <a:pt x="46" y="327"/>
                  </a:lnTo>
                  <a:lnTo>
                    <a:pt x="46" y="313"/>
                  </a:lnTo>
                  <a:lnTo>
                    <a:pt x="46" y="301"/>
                  </a:lnTo>
                  <a:lnTo>
                    <a:pt x="46" y="290"/>
                  </a:lnTo>
                  <a:lnTo>
                    <a:pt x="46" y="279"/>
                  </a:lnTo>
                  <a:lnTo>
                    <a:pt x="46" y="267"/>
                  </a:lnTo>
                  <a:lnTo>
                    <a:pt x="46" y="256"/>
                  </a:lnTo>
                  <a:lnTo>
                    <a:pt x="46" y="244"/>
                  </a:lnTo>
                  <a:lnTo>
                    <a:pt x="46" y="233"/>
                  </a:lnTo>
                  <a:lnTo>
                    <a:pt x="46" y="225"/>
                  </a:lnTo>
                  <a:lnTo>
                    <a:pt x="46" y="213"/>
                  </a:lnTo>
                  <a:lnTo>
                    <a:pt x="46" y="207"/>
                  </a:lnTo>
                  <a:lnTo>
                    <a:pt x="46" y="199"/>
                  </a:lnTo>
                  <a:lnTo>
                    <a:pt x="46" y="188"/>
                  </a:lnTo>
                  <a:lnTo>
                    <a:pt x="46" y="182"/>
                  </a:lnTo>
                  <a:lnTo>
                    <a:pt x="46" y="176"/>
                  </a:lnTo>
                  <a:lnTo>
                    <a:pt x="46" y="170"/>
                  </a:lnTo>
                  <a:lnTo>
                    <a:pt x="46" y="159"/>
                  </a:lnTo>
                  <a:lnTo>
                    <a:pt x="46" y="153"/>
                  </a:lnTo>
                  <a:lnTo>
                    <a:pt x="41" y="145"/>
                  </a:lnTo>
                  <a:lnTo>
                    <a:pt x="41" y="136"/>
                  </a:lnTo>
                  <a:lnTo>
                    <a:pt x="41" y="131"/>
                  </a:lnTo>
                  <a:lnTo>
                    <a:pt x="41" y="125"/>
                  </a:lnTo>
                  <a:lnTo>
                    <a:pt x="41" y="113"/>
                  </a:lnTo>
                  <a:lnTo>
                    <a:pt x="37" y="102"/>
                  </a:lnTo>
                  <a:lnTo>
                    <a:pt x="32" y="91"/>
                  </a:lnTo>
                  <a:lnTo>
                    <a:pt x="27" y="79"/>
                  </a:lnTo>
                  <a:lnTo>
                    <a:pt x="27" y="71"/>
                  </a:lnTo>
                  <a:lnTo>
                    <a:pt x="23" y="62"/>
                  </a:lnTo>
                  <a:lnTo>
                    <a:pt x="18" y="54"/>
                  </a:lnTo>
                  <a:lnTo>
                    <a:pt x="14" y="48"/>
                  </a:lnTo>
                  <a:lnTo>
                    <a:pt x="9" y="39"/>
                  </a:lnTo>
                  <a:lnTo>
                    <a:pt x="5" y="37"/>
                  </a:lnTo>
                  <a:lnTo>
                    <a:pt x="0" y="31"/>
                  </a:lnTo>
                  <a:lnTo>
                    <a:pt x="0" y="28"/>
                  </a:lnTo>
                  <a:lnTo>
                    <a:pt x="133"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07" name="Freeform 99"/>
            <p:cNvSpPr>
              <a:spLocks/>
            </p:cNvSpPr>
            <p:nvPr>
              <p:custDataLst>
                <p:tags r:id="rId206"/>
              </p:custDataLst>
            </p:nvPr>
          </p:nvSpPr>
          <p:spPr bwMode="gray">
            <a:xfrm>
              <a:off x="1495" y="2448"/>
              <a:ext cx="168" cy="93"/>
            </a:xfrm>
            <a:custGeom>
              <a:avLst/>
              <a:gdLst>
                <a:gd name="T0" fmla="*/ 58 w 164"/>
                <a:gd name="T1" fmla="*/ 3 h 103"/>
                <a:gd name="T2" fmla="*/ 49 w 164"/>
                <a:gd name="T3" fmla="*/ 5 h 103"/>
                <a:gd name="T4" fmla="*/ 14 w 164"/>
                <a:gd name="T5" fmla="*/ 5 h 103"/>
                <a:gd name="T6" fmla="*/ 9 w 164"/>
                <a:gd name="T7" fmla="*/ 5 h 103"/>
                <a:gd name="T8" fmla="*/ 4 w 164"/>
                <a:gd name="T9" fmla="*/ 5 h 103"/>
                <a:gd name="T10" fmla="*/ 0 w 164"/>
                <a:gd name="T11" fmla="*/ 5 h 103"/>
                <a:gd name="T12" fmla="*/ 0 w 164"/>
                <a:gd name="T13" fmla="*/ 5 h 103"/>
                <a:gd name="T14" fmla="*/ 0 w 164"/>
                <a:gd name="T15" fmla="*/ 5 h 103"/>
                <a:gd name="T16" fmla="*/ 4 w 164"/>
                <a:gd name="T17" fmla="*/ 5 h 103"/>
                <a:gd name="T18" fmla="*/ 4 w 164"/>
                <a:gd name="T19" fmla="*/ 5 h 103"/>
                <a:gd name="T20" fmla="*/ 14 w 164"/>
                <a:gd name="T21" fmla="*/ 6 h 103"/>
                <a:gd name="T22" fmla="*/ 49 w 164"/>
                <a:gd name="T23" fmla="*/ 6 h 103"/>
                <a:gd name="T24" fmla="*/ 58 w 164"/>
                <a:gd name="T25" fmla="*/ 7 h 103"/>
                <a:gd name="T26" fmla="*/ 82 w 164"/>
                <a:gd name="T27" fmla="*/ 7 h 103"/>
                <a:gd name="T28" fmla="*/ 110 w 164"/>
                <a:gd name="T29" fmla="*/ 7 h 103"/>
                <a:gd name="T30" fmla="*/ 136 w 164"/>
                <a:gd name="T31" fmla="*/ 7 h 103"/>
                <a:gd name="T32" fmla="*/ 169 w 164"/>
                <a:gd name="T33" fmla="*/ 8 h 103"/>
                <a:gd name="T34" fmla="*/ 198 w 164"/>
                <a:gd name="T35" fmla="*/ 7 h 103"/>
                <a:gd name="T36" fmla="*/ 213 w 164"/>
                <a:gd name="T37" fmla="*/ 7 h 103"/>
                <a:gd name="T38" fmla="*/ 228 w 164"/>
                <a:gd name="T39" fmla="*/ 7 h 103"/>
                <a:gd name="T40" fmla="*/ 256 w 164"/>
                <a:gd name="T41" fmla="*/ 7 h 103"/>
                <a:gd name="T42" fmla="*/ 283 w 164"/>
                <a:gd name="T43" fmla="*/ 6 h 103"/>
                <a:gd name="T44" fmla="*/ 290 w 164"/>
                <a:gd name="T45" fmla="*/ 5 h 103"/>
                <a:gd name="T46" fmla="*/ 298 w 164"/>
                <a:gd name="T47" fmla="*/ 5 h 103"/>
                <a:gd name="T48" fmla="*/ 305 w 164"/>
                <a:gd name="T49" fmla="*/ 5 h 103"/>
                <a:gd name="T50" fmla="*/ 298 w 164"/>
                <a:gd name="T51" fmla="*/ 5 h 103"/>
                <a:gd name="T52" fmla="*/ 298 w 164"/>
                <a:gd name="T53" fmla="*/ 5 h 103"/>
                <a:gd name="T54" fmla="*/ 290 w 164"/>
                <a:gd name="T55" fmla="*/ 5 h 103"/>
                <a:gd name="T56" fmla="*/ 283 w 164"/>
                <a:gd name="T57" fmla="*/ 5 h 103"/>
                <a:gd name="T58" fmla="*/ 256 w 164"/>
                <a:gd name="T59" fmla="*/ 5 h 103"/>
                <a:gd name="T60" fmla="*/ 221 w 164"/>
                <a:gd name="T61" fmla="*/ 5 h 103"/>
                <a:gd name="T62" fmla="*/ 206 w 164"/>
                <a:gd name="T63" fmla="*/ 5 h 103"/>
                <a:gd name="T64" fmla="*/ 186 w 164"/>
                <a:gd name="T65" fmla="*/ 3 h 103"/>
                <a:gd name="T66" fmla="*/ 169 w 164"/>
                <a:gd name="T67" fmla="*/ 3 h 103"/>
                <a:gd name="T68" fmla="*/ 150 w 164"/>
                <a:gd name="T69" fmla="*/ 3 h 103"/>
                <a:gd name="T70" fmla="*/ 110 w 164"/>
                <a:gd name="T71" fmla="*/ 0 h 103"/>
                <a:gd name="T72" fmla="*/ 82 w 164"/>
                <a:gd name="T73" fmla="*/ 0 h 103"/>
                <a:gd name="T74" fmla="*/ 62 w 164"/>
                <a:gd name="T75" fmla="*/ 0 h 103"/>
                <a:gd name="T76" fmla="*/ 58 w 164"/>
                <a:gd name="T77" fmla="*/ 3 h 103"/>
                <a:gd name="T78" fmla="*/ 58 w 164"/>
                <a:gd name="T79" fmla="*/ 3 h 10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4"/>
                <a:gd name="T121" fmla="*/ 0 h 103"/>
                <a:gd name="T122" fmla="*/ 164 w 164"/>
                <a:gd name="T123" fmla="*/ 103 h 10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4" h="103">
                  <a:moveTo>
                    <a:pt x="32" y="3"/>
                  </a:moveTo>
                  <a:lnTo>
                    <a:pt x="23" y="11"/>
                  </a:lnTo>
                  <a:lnTo>
                    <a:pt x="14" y="23"/>
                  </a:lnTo>
                  <a:lnTo>
                    <a:pt x="9" y="31"/>
                  </a:lnTo>
                  <a:lnTo>
                    <a:pt x="4" y="40"/>
                  </a:lnTo>
                  <a:lnTo>
                    <a:pt x="0" y="46"/>
                  </a:lnTo>
                  <a:lnTo>
                    <a:pt x="0" y="51"/>
                  </a:lnTo>
                  <a:lnTo>
                    <a:pt x="0" y="57"/>
                  </a:lnTo>
                  <a:lnTo>
                    <a:pt x="4" y="66"/>
                  </a:lnTo>
                  <a:lnTo>
                    <a:pt x="4" y="74"/>
                  </a:lnTo>
                  <a:lnTo>
                    <a:pt x="14" y="86"/>
                  </a:lnTo>
                  <a:lnTo>
                    <a:pt x="23" y="91"/>
                  </a:lnTo>
                  <a:lnTo>
                    <a:pt x="32" y="97"/>
                  </a:lnTo>
                  <a:lnTo>
                    <a:pt x="46" y="100"/>
                  </a:lnTo>
                  <a:lnTo>
                    <a:pt x="59" y="100"/>
                  </a:lnTo>
                  <a:lnTo>
                    <a:pt x="73" y="100"/>
                  </a:lnTo>
                  <a:lnTo>
                    <a:pt x="91" y="103"/>
                  </a:lnTo>
                  <a:lnTo>
                    <a:pt x="105" y="100"/>
                  </a:lnTo>
                  <a:lnTo>
                    <a:pt x="114" y="100"/>
                  </a:lnTo>
                  <a:lnTo>
                    <a:pt x="123" y="94"/>
                  </a:lnTo>
                  <a:lnTo>
                    <a:pt x="137" y="94"/>
                  </a:lnTo>
                  <a:lnTo>
                    <a:pt x="151" y="86"/>
                  </a:lnTo>
                  <a:lnTo>
                    <a:pt x="155" y="74"/>
                  </a:lnTo>
                  <a:lnTo>
                    <a:pt x="160" y="66"/>
                  </a:lnTo>
                  <a:lnTo>
                    <a:pt x="164" y="57"/>
                  </a:lnTo>
                  <a:lnTo>
                    <a:pt x="160" y="46"/>
                  </a:lnTo>
                  <a:lnTo>
                    <a:pt x="160" y="34"/>
                  </a:lnTo>
                  <a:lnTo>
                    <a:pt x="155" y="26"/>
                  </a:lnTo>
                  <a:lnTo>
                    <a:pt x="151" y="20"/>
                  </a:lnTo>
                  <a:lnTo>
                    <a:pt x="137" y="9"/>
                  </a:lnTo>
                  <a:lnTo>
                    <a:pt x="119" y="9"/>
                  </a:lnTo>
                  <a:lnTo>
                    <a:pt x="110" y="6"/>
                  </a:lnTo>
                  <a:lnTo>
                    <a:pt x="100" y="3"/>
                  </a:lnTo>
                  <a:lnTo>
                    <a:pt x="91" y="3"/>
                  </a:lnTo>
                  <a:lnTo>
                    <a:pt x="82" y="3"/>
                  </a:lnTo>
                  <a:lnTo>
                    <a:pt x="59" y="0"/>
                  </a:lnTo>
                  <a:lnTo>
                    <a:pt x="46" y="0"/>
                  </a:lnTo>
                  <a:lnTo>
                    <a:pt x="36" y="0"/>
                  </a:lnTo>
                  <a:lnTo>
                    <a:pt x="32"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08" name="Freeform 100"/>
            <p:cNvSpPr>
              <a:spLocks/>
            </p:cNvSpPr>
            <p:nvPr>
              <p:custDataLst>
                <p:tags r:id="rId207"/>
              </p:custDataLst>
            </p:nvPr>
          </p:nvSpPr>
          <p:spPr bwMode="gray">
            <a:xfrm>
              <a:off x="1382" y="1589"/>
              <a:ext cx="1064" cy="63"/>
            </a:xfrm>
            <a:custGeom>
              <a:avLst/>
              <a:gdLst>
                <a:gd name="T0" fmla="*/ 164 w 1038"/>
                <a:gd name="T1" fmla="*/ 5 h 69"/>
                <a:gd name="T2" fmla="*/ 271 w 1038"/>
                <a:gd name="T3" fmla="*/ 5 h 69"/>
                <a:gd name="T4" fmla="*/ 381 w 1038"/>
                <a:gd name="T5" fmla="*/ 5 h 69"/>
                <a:gd name="T6" fmla="*/ 497 w 1038"/>
                <a:gd name="T7" fmla="*/ 5 h 69"/>
                <a:gd name="T8" fmla="*/ 617 w 1038"/>
                <a:gd name="T9" fmla="*/ 5 h 69"/>
                <a:gd name="T10" fmla="*/ 739 w 1038"/>
                <a:gd name="T11" fmla="*/ 5 h 69"/>
                <a:gd name="T12" fmla="*/ 864 w 1038"/>
                <a:gd name="T13" fmla="*/ 5 h 69"/>
                <a:gd name="T14" fmla="*/ 983 w 1038"/>
                <a:gd name="T15" fmla="*/ 5 h 69"/>
                <a:gd name="T16" fmla="*/ 1106 w 1038"/>
                <a:gd name="T17" fmla="*/ 5 h 69"/>
                <a:gd name="T18" fmla="*/ 1219 w 1038"/>
                <a:gd name="T19" fmla="*/ 5 h 69"/>
                <a:gd name="T20" fmla="*/ 1340 w 1038"/>
                <a:gd name="T21" fmla="*/ 5 h 69"/>
                <a:gd name="T22" fmla="*/ 1433 w 1038"/>
                <a:gd name="T23" fmla="*/ 5 h 69"/>
                <a:gd name="T24" fmla="*/ 1539 w 1038"/>
                <a:gd name="T25" fmla="*/ 5 h 69"/>
                <a:gd name="T26" fmla="*/ 1635 w 1038"/>
                <a:gd name="T27" fmla="*/ 5 h 69"/>
                <a:gd name="T28" fmla="*/ 1722 w 1038"/>
                <a:gd name="T29" fmla="*/ 5 h 69"/>
                <a:gd name="T30" fmla="*/ 1794 w 1038"/>
                <a:gd name="T31" fmla="*/ 5 h 69"/>
                <a:gd name="T32" fmla="*/ 1851 w 1038"/>
                <a:gd name="T33" fmla="*/ 5 h 69"/>
                <a:gd name="T34" fmla="*/ 1926 w 1038"/>
                <a:gd name="T35" fmla="*/ 5 h 69"/>
                <a:gd name="T36" fmla="*/ 1977 w 1038"/>
                <a:gd name="T37" fmla="*/ 5 h 69"/>
                <a:gd name="T38" fmla="*/ 1954 w 1038"/>
                <a:gd name="T39" fmla="*/ 5 h 69"/>
                <a:gd name="T40" fmla="*/ 1888 w 1038"/>
                <a:gd name="T41" fmla="*/ 5 h 69"/>
                <a:gd name="T42" fmla="*/ 1809 w 1038"/>
                <a:gd name="T43" fmla="*/ 5 h 69"/>
                <a:gd name="T44" fmla="*/ 1695 w 1038"/>
                <a:gd name="T45" fmla="*/ 5 h 69"/>
                <a:gd name="T46" fmla="*/ 1618 w 1038"/>
                <a:gd name="T47" fmla="*/ 5 h 69"/>
                <a:gd name="T48" fmla="*/ 1556 w 1038"/>
                <a:gd name="T49" fmla="*/ 5 h 69"/>
                <a:gd name="T50" fmla="*/ 1488 w 1038"/>
                <a:gd name="T51" fmla="*/ 5 h 69"/>
                <a:gd name="T52" fmla="*/ 1419 w 1038"/>
                <a:gd name="T53" fmla="*/ 5 h 69"/>
                <a:gd name="T54" fmla="*/ 1350 w 1038"/>
                <a:gd name="T55" fmla="*/ 5 h 69"/>
                <a:gd name="T56" fmla="*/ 1267 w 1038"/>
                <a:gd name="T57" fmla="*/ 6 h 69"/>
                <a:gd name="T58" fmla="*/ 1200 w 1038"/>
                <a:gd name="T59" fmla="*/ 6 h 69"/>
                <a:gd name="T60" fmla="*/ 1132 w 1038"/>
                <a:gd name="T61" fmla="*/ 6 h 69"/>
                <a:gd name="T62" fmla="*/ 1067 w 1038"/>
                <a:gd name="T63" fmla="*/ 6 h 69"/>
                <a:gd name="T64" fmla="*/ 1002 w 1038"/>
                <a:gd name="T65" fmla="*/ 6 h 69"/>
                <a:gd name="T66" fmla="*/ 933 w 1038"/>
                <a:gd name="T67" fmla="*/ 6 h 69"/>
                <a:gd name="T68" fmla="*/ 869 w 1038"/>
                <a:gd name="T69" fmla="*/ 5 h 69"/>
                <a:gd name="T70" fmla="*/ 774 w 1038"/>
                <a:gd name="T71" fmla="*/ 5 h 69"/>
                <a:gd name="T72" fmla="*/ 713 w 1038"/>
                <a:gd name="T73" fmla="*/ 5 h 69"/>
                <a:gd name="T74" fmla="*/ 617 w 1038"/>
                <a:gd name="T75" fmla="*/ 5 h 69"/>
                <a:gd name="T76" fmla="*/ 514 w 1038"/>
                <a:gd name="T77" fmla="*/ 5 h 69"/>
                <a:gd name="T78" fmla="*/ 410 w 1038"/>
                <a:gd name="T79" fmla="*/ 5 h 69"/>
                <a:gd name="T80" fmla="*/ 313 w 1038"/>
                <a:gd name="T81" fmla="*/ 5 h 69"/>
                <a:gd name="T82" fmla="*/ 234 w 1038"/>
                <a:gd name="T83" fmla="*/ 5 h 69"/>
                <a:gd name="T84" fmla="*/ 154 w 1038"/>
                <a:gd name="T85" fmla="*/ 5 h 69"/>
                <a:gd name="T86" fmla="*/ 92 w 1038"/>
                <a:gd name="T87" fmla="*/ 5 h 69"/>
                <a:gd name="T88" fmla="*/ 18 w 1038"/>
                <a:gd name="T89" fmla="*/ 5 h 69"/>
                <a:gd name="T90" fmla="*/ 103 w 1038"/>
                <a:gd name="T91" fmla="*/ 0 h 6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38"/>
                <a:gd name="T139" fmla="*/ 0 h 69"/>
                <a:gd name="T140" fmla="*/ 1038 w 1038"/>
                <a:gd name="T141" fmla="*/ 69 h 6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38" h="69">
                  <a:moveTo>
                    <a:pt x="55" y="0"/>
                  </a:moveTo>
                  <a:lnTo>
                    <a:pt x="69" y="3"/>
                  </a:lnTo>
                  <a:lnTo>
                    <a:pt x="87" y="6"/>
                  </a:lnTo>
                  <a:lnTo>
                    <a:pt x="105" y="6"/>
                  </a:lnTo>
                  <a:lnTo>
                    <a:pt x="124" y="9"/>
                  </a:lnTo>
                  <a:lnTo>
                    <a:pt x="142" y="9"/>
                  </a:lnTo>
                  <a:lnTo>
                    <a:pt x="160" y="12"/>
                  </a:lnTo>
                  <a:lnTo>
                    <a:pt x="178" y="15"/>
                  </a:lnTo>
                  <a:lnTo>
                    <a:pt x="201" y="15"/>
                  </a:lnTo>
                  <a:lnTo>
                    <a:pt x="220" y="15"/>
                  </a:lnTo>
                  <a:lnTo>
                    <a:pt x="242" y="17"/>
                  </a:lnTo>
                  <a:lnTo>
                    <a:pt x="261" y="17"/>
                  </a:lnTo>
                  <a:lnTo>
                    <a:pt x="284" y="20"/>
                  </a:lnTo>
                  <a:lnTo>
                    <a:pt x="302" y="20"/>
                  </a:lnTo>
                  <a:lnTo>
                    <a:pt x="325" y="23"/>
                  </a:lnTo>
                  <a:lnTo>
                    <a:pt x="348" y="23"/>
                  </a:lnTo>
                  <a:lnTo>
                    <a:pt x="370" y="26"/>
                  </a:lnTo>
                  <a:lnTo>
                    <a:pt x="389" y="26"/>
                  </a:lnTo>
                  <a:lnTo>
                    <a:pt x="407" y="26"/>
                  </a:lnTo>
                  <a:lnTo>
                    <a:pt x="430" y="26"/>
                  </a:lnTo>
                  <a:lnTo>
                    <a:pt x="453" y="29"/>
                  </a:lnTo>
                  <a:lnTo>
                    <a:pt x="471" y="32"/>
                  </a:lnTo>
                  <a:lnTo>
                    <a:pt x="494" y="32"/>
                  </a:lnTo>
                  <a:lnTo>
                    <a:pt x="517" y="35"/>
                  </a:lnTo>
                  <a:lnTo>
                    <a:pt x="539" y="35"/>
                  </a:lnTo>
                  <a:lnTo>
                    <a:pt x="558" y="35"/>
                  </a:lnTo>
                  <a:lnTo>
                    <a:pt x="581" y="35"/>
                  </a:lnTo>
                  <a:lnTo>
                    <a:pt x="599" y="37"/>
                  </a:lnTo>
                  <a:lnTo>
                    <a:pt x="622" y="37"/>
                  </a:lnTo>
                  <a:lnTo>
                    <a:pt x="640" y="37"/>
                  </a:lnTo>
                  <a:lnTo>
                    <a:pt x="658" y="37"/>
                  </a:lnTo>
                  <a:lnTo>
                    <a:pt x="681" y="40"/>
                  </a:lnTo>
                  <a:lnTo>
                    <a:pt x="704" y="43"/>
                  </a:lnTo>
                  <a:lnTo>
                    <a:pt x="718" y="43"/>
                  </a:lnTo>
                  <a:lnTo>
                    <a:pt x="736" y="43"/>
                  </a:lnTo>
                  <a:lnTo>
                    <a:pt x="754" y="43"/>
                  </a:lnTo>
                  <a:lnTo>
                    <a:pt x="773" y="43"/>
                  </a:lnTo>
                  <a:lnTo>
                    <a:pt x="791" y="43"/>
                  </a:lnTo>
                  <a:lnTo>
                    <a:pt x="809" y="43"/>
                  </a:lnTo>
                  <a:lnTo>
                    <a:pt x="827" y="43"/>
                  </a:lnTo>
                  <a:lnTo>
                    <a:pt x="846" y="46"/>
                  </a:lnTo>
                  <a:lnTo>
                    <a:pt x="859" y="46"/>
                  </a:lnTo>
                  <a:lnTo>
                    <a:pt x="873" y="46"/>
                  </a:lnTo>
                  <a:lnTo>
                    <a:pt x="887" y="46"/>
                  </a:lnTo>
                  <a:lnTo>
                    <a:pt x="905" y="49"/>
                  </a:lnTo>
                  <a:lnTo>
                    <a:pt x="914" y="49"/>
                  </a:lnTo>
                  <a:lnTo>
                    <a:pt x="928" y="49"/>
                  </a:lnTo>
                  <a:lnTo>
                    <a:pt x="942" y="49"/>
                  </a:lnTo>
                  <a:lnTo>
                    <a:pt x="955" y="49"/>
                  </a:lnTo>
                  <a:lnTo>
                    <a:pt x="964" y="49"/>
                  </a:lnTo>
                  <a:lnTo>
                    <a:pt x="974" y="49"/>
                  </a:lnTo>
                  <a:lnTo>
                    <a:pt x="987" y="49"/>
                  </a:lnTo>
                  <a:lnTo>
                    <a:pt x="992" y="49"/>
                  </a:lnTo>
                  <a:lnTo>
                    <a:pt x="1010" y="49"/>
                  </a:lnTo>
                  <a:lnTo>
                    <a:pt x="1028" y="52"/>
                  </a:lnTo>
                  <a:lnTo>
                    <a:pt x="1033" y="52"/>
                  </a:lnTo>
                  <a:lnTo>
                    <a:pt x="1038" y="54"/>
                  </a:lnTo>
                  <a:lnTo>
                    <a:pt x="1033" y="54"/>
                  </a:lnTo>
                  <a:lnTo>
                    <a:pt x="1028" y="54"/>
                  </a:lnTo>
                  <a:lnTo>
                    <a:pt x="1015" y="54"/>
                  </a:lnTo>
                  <a:lnTo>
                    <a:pt x="1006" y="54"/>
                  </a:lnTo>
                  <a:lnTo>
                    <a:pt x="992" y="54"/>
                  </a:lnTo>
                  <a:lnTo>
                    <a:pt x="978" y="54"/>
                  </a:lnTo>
                  <a:lnTo>
                    <a:pt x="964" y="57"/>
                  </a:lnTo>
                  <a:lnTo>
                    <a:pt x="951" y="57"/>
                  </a:lnTo>
                  <a:lnTo>
                    <a:pt x="932" y="57"/>
                  </a:lnTo>
                  <a:lnTo>
                    <a:pt x="914" y="60"/>
                  </a:lnTo>
                  <a:lnTo>
                    <a:pt x="891" y="60"/>
                  </a:lnTo>
                  <a:lnTo>
                    <a:pt x="873" y="60"/>
                  </a:lnTo>
                  <a:lnTo>
                    <a:pt x="864" y="60"/>
                  </a:lnTo>
                  <a:lnTo>
                    <a:pt x="850" y="60"/>
                  </a:lnTo>
                  <a:lnTo>
                    <a:pt x="837" y="60"/>
                  </a:lnTo>
                  <a:lnTo>
                    <a:pt x="827" y="60"/>
                  </a:lnTo>
                  <a:lnTo>
                    <a:pt x="818" y="60"/>
                  </a:lnTo>
                  <a:lnTo>
                    <a:pt x="805" y="63"/>
                  </a:lnTo>
                  <a:lnTo>
                    <a:pt x="795" y="63"/>
                  </a:lnTo>
                  <a:lnTo>
                    <a:pt x="782" y="66"/>
                  </a:lnTo>
                  <a:lnTo>
                    <a:pt x="773" y="66"/>
                  </a:lnTo>
                  <a:lnTo>
                    <a:pt x="759" y="66"/>
                  </a:lnTo>
                  <a:lnTo>
                    <a:pt x="745" y="66"/>
                  </a:lnTo>
                  <a:lnTo>
                    <a:pt x="736" y="66"/>
                  </a:lnTo>
                  <a:lnTo>
                    <a:pt x="722" y="66"/>
                  </a:lnTo>
                  <a:lnTo>
                    <a:pt x="709" y="66"/>
                  </a:lnTo>
                  <a:lnTo>
                    <a:pt x="695" y="66"/>
                  </a:lnTo>
                  <a:lnTo>
                    <a:pt x="686" y="69"/>
                  </a:lnTo>
                  <a:lnTo>
                    <a:pt x="667" y="69"/>
                  </a:lnTo>
                  <a:lnTo>
                    <a:pt x="658" y="69"/>
                  </a:lnTo>
                  <a:lnTo>
                    <a:pt x="649" y="69"/>
                  </a:lnTo>
                  <a:lnTo>
                    <a:pt x="631" y="69"/>
                  </a:lnTo>
                  <a:lnTo>
                    <a:pt x="622" y="69"/>
                  </a:lnTo>
                  <a:lnTo>
                    <a:pt x="613" y="69"/>
                  </a:lnTo>
                  <a:lnTo>
                    <a:pt x="594" y="69"/>
                  </a:lnTo>
                  <a:lnTo>
                    <a:pt x="585" y="69"/>
                  </a:lnTo>
                  <a:lnTo>
                    <a:pt x="571" y="69"/>
                  </a:lnTo>
                  <a:lnTo>
                    <a:pt x="562" y="69"/>
                  </a:lnTo>
                  <a:lnTo>
                    <a:pt x="544" y="69"/>
                  </a:lnTo>
                  <a:lnTo>
                    <a:pt x="535" y="69"/>
                  </a:lnTo>
                  <a:lnTo>
                    <a:pt x="526" y="69"/>
                  </a:lnTo>
                  <a:lnTo>
                    <a:pt x="512" y="69"/>
                  </a:lnTo>
                  <a:lnTo>
                    <a:pt x="503" y="69"/>
                  </a:lnTo>
                  <a:lnTo>
                    <a:pt x="489" y="69"/>
                  </a:lnTo>
                  <a:lnTo>
                    <a:pt x="480" y="66"/>
                  </a:lnTo>
                  <a:lnTo>
                    <a:pt x="471" y="66"/>
                  </a:lnTo>
                  <a:lnTo>
                    <a:pt x="457" y="66"/>
                  </a:lnTo>
                  <a:lnTo>
                    <a:pt x="443" y="66"/>
                  </a:lnTo>
                  <a:lnTo>
                    <a:pt x="425" y="66"/>
                  </a:lnTo>
                  <a:lnTo>
                    <a:pt x="407" y="66"/>
                  </a:lnTo>
                  <a:lnTo>
                    <a:pt x="393" y="63"/>
                  </a:lnTo>
                  <a:lnTo>
                    <a:pt x="384" y="60"/>
                  </a:lnTo>
                  <a:lnTo>
                    <a:pt x="375" y="60"/>
                  </a:lnTo>
                  <a:lnTo>
                    <a:pt x="366" y="60"/>
                  </a:lnTo>
                  <a:lnTo>
                    <a:pt x="343" y="60"/>
                  </a:lnTo>
                  <a:lnTo>
                    <a:pt x="325" y="60"/>
                  </a:lnTo>
                  <a:lnTo>
                    <a:pt x="302" y="57"/>
                  </a:lnTo>
                  <a:lnTo>
                    <a:pt x="288" y="57"/>
                  </a:lnTo>
                  <a:lnTo>
                    <a:pt x="270" y="54"/>
                  </a:lnTo>
                  <a:lnTo>
                    <a:pt x="252" y="54"/>
                  </a:lnTo>
                  <a:lnTo>
                    <a:pt x="233" y="52"/>
                  </a:lnTo>
                  <a:lnTo>
                    <a:pt x="215" y="49"/>
                  </a:lnTo>
                  <a:lnTo>
                    <a:pt x="197" y="49"/>
                  </a:lnTo>
                  <a:lnTo>
                    <a:pt x="183" y="49"/>
                  </a:lnTo>
                  <a:lnTo>
                    <a:pt x="165" y="46"/>
                  </a:lnTo>
                  <a:lnTo>
                    <a:pt x="151" y="46"/>
                  </a:lnTo>
                  <a:lnTo>
                    <a:pt x="137" y="43"/>
                  </a:lnTo>
                  <a:lnTo>
                    <a:pt x="124" y="43"/>
                  </a:lnTo>
                  <a:lnTo>
                    <a:pt x="110" y="40"/>
                  </a:lnTo>
                  <a:lnTo>
                    <a:pt x="96" y="37"/>
                  </a:lnTo>
                  <a:lnTo>
                    <a:pt x="82" y="37"/>
                  </a:lnTo>
                  <a:lnTo>
                    <a:pt x="73" y="37"/>
                  </a:lnTo>
                  <a:lnTo>
                    <a:pt x="64" y="35"/>
                  </a:lnTo>
                  <a:lnTo>
                    <a:pt x="50" y="35"/>
                  </a:lnTo>
                  <a:lnTo>
                    <a:pt x="41" y="35"/>
                  </a:lnTo>
                  <a:lnTo>
                    <a:pt x="37" y="35"/>
                  </a:lnTo>
                  <a:lnTo>
                    <a:pt x="18" y="32"/>
                  </a:lnTo>
                  <a:lnTo>
                    <a:pt x="14" y="29"/>
                  </a:lnTo>
                  <a:lnTo>
                    <a:pt x="0" y="29"/>
                  </a:lnTo>
                  <a:lnTo>
                    <a:pt x="55"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09" name="Freeform 101"/>
            <p:cNvSpPr>
              <a:spLocks/>
            </p:cNvSpPr>
            <p:nvPr>
              <p:custDataLst>
                <p:tags r:id="rId208"/>
              </p:custDataLst>
            </p:nvPr>
          </p:nvSpPr>
          <p:spPr bwMode="gray">
            <a:xfrm>
              <a:off x="2900" y="1545"/>
              <a:ext cx="1387" cy="114"/>
            </a:xfrm>
            <a:custGeom>
              <a:avLst/>
              <a:gdLst>
                <a:gd name="T0" fmla="*/ 453 w 1353"/>
                <a:gd name="T1" fmla="*/ 11 h 125"/>
                <a:gd name="T2" fmla="*/ 595 w 1353"/>
                <a:gd name="T3" fmla="*/ 10 h 125"/>
                <a:gd name="T4" fmla="*/ 741 w 1353"/>
                <a:gd name="T5" fmla="*/ 10 h 125"/>
                <a:gd name="T6" fmla="*/ 869 w 1353"/>
                <a:gd name="T7" fmla="*/ 9 h 125"/>
                <a:gd name="T8" fmla="*/ 1021 w 1353"/>
                <a:gd name="T9" fmla="*/ 9 h 125"/>
                <a:gd name="T10" fmla="*/ 1167 w 1353"/>
                <a:gd name="T11" fmla="*/ 8 h 125"/>
                <a:gd name="T12" fmla="*/ 1309 w 1353"/>
                <a:gd name="T13" fmla="*/ 7 h 125"/>
                <a:gd name="T14" fmla="*/ 1449 w 1353"/>
                <a:gd name="T15" fmla="*/ 6 h 125"/>
                <a:gd name="T16" fmla="*/ 1577 w 1353"/>
                <a:gd name="T17" fmla="*/ 5 h 125"/>
                <a:gd name="T18" fmla="*/ 1716 w 1353"/>
                <a:gd name="T19" fmla="*/ 5 h 125"/>
                <a:gd name="T20" fmla="*/ 1838 w 1353"/>
                <a:gd name="T21" fmla="*/ 5 h 125"/>
                <a:gd name="T22" fmla="*/ 1950 w 1353"/>
                <a:gd name="T23" fmla="*/ 5 h 125"/>
                <a:gd name="T24" fmla="*/ 2052 w 1353"/>
                <a:gd name="T25" fmla="*/ 5 h 125"/>
                <a:gd name="T26" fmla="*/ 2157 w 1353"/>
                <a:gd name="T27" fmla="*/ 5 h 125"/>
                <a:gd name="T28" fmla="*/ 2262 w 1353"/>
                <a:gd name="T29" fmla="*/ 5 h 125"/>
                <a:gd name="T30" fmla="*/ 2347 w 1353"/>
                <a:gd name="T31" fmla="*/ 5 h 125"/>
                <a:gd name="T32" fmla="*/ 2415 w 1353"/>
                <a:gd name="T33" fmla="*/ 5 h 125"/>
                <a:gd name="T34" fmla="*/ 2491 w 1353"/>
                <a:gd name="T35" fmla="*/ 5 h 125"/>
                <a:gd name="T36" fmla="*/ 2568 w 1353"/>
                <a:gd name="T37" fmla="*/ 0 h 125"/>
                <a:gd name="T38" fmla="*/ 2585 w 1353"/>
                <a:gd name="T39" fmla="*/ 5 h 125"/>
                <a:gd name="T40" fmla="*/ 2529 w 1353"/>
                <a:gd name="T41" fmla="*/ 5 h 125"/>
                <a:gd name="T42" fmla="*/ 2447 w 1353"/>
                <a:gd name="T43" fmla="*/ 5 h 125"/>
                <a:gd name="T44" fmla="*/ 2354 w 1353"/>
                <a:gd name="T45" fmla="*/ 5 h 125"/>
                <a:gd name="T46" fmla="*/ 2294 w 1353"/>
                <a:gd name="T47" fmla="*/ 5 h 125"/>
                <a:gd name="T48" fmla="*/ 2221 w 1353"/>
                <a:gd name="T49" fmla="*/ 5 h 125"/>
                <a:gd name="T50" fmla="*/ 2150 w 1353"/>
                <a:gd name="T51" fmla="*/ 5 h 125"/>
                <a:gd name="T52" fmla="*/ 2076 w 1353"/>
                <a:gd name="T53" fmla="*/ 5 h 125"/>
                <a:gd name="T54" fmla="*/ 1986 w 1353"/>
                <a:gd name="T55" fmla="*/ 6 h 125"/>
                <a:gd name="T56" fmla="*/ 1905 w 1353"/>
                <a:gd name="T57" fmla="*/ 7 h 125"/>
                <a:gd name="T58" fmla="*/ 1827 w 1353"/>
                <a:gd name="T59" fmla="*/ 7 h 125"/>
                <a:gd name="T60" fmla="*/ 1716 w 1353"/>
                <a:gd name="T61" fmla="*/ 8 h 125"/>
                <a:gd name="T62" fmla="*/ 1637 w 1353"/>
                <a:gd name="T63" fmla="*/ 8 h 125"/>
                <a:gd name="T64" fmla="*/ 1534 w 1353"/>
                <a:gd name="T65" fmla="*/ 9 h 125"/>
                <a:gd name="T66" fmla="*/ 1437 w 1353"/>
                <a:gd name="T67" fmla="*/ 10 h 125"/>
                <a:gd name="T68" fmla="*/ 1344 w 1353"/>
                <a:gd name="T69" fmla="*/ 10 h 125"/>
                <a:gd name="T70" fmla="*/ 1247 w 1353"/>
                <a:gd name="T71" fmla="*/ 10 h 125"/>
                <a:gd name="T72" fmla="*/ 1149 w 1353"/>
                <a:gd name="T73" fmla="*/ 11 h 125"/>
                <a:gd name="T74" fmla="*/ 1060 w 1353"/>
                <a:gd name="T75" fmla="*/ 11 h 125"/>
                <a:gd name="T76" fmla="*/ 958 w 1353"/>
                <a:gd name="T77" fmla="*/ 11 h 125"/>
                <a:gd name="T78" fmla="*/ 869 w 1353"/>
                <a:gd name="T79" fmla="*/ 12 h 125"/>
                <a:gd name="T80" fmla="*/ 792 w 1353"/>
                <a:gd name="T81" fmla="*/ 12 h 125"/>
                <a:gd name="T82" fmla="*/ 708 w 1353"/>
                <a:gd name="T83" fmla="*/ 12 h 125"/>
                <a:gd name="T84" fmla="*/ 617 w 1353"/>
                <a:gd name="T85" fmla="*/ 12 h 125"/>
                <a:gd name="T86" fmla="*/ 547 w 1353"/>
                <a:gd name="T87" fmla="*/ 12 h 125"/>
                <a:gd name="T88" fmla="*/ 477 w 1353"/>
                <a:gd name="T89" fmla="*/ 12 h 125"/>
                <a:gd name="T90" fmla="*/ 410 w 1353"/>
                <a:gd name="T91" fmla="*/ 12 h 125"/>
                <a:gd name="T92" fmla="*/ 321 w 1353"/>
                <a:gd name="T93" fmla="*/ 12 h 125"/>
                <a:gd name="T94" fmla="*/ 216 w 1353"/>
                <a:gd name="T95" fmla="*/ 12 h 125"/>
                <a:gd name="T96" fmla="*/ 130 w 1353"/>
                <a:gd name="T97" fmla="*/ 12 h 125"/>
                <a:gd name="T98" fmla="*/ 58 w 1353"/>
                <a:gd name="T99" fmla="*/ 12 h 125"/>
                <a:gd name="T100" fmla="*/ 0 w 1353"/>
                <a:gd name="T101" fmla="*/ 12 h 125"/>
                <a:gd name="T102" fmla="*/ 49 w 1353"/>
                <a:gd name="T103" fmla="*/ 12 h 125"/>
                <a:gd name="T104" fmla="*/ 115 w 1353"/>
                <a:gd name="T105" fmla="*/ 12 h 125"/>
                <a:gd name="T106" fmla="*/ 216 w 1353"/>
                <a:gd name="T107" fmla="*/ 12 h 125"/>
                <a:gd name="T108" fmla="*/ 287 w 1353"/>
                <a:gd name="T109" fmla="*/ 11 h 125"/>
                <a:gd name="T110" fmla="*/ 350 w 1353"/>
                <a:gd name="T111" fmla="*/ 11 h 125"/>
                <a:gd name="T112" fmla="*/ 357 w 1353"/>
                <a:gd name="T113" fmla="*/ 11 h 1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353"/>
                <a:gd name="T172" fmla="*/ 0 h 125"/>
                <a:gd name="T173" fmla="*/ 1353 w 1353"/>
                <a:gd name="T174" fmla="*/ 125 h 12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353" h="125">
                  <a:moveTo>
                    <a:pt x="187" y="108"/>
                  </a:moveTo>
                  <a:lnTo>
                    <a:pt x="210" y="108"/>
                  </a:lnTo>
                  <a:lnTo>
                    <a:pt x="238" y="108"/>
                  </a:lnTo>
                  <a:lnTo>
                    <a:pt x="260" y="105"/>
                  </a:lnTo>
                  <a:lnTo>
                    <a:pt x="283" y="105"/>
                  </a:lnTo>
                  <a:lnTo>
                    <a:pt x="311" y="102"/>
                  </a:lnTo>
                  <a:lnTo>
                    <a:pt x="334" y="102"/>
                  </a:lnTo>
                  <a:lnTo>
                    <a:pt x="361" y="102"/>
                  </a:lnTo>
                  <a:lnTo>
                    <a:pt x="388" y="100"/>
                  </a:lnTo>
                  <a:lnTo>
                    <a:pt x="407" y="97"/>
                  </a:lnTo>
                  <a:lnTo>
                    <a:pt x="434" y="97"/>
                  </a:lnTo>
                  <a:lnTo>
                    <a:pt x="457" y="94"/>
                  </a:lnTo>
                  <a:lnTo>
                    <a:pt x="484" y="94"/>
                  </a:lnTo>
                  <a:lnTo>
                    <a:pt x="512" y="91"/>
                  </a:lnTo>
                  <a:lnTo>
                    <a:pt x="535" y="91"/>
                  </a:lnTo>
                  <a:lnTo>
                    <a:pt x="562" y="85"/>
                  </a:lnTo>
                  <a:lnTo>
                    <a:pt x="589" y="85"/>
                  </a:lnTo>
                  <a:lnTo>
                    <a:pt x="612" y="83"/>
                  </a:lnTo>
                  <a:lnTo>
                    <a:pt x="635" y="83"/>
                  </a:lnTo>
                  <a:lnTo>
                    <a:pt x="658" y="77"/>
                  </a:lnTo>
                  <a:lnTo>
                    <a:pt x="685" y="74"/>
                  </a:lnTo>
                  <a:lnTo>
                    <a:pt x="708" y="74"/>
                  </a:lnTo>
                  <a:lnTo>
                    <a:pt x="736" y="71"/>
                  </a:lnTo>
                  <a:lnTo>
                    <a:pt x="759" y="68"/>
                  </a:lnTo>
                  <a:lnTo>
                    <a:pt x="781" y="68"/>
                  </a:lnTo>
                  <a:lnTo>
                    <a:pt x="804" y="65"/>
                  </a:lnTo>
                  <a:lnTo>
                    <a:pt x="827" y="63"/>
                  </a:lnTo>
                  <a:lnTo>
                    <a:pt x="850" y="60"/>
                  </a:lnTo>
                  <a:lnTo>
                    <a:pt x="877" y="60"/>
                  </a:lnTo>
                  <a:lnTo>
                    <a:pt x="900" y="54"/>
                  </a:lnTo>
                  <a:lnTo>
                    <a:pt x="919" y="54"/>
                  </a:lnTo>
                  <a:lnTo>
                    <a:pt x="941" y="51"/>
                  </a:lnTo>
                  <a:lnTo>
                    <a:pt x="964" y="48"/>
                  </a:lnTo>
                  <a:lnTo>
                    <a:pt x="982" y="46"/>
                  </a:lnTo>
                  <a:lnTo>
                    <a:pt x="1005" y="43"/>
                  </a:lnTo>
                  <a:lnTo>
                    <a:pt x="1024" y="43"/>
                  </a:lnTo>
                  <a:lnTo>
                    <a:pt x="1042" y="40"/>
                  </a:lnTo>
                  <a:lnTo>
                    <a:pt x="1060" y="34"/>
                  </a:lnTo>
                  <a:lnTo>
                    <a:pt x="1078" y="34"/>
                  </a:lnTo>
                  <a:lnTo>
                    <a:pt x="1101" y="31"/>
                  </a:lnTo>
                  <a:lnTo>
                    <a:pt x="1120" y="31"/>
                  </a:lnTo>
                  <a:lnTo>
                    <a:pt x="1133" y="26"/>
                  </a:lnTo>
                  <a:lnTo>
                    <a:pt x="1152" y="26"/>
                  </a:lnTo>
                  <a:lnTo>
                    <a:pt x="1170" y="23"/>
                  </a:lnTo>
                  <a:lnTo>
                    <a:pt x="1188" y="23"/>
                  </a:lnTo>
                  <a:lnTo>
                    <a:pt x="1202" y="20"/>
                  </a:lnTo>
                  <a:lnTo>
                    <a:pt x="1216" y="20"/>
                  </a:lnTo>
                  <a:lnTo>
                    <a:pt x="1229" y="14"/>
                  </a:lnTo>
                  <a:lnTo>
                    <a:pt x="1243" y="14"/>
                  </a:lnTo>
                  <a:lnTo>
                    <a:pt x="1257" y="11"/>
                  </a:lnTo>
                  <a:lnTo>
                    <a:pt x="1266" y="11"/>
                  </a:lnTo>
                  <a:lnTo>
                    <a:pt x="1280" y="9"/>
                  </a:lnTo>
                  <a:lnTo>
                    <a:pt x="1289" y="9"/>
                  </a:lnTo>
                  <a:lnTo>
                    <a:pt x="1307" y="6"/>
                  </a:lnTo>
                  <a:lnTo>
                    <a:pt x="1325" y="6"/>
                  </a:lnTo>
                  <a:lnTo>
                    <a:pt x="1334" y="0"/>
                  </a:lnTo>
                  <a:lnTo>
                    <a:pt x="1348" y="0"/>
                  </a:lnTo>
                  <a:lnTo>
                    <a:pt x="1353" y="0"/>
                  </a:lnTo>
                  <a:lnTo>
                    <a:pt x="1353" y="37"/>
                  </a:lnTo>
                  <a:lnTo>
                    <a:pt x="1348" y="37"/>
                  </a:lnTo>
                  <a:lnTo>
                    <a:pt x="1334" y="40"/>
                  </a:lnTo>
                  <a:lnTo>
                    <a:pt x="1325" y="40"/>
                  </a:lnTo>
                  <a:lnTo>
                    <a:pt x="1316" y="43"/>
                  </a:lnTo>
                  <a:lnTo>
                    <a:pt x="1298" y="43"/>
                  </a:lnTo>
                  <a:lnTo>
                    <a:pt x="1284" y="46"/>
                  </a:lnTo>
                  <a:lnTo>
                    <a:pt x="1266" y="46"/>
                  </a:lnTo>
                  <a:lnTo>
                    <a:pt x="1243" y="48"/>
                  </a:lnTo>
                  <a:lnTo>
                    <a:pt x="1234" y="48"/>
                  </a:lnTo>
                  <a:lnTo>
                    <a:pt x="1225" y="48"/>
                  </a:lnTo>
                  <a:lnTo>
                    <a:pt x="1211" y="51"/>
                  </a:lnTo>
                  <a:lnTo>
                    <a:pt x="1202" y="54"/>
                  </a:lnTo>
                  <a:lnTo>
                    <a:pt x="1188" y="54"/>
                  </a:lnTo>
                  <a:lnTo>
                    <a:pt x="1179" y="54"/>
                  </a:lnTo>
                  <a:lnTo>
                    <a:pt x="1165" y="54"/>
                  </a:lnTo>
                  <a:lnTo>
                    <a:pt x="1152" y="57"/>
                  </a:lnTo>
                  <a:lnTo>
                    <a:pt x="1138" y="60"/>
                  </a:lnTo>
                  <a:lnTo>
                    <a:pt x="1129" y="63"/>
                  </a:lnTo>
                  <a:lnTo>
                    <a:pt x="1115" y="63"/>
                  </a:lnTo>
                  <a:lnTo>
                    <a:pt x="1101" y="65"/>
                  </a:lnTo>
                  <a:lnTo>
                    <a:pt x="1088" y="65"/>
                  </a:lnTo>
                  <a:lnTo>
                    <a:pt x="1074" y="68"/>
                  </a:lnTo>
                  <a:lnTo>
                    <a:pt x="1060" y="68"/>
                  </a:lnTo>
                  <a:lnTo>
                    <a:pt x="1042" y="68"/>
                  </a:lnTo>
                  <a:lnTo>
                    <a:pt x="1024" y="71"/>
                  </a:lnTo>
                  <a:lnTo>
                    <a:pt x="1010" y="71"/>
                  </a:lnTo>
                  <a:lnTo>
                    <a:pt x="1001" y="74"/>
                  </a:lnTo>
                  <a:lnTo>
                    <a:pt x="982" y="74"/>
                  </a:lnTo>
                  <a:lnTo>
                    <a:pt x="969" y="74"/>
                  </a:lnTo>
                  <a:lnTo>
                    <a:pt x="955" y="77"/>
                  </a:lnTo>
                  <a:lnTo>
                    <a:pt x="937" y="80"/>
                  </a:lnTo>
                  <a:lnTo>
                    <a:pt x="919" y="83"/>
                  </a:lnTo>
                  <a:lnTo>
                    <a:pt x="900" y="83"/>
                  </a:lnTo>
                  <a:lnTo>
                    <a:pt x="887" y="83"/>
                  </a:lnTo>
                  <a:lnTo>
                    <a:pt x="868" y="85"/>
                  </a:lnTo>
                  <a:lnTo>
                    <a:pt x="859" y="85"/>
                  </a:lnTo>
                  <a:lnTo>
                    <a:pt x="841" y="85"/>
                  </a:lnTo>
                  <a:lnTo>
                    <a:pt x="823" y="91"/>
                  </a:lnTo>
                  <a:lnTo>
                    <a:pt x="804" y="91"/>
                  </a:lnTo>
                  <a:lnTo>
                    <a:pt x="791" y="94"/>
                  </a:lnTo>
                  <a:lnTo>
                    <a:pt x="772" y="94"/>
                  </a:lnTo>
                  <a:lnTo>
                    <a:pt x="754" y="97"/>
                  </a:lnTo>
                  <a:lnTo>
                    <a:pt x="736" y="97"/>
                  </a:lnTo>
                  <a:lnTo>
                    <a:pt x="722" y="97"/>
                  </a:lnTo>
                  <a:lnTo>
                    <a:pt x="704" y="97"/>
                  </a:lnTo>
                  <a:lnTo>
                    <a:pt x="690" y="102"/>
                  </a:lnTo>
                  <a:lnTo>
                    <a:pt x="672" y="102"/>
                  </a:lnTo>
                  <a:lnTo>
                    <a:pt x="653" y="102"/>
                  </a:lnTo>
                  <a:lnTo>
                    <a:pt x="635" y="105"/>
                  </a:lnTo>
                  <a:lnTo>
                    <a:pt x="621" y="105"/>
                  </a:lnTo>
                  <a:lnTo>
                    <a:pt x="603" y="108"/>
                  </a:lnTo>
                  <a:lnTo>
                    <a:pt x="589" y="108"/>
                  </a:lnTo>
                  <a:lnTo>
                    <a:pt x="571" y="108"/>
                  </a:lnTo>
                  <a:lnTo>
                    <a:pt x="557" y="108"/>
                  </a:lnTo>
                  <a:lnTo>
                    <a:pt x="539" y="111"/>
                  </a:lnTo>
                  <a:lnTo>
                    <a:pt x="521" y="114"/>
                  </a:lnTo>
                  <a:lnTo>
                    <a:pt x="503" y="114"/>
                  </a:lnTo>
                  <a:lnTo>
                    <a:pt x="493" y="114"/>
                  </a:lnTo>
                  <a:lnTo>
                    <a:pt x="475" y="117"/>
                  </a:lnTo>
                  <a:lnTo>
                    <a:pt x="457" y="117"/>
                  </a:lnTo>
                  <a:lnTo>
                    <a:pt x="443" y="117"/>
                  </a:lnTo>
                  <a:lnTo>
                    <a:pt x="425" y="117"/>
                  </a:lnTo>
                  <a:lnTo>
                    <a:pt x="416" y="117"/>
                  </a:lnTo>
                  <a:lnTo>
                    <a:pt x="398" y="117"/>
                  </a:lnTo>
                  <a:lnTo>
                    <a:pt x="384" y="117"/>
                  </a:lnTo>
                  <a:lnTo>
                    <a:pt x="370" y="117"/>
                  </a:lnTo>
                  <a:lnTo>
                    <a:pt x="352" y="120"/>
                  </a:lnTo>
                  <a:lnTo>
                    <a:pt x="343" y="120"/>
                  </a:lnTo>
                  <a:lnTo>
                    <a:pt x="324" y="120"/>
                  </a:lnTo>
                  <a:lnTo>
                    <a:pt x="315" y="120"/>
                  </a:lnTo>
                  <a:lnTo>
                    <a:pt x="297" y="120"/>
                  </a:lnTo>
                  <a:lnTo>
                    <a:pt x="288" y="122"/>
                  </a:lnTo>
                  <a:lnTo>
                    <a:pt x="274" y="122"/>
                  </a:lnTo>
                  <a:lnTo>
                    <a:pt x="260" y="122"/>
                  </a:lnTo>
                  <a:lnTo>
                    <a:pt x="251" y="122"/>
                  </a:lnTo>
                  <a:lnTo>
                    <a:pt x="238" y="125"/>
                  </a:lnTo>
                  <a:lnTo>
                    <a:pt x="224" y="125"/>
                  </a:lnTo>
                  <a:lnTo>
                    <a:pt x="215" y="125"/>
                  </a:lnTo>
                  <a:lnTo>
                    <a:pt x="201" y="125"/>
                  </a:lnTo>
                  <a:lnTo>
                    <a:pt x="192" y="125"/>
                  </a:lnTo>
                  <a:lnTo>
                    <a:pt x="169" y="125"/>
                  </a:lnTo>
                  <a:lnTo>
                    <a:pt x="151" y="125"/>
                  </a:lnTo>
                  <a:lnTo>
                    <a:pt x="132" y="125"/>
                  </a:lnTo>
                  <a:lnTo>
                    <a:pt x="114" y="125"/>
                  </a:lnTo>
                  <a:lnTo>
                    <a:pt x="96" y="125"/>
                  </a:lnTo>
                  <a:lnTo>
                    <a:pt x="78" y="125"/>
                  </a:lnTo>
                  <a:lnTo>
                    <a:pt x="68" y="125"/>
                  </a:lnTo>
                  <a:lnTo>
                    <a:pt x="55" y="125"/>
                  </a:lnTo>
                  <a:lnTo>
                    <a:pt x="46" y="125"/>
                  </a:lnTo>
                  <a:lnTo>
                    <a:pt x="32" y="125"/>
                  </a:lnTo>
                  <a:lnTo>
                    <a:pt x="14" y="125"/>
                  </a:lnTo>
                  <a:lnTo>
                    <a:pt x="9" y="125"/>
                  </a:lnTo>
                  <a:lnTo>
                    <a:pt x="0" y="125"/>
                  </a:lnTo>
                  <a:lnTo>
                    <a:pt x="9" y="125"/>
                  </a:lnTo>
                  <a:lnTo>
                    <a:pt x="23" y="125"/>
                  </a:lnTo>
                  <a:lnTo>
                    <a:pt x="32" y="125"/>
                  </a:lnTo>
                  <a:lnTo>
                    <a:pt x="46" y="122"/>
                  </a:lnTo>
                  <a:lnTo>
                    <a:pt x="59" y="120"/>
                  </a:lnTo>
                  <a:lnTo>
                    <a:pt x="78" y="120"/>
                  </a:lnTo>
                  <a:lnTo>
                    <a:pt x="96" y="117"/>
                  </a:lnTo>
                  <a:lnTo>
                    <a:pt x="114" y="117"/>
                  </a:lnTo>
                  <a:lnTo>
                    <a:pt x="123" y="117"/>
                  </a:lnTo>
                  <a:lnTo>
                    <a:pt x="137" y="114"/>
                  </a:lnTo>
                  <a:lnTo>
                    <a:pt x="151" y="111"/>
                  </a:lnTo>
                  <a:lnTo>
                    <a:pt x="164" y="111"/>
                  </a:lnTo>
                  <a:lnTo>
                    <a:pt x="174" y="108"/>
                  </a:lnTo>
                  <a:lnTo>
                    <a:pt x="183" y="108"/>
                  </a:lnTo>
                  <a:lnTo>
                    <a:pt x="187" y="108"/>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10" name="Freeform 102"/>
            <p:cNvSpPr>
              <a:spLocks/>
            </p:cNvSpPr>
            <p:nvPr>
              <p:custDataLst>
                <p:tags r:id="rId209"/>
              </p:custDataLst>
            </p:nvPr>
          </p:nvSpPr>
          <p:spPr bwMode="gray">
            <a:xfrm>
              <a:off x="1265" y="1784"/>
              <a:ext cx="1077" cy="162"/>
            </a:xfrm>
            <a:custGeom>
              <a:avLst/>
              <a:gdLst>
                <a:gd name="T0" fmla="*/ 9 w 1051"/>
                <a:gd name="T1" fmla="*/ 9 h 177"/>
                <a:gd name="T2" fmla="*/ 63 w 1051"/>
                <a:gd name="T3" fmla="*/ 7 h 177"/>
                <a:gd name="T4" fmla="*/ 129 w 1051"/>
                <a:gd name="T5" fmla="*/ 6 h 177"/>
                <a:gd name="T6" fmla="*/ 170 w 1051"/>
                <a:gd name="T7" fmla="*/ 5 h 177"/>
                <a:gd name="T8" fmla="*/ 208 w 1051"/>
                <a:gd name="T9" fmla="*/ 5 h 177"/>
                <a:gd name="T10" fmla="*/ 248 w 1051"/>
                <a:gd name="T11" fmla="*/ 5 h 177"/>
                <a:gd name="T12" fmla="*/ 301 w 1051"/>
                <a:gd name="T13" fmla="*/ 5 h 177"/>
                <a:gd name="T14" fmla="*/ 337 w 1051"/>
                <a:gd name="T15" fmla="*/ 5 h 177"/>
                <a:gd name="T16" fmla="*/ 395 w 1051"/>
                <a:gd name="T17" fmla="*/ 5 h 177"/>
                <a:gd name="T18" fmla="*/ 455 w 1051"/>
                <a:gd name="T19" fmla="*/ 3 h 177"/>
                <a:gd name="T20" fmla="*/ 501 w 1051"/>
                <a:gd name="T21" fmla="*/ 0 h 177"/>
                <a:gd name="T22" fmla="*/ 974 w 1051"/>
                <a:gd name="T23" fmla="*/ 14 h 177"/>
                <a:gd name="T24" fmla="*/ 991 w 1051"/>
                <a:gd name="T25" fmla="*/ 14 h 177"/>
                <a:gd name="T26" fmla="*/ 1050 w 1051"/>
                <a:gd name="T27" fmla="*/ 13 h 177"/>
                <a:gd name="T28" fmla="*/ 1089 w 1051"/>
                <a:gd name="T29" fmla="*/ 12 h 177"/>
                <a:gd name="T30" fmla="*/ 1141 w 1051"/>
                <a:gd name="T31" fmla="*/ 11 h 177"/>
                <a:gd name="T32" fmla="*/ 1179 w 1051"/>
                <a:gd name="T33" fmla="*/ 10 h 177"/>
                <a:gd name="T34" fmla="*/ 1242 w 1051"/>
                <a:gd name="T35" fmla="*/ 8 h 177"/>
                <a:gd name="T36" fmla="*/ 1289 w 1051"/>
                <a:gd name="T37" fmla="*/ 6 h 177"/>
                <a:gd name="T38" fmla="*/ 1336 w 1051"/>
                <a:gd name="T39" fmla="*/ 5 h 177"/>
                <a:gd name="T40" fmla="*/ 1372 w 1051"/>
                <a:gd name="T41" fmla="*/ 5 h 177"/>
                <a:gd name="T42" fmla="*/ 1425 w 1051"/>
                <a:gd name="T43" fmla="*/ 5 h 177"/>
                <a:gd name="T44" fmla="*/ 1467 w 1051"/>
                <a:gd name="T45" fmla="*/ 5 h 177"/>
                <a:gd name="T46" fmla="*/ 1502 w 1051"/>
                <a:gd name="T47" fmla="*/ 5 h 177"/>
                <a:gd name="T48" fmla="*/ 1542 w 1051"/>
                <a:gd name="T49" fmla="*/ 5 h 177"/>
                <a:gd name="T50" fmla="*/ 1571 w 1051"/>
                <a:gd name="T51" fmla="*/ 5 h 177"/>
                <a:gd name="T52" fmla="*/ 1631 w 1051"/>
                <a:gd name="T53" fmla="*/ 5 h 177"/>
                <a:gd name="T54" fmla="*/ 1698 w 1051"/>
                <a:gd name="T55" fmla="*/ 7 h 177"/>
                <a:gd name="T56" fmla="*/ 1734 w 1051"/>
                <a:gd name="T57" fmla="*/ 9 h 177"/>
                <a:gd name="T58" fmla="*/ 1776 w 1051"/>
                <a:gd name="T59" fmla="*/ 11 h 177"/>
                <a:gd name="T60" fmla="*/ 1858 w 1051"/>
                <a:gd name="T61" fmla="*/ 13 h 177"/>
                <a:gd name="T62" fmla="*/ 1920 w 1051"/>
                <a:gd name="T63" fmla="*/ 15 h 177"/>
                <a:gd name="T64" fmla="*/ 1958 w 1051"/>
                <a:gd name="T65" fmla="*/ 16 h 177"/>
                <a:gd name="T66" fmla="*/ 1983 w 1051"/>
                <a:gd name="T67" fmla="*/ 16 h 177"/>
                <a:gd name="T68" fmla="*/ 1495 w 1051"/>
                <a:gd name="T69" fmla="*/ 6 h 177"/>
                <a:gd name="T70" fmla="*/ 474 w 1051"/>
                <a:gd name="T71" fmla="*/ 5 h 177"/>
                <a:gd name="T72" fmla="*/ 0 w 1051"/>
                <a:gd name="T73" fmla="*/ 10 h 1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51"/>
                <a:gd name="T112" fmla="*/ 0 h 177"/>
                <a:gd name="T113" fmla="*/ 1051 w 1051"/>
                <a:gd name="T114" fmla="*/ 177 h 17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51" h="177">
                  <a:moveTo>
                    <a:pt x="0" y="91"/>
                  </a:moveTo>
                  <a:lnTo>
                    <a:pt x="9" y="85"/>
                  </a:lnTo>
                  <a:lnTo>
                    <a:pt x="23" y="80"/>
                  </a:lnTo>
                  <a:lnTo>
                    <a:pt x="36" y="74"/>
                  </a:lnTo>
                  <a:lnTo>
                    <a:pt x="55" y="68"/>
                  </a:lnTo>
                  <a:lnTo>
                    <a:pt x="68" y="63"/>
                  </a:lnTo>
                  <a:lnTo>
                    <a:pt x="73" y="60"/>
                  </a:lnTo>
                  <a:lnTo>
                    <a:pt x="91" y="54"/>
                  </a:lnTo>
                  <a:lnTo>
                    <a:pt x="96" y="51"/>
                  </a:lnTo>
                  <a:lnTo>
                    <a:pt x="110" y="48"/>
                  </a:lnTo>
                  <a:lnTo>
                    <a:pt x="123" y="46"/>
                  </a:lnTo>
                  <a:lnTo>
                    <a:pt x="132" y="40"/>
                  </a:lnTo>
                  <a:lnTo>
                    <a:pt x="146" y="37"/>
                  </a:lnTo>
                  <a:lnTo>
                    <a:pt x="160" y="34"/>
                  </a:lnTo>
                  <a:lnTo>
                    <a:pt x="169" y="28"/>
                  </a:lnTo>
                  <a:lnTo>
                    <a:pt x="178" y="26"/>
                  </a:lnTo>
                  <a:lnTo>
                    <a:pt x="192" y="23"/>
                  </a:lnTo>
                  <a:lnTo>
                    <a:pt x="210" y="14"/>
                  </a:lnTo>
                  <a:lnTo>
                    <a:pt x="228" y="8"/>
                  </a:lnTo>
                  <a:lnTo>
                    <a:pt x="242" y="3"/>
                  </a:lnTo>
                  <a:lnTo>
                    <a:pt x="256" y="3"/>
                  </a:lnTo>
                  <a:lnTo>
                    <a:pt x="265" y="0"/>
                  </a:lnTo>
                  <a:lnTo>
                    <a:pt x="516" y="139"/>
                  </a:lnTo>
                  <a:lnTo>
                    <a:pt x="516" y="137"/>
                  </a:lnTo>
                  <a:lnTo>
                    <a:pt x="525" y="134"/>
                  </a:lnTo>
                  <a:lnTo>
                    <a:pt x="539" y="125"/>
                  </a:lnTo>
                  <a:lnTo>
                    <a:pt x="557" y="120"/>
                  </a:lnTo>
                  <a:lnTo>
                    <a:pt x="567" y="114"/>
                  </a:lnTo>
                  <a:lnTo>
                    <a:pt x="576" y="111"/>
                  </a:lnTo>
                  <a:lnTo>
                    <a:pt x="585" y="105"/>
                  </a:lnTo>
                  <a:lnTo>
                    <a:pt x="603" y="100"/>
                  </a:lnTo>
                  <a:lnTo>
                    <a:pt x="612" y="94"/>
                  </a:lnTo>
                  <a:lnTo>
                    <a:pt x="626" y="91"/>
                  </a:lnTo>
                  <a:lnTo>
                    <a:pt x="640" y="85"/>
                  </a:lnTo>
                  <a:lnTo>
                    <a:pt x="658" y="80"/>
                  </a:lnTo>
                  <a:lnTo>
                    <a:pt x="663" y="71"/>
                  </a:lnTo>
                  <a:lnTo>
                    <a:pt x="681" y="68"/>
                  </a:lnTo>
                  <a:lnTo>
                    <a:pt x="695" y="63"/>
                  </a:lnTo>
                  <a:lnTo>
                    <a:pt x="708" y="60"/>
                  </a:lnTo>
                  <a:lnTo>
                    <a:pt x="717" y="51"/>
                  </a:lnTo>
                  <a:lnTo>
                    <a:pt x="727" y="48"/>
                  </a:lnTo>
                  <a:lnTo>
                    <a:pt x="745" y="46"/>
                  </a:lnTo>
                  <a:lnTo>
                    <a:pt x="754" y="40"/>
                  </a:lnTo>
                  <a:lnTo>
                    <a:pt x="763" y="37"/>
                  </a:lnTo>
                  <a:lnTo>
                    <a:pt x="777" y="34"/>
                  </a:lnTo>
                  <a:lnTo>
                    <a:pt x="781" y="28"/>
                  </a:lnTo>
                  <a:lnTo>
                    <a:pt x="795" y="28"/>
                  </a:lnTo>
                  <a:lnTo>
                    <a:pt x="804" y="26"/>
                  </a:lnTo>
                  <a:lnTo>
                    <a:pt x="818" y="26"/>
                  </a:lnTo>
                  <a:lnTo>
                    <a:pt x="818" y="28"/>
                  </a:lnTo>
                  <a:lnTo>
                    <a:pt x="832" y="34"/>
                  </a:lnTo>
                  <a:lnTo>
                    <a:pt x="845" y="40"/>
                  </a:lnTo>
                  <a:lnTo>
                    <a:pt x="864" y="51"/>
                  </a:lnTo>
                  <a:lnTo>
                    <a:pt x="877" y="60"/>
                  </a:lnTo>
                  <a:lnTo>
                    <a:pt x="900" y="71"/>
                  </a:lnTo>
                  <a:lnTo>
                    <a:pt x="909" y="80"/>
                  </a:lnTo>
                  <a:lnTo>
                    <a:pt x="919" y="85"/>
                  </a:lnTo>
                  <a:lnTo>
                    <a:pt x="932" y="91"/>
                  </a:lnTo>
                  <a:lnTo>
                    <a:pt x="941" y="100"/>
                  </a:lnTo>
                  <a:lnTo>
                    <a:pt x="964" y="111"/>
                  </a:lnTo>
                  <a:lnTo>
                    <a:pt x="983" y="122"/>
                  </a:lnTo>
                  <a:lnTo>
                    <a:pt x="1001" y="134"/>
                  </a:lnTo>
                  <a:lnTo>
                    <a:pt x="1019" y="142"/>
                  </a:lnTo>
                  <a:lnTo>
                    <a:pt x="1028" y="151"/>
                  </a:lnTo>
                  <a:lnTo>
                    <a:pt x="1037" y="157"/>
                  </a:lnTo>
                  <a:lnTo>
                    <a:pt x="1051" y="162"/>
                  </a:lnTo>
                  <a:lnTo>
                    <a:pt x="992" y="171"/>
                  </a:lnTo>
                  <a:lnTo>
                    <a:pt x="791" y="63"/>
                  </a:lnTo>
                  <a:lnTo>
                    <a:pt x="489" y="177"/>
                  </a:lnTo>
                  <a:lnTo>
                    <a:pt x="251" y="40"/>
                  </a:lnTo>
                  <a:lnTo>
                    <a:pt x="0" y="91"/>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11" name="Freeform 103"/>
            <p:cNvSpPr>
              <a:spLocks/>
            </p:cNvSpPr>
            <p:nvPr>
              <p:custDataLst>
                <p:tags r:id="rId210"/>
              </p:custDataLst>
            </p:nvPr>
          </p:nvSpPr>
          <p:spPr bwMode="gray">
            <a:xfrm>
              <a:off x="3448" y="1776"/>
              <a:ext cx="890" cy="193"/>
            </a:xfrm>
            <a:custGeom>
              <a:avLst/>
              <a:gdLst>
                <a:gd name="T0" fmla="*/ 13 w 868"/>
                <a:gd name="T1" fmla="*/ 14 h 211"/>
                <a:gd name="T2" fmla="*/ 74 w 868"/>
                <a:gd name="T3" fmla="*/ 12 h 211"/>
                <a:gd name="T4" fmla="*/ 124 w 868"/>
                <a:gd name="T5" fmla="*/ 10 h 211"/>
                <a:gd name="T6" fmla="*/ 173 w 868"/>
                <a:gd name="T7" fmla="*/ 7 h 211"/>
                <a:gd name="T8" fmla="*/ 209 w 868"/>
                <a:gd name="T9" fmla="*/ 5 h 211"/>
                <a:gd name="T10" fmla="*/ 251 w 868"/>
                <a:gd name="T11" fmla="*/ 5 h 211"/>
                <a:gd name="T12" fmla="*/ 305 w 868"/>
                <a:gd name="T13" fmla="*/ 5 h 211"/>
                <a:gd name="T14" fmla="*/ 342 w 868"/>
                <a:gd name="T15" fmla="*/ 5 h 211"/>
                <a:gd name="T16" fmla="*/ 385 w 868"/>
                <a:gd name="T17" fmla="*/ 5 h 211"/>
                <a:gd name="T18" fmla="*/ 448 w 868"/>
                <a:gd name="T19" fmla="*/ 5 h 211"/>
                <a:gd name="T20" fmla="*/ 509 w 868"/>
                <a:gd name="T21" fmla="*/ 8 h 211"/>
                <a:gd name="T22" fmla="*/ 585 w 868"/>
                <a:gd name="T23" fmla="*/ 11 h 211"/>
                <a:gd name="T24" fmla="*/ 656 w 868"/>
                <a:gd name="T25" fmla="*/ 13 h 211"/>
                <a:gd name="T26" fmla="*/ 697 w 868"/>
                <a:gd name="T27" fmla="*/ 15 h 211"/>
                <a:gd name="T28" fmla="*/ 743 w 868"/>
                <a:gd name="T29" fmla="*/ 15 h 211"/>
                <a:gd name="T30" fmla="*/ 752 w 868"/>
                <a:gd name="T31" fmla="*/ 15 h 211"/>
                <a:gd name="T32" fmla="*/ 779 w 868"/>
                <a:gd name="T33" fmla="*/ 13 h 211"/>
                <a:gd name="T34" fmla="*/ 832 w 868"/>
                <a:gd name="T35" fmla="*/ 11 h 211"/>
                <a:gd name="T36" fmla="*/ 876 w 868"/>
                <a:gd name="T37" fmla="*/ 9 h 211"/>
                <a:gd name="T38" fmla="*/ 903 w 868"/>
                <a:gd name="T39" fmla="*/ 7 h 211"/>
                <a:gd name="T40" fmla="*/ 937 w 868"/>
                <a:gd name="T41" fmla="*/ 5 h 211"/>
                <a:gd name="T42" fmla="*/ 954 w 868"/>
                <a:gd name="T43" fmla="*/ 5 h 211"/>
                <a:gd name="T44" fmla="*/ 1005 w 868"/>
                <a:gd name="T45" fmla="*/ 5 h 211"/>
                <a:gd name="T46" fmla="*/ 1050 w 868"/>
                <a:gd name="T47" fmla="*/ 5 h 211"/>
                <a:gd name="T48" fmla="*/ 1083 w 868"/>
                <a:gd name="T49" fmla="*/ 0 h 211"/>
                <a:gd name="T50" fmla="*/ 1110 w 868"/>
                <a:gd name="T51" fmla="*/ 3 h 211"/>
                <a:gd name="T52" fmla="*/ 1147 w 868"/>
                <a:gd name="T53" fmla="*/ 5 h 211"/>
                <a:gd name="T54" fmla="*/ 1190 w 868"/>
                <a:gd name="T55" fmla="*/ 5 h 211"/>
                <a:gd name="T56" fmla="*/ 1224 w 868"/>
                <a:gd name="T57" fmla="*/ 5 h 211"/>
                <a:gd name="T58" fmla="*/ 1280 w 868"/>
                <a:gd name="T59" fmla="*/ 5 h 211"/>
                <a:gd name="T60" fmla="*/ 1321 w 868"/>
                <a:gd name="T61" fmla="*/ 5 h 211"/>
                <a:gd name="T62" fmla="*/ 1367 w 868"/>
                <a:gd name="T63" fmla="*/ 5 h 211"/>
                <a:gd name="T64" fmla="*/ 1426 w 868"/>
                <a:gd name="T65" fmla="*/ 7 h 211"/>
                <a:gd name="T66" fmla="*/ 1469 w 868"/>
                <a:gd name="T67" fmla="*/ 9 h 211"/>
                <a:gd name="T68" fmla="*/ 1515 w 868"/>
                <a:gd name="T69" fmla="*/ 10 h 211"/>
                <a:gd name="T70" fmla="*/ 1561 w 868"/>
                <a:gd name="T71" fmla="*/ 12 h 211"/>
                <a:gd name="T72" fmla="*/ 1612 w 868"/>
                <a:gd name="T73" fmla="*/ 13 h 211"/>
                <a:gd name="T74" fmla="*/ 1654 w 868"/>
                <a:gd name="T75" fmla="*/ 14 h 211"/>
                <a:gd name="T76" fmla="*/ 1447 w 868"/>
                <a:gd name="T77" fmla="*/ 15 h 211"/>
                <a:gd name="T78" fmla="*/ 1110 w 868"/>
                <a:gd name="T79" fmla="*/ 5 h 211"/>
                <a:gd name="T80" fmla="*/ 1083 w 868"/>
                <a:gd name="T81" fmla="*/ 5 h 211"/>
                <a:gd name="T82" fmla="*/ 1069 w 868"/>
                <a:gd name="T83" fmla="*/ 7 h 211"/>
                <a:gd name="T84" fmla="*/ 1043 w 868"/>
                <a:gd name="T85" fmla="*/ 9 h 211"/>
                <a:gd name="T86" fmla="*/ 1005 w 868"/>
                <a:gd name="T87" fmla="*/ 11 h 211"/>
                <a:gd name="T88" fmla="*/ 963 w 868"/>
                <a:gd name="T89" fmla="*/ 12 h 211"/>
                <a:gd name="T90" fmla="*/ 928 w 868"/>
                <a:gd name="T91" fmla="*/ 14 h 211"/>
                <a:gd name="T92" fmla="*/ 893 w 868"/>
                <a:gd name="T93" fmla="*/ 15 h 211"/>
                <a:gd name="T94" fmla="*/ 849 w 868"/>
                <a:gd name="T95" fmla="*/ 16 h 211"/>
                <a:gd name="T96" fmla="*/ 804 w 868"/>
                <a:gd name="T97" fmla="*/ 17 h 211"/>
                <a:gd name="T98" fmla="*/ 770 w 868"/>
                <a:gd name="T99" fmla="*/ 19 h 211"/>
                <a:gd name="T100" fmla="*/ 734 w 868"/>
                <a:gd name="T101" fmla="*/ 21 h 211"/>
                <a:gd name="T102" fmla="*/ 697 w 868"/>
                <a:gd name="T103" fmla="*/ 21 h 211"/>
                <a:gd name="T104" fmla="*/ 680 w 868"/>
                <a:gd name="T105" fmla="*/ 19 h 211"/>
                <a:gd name="T106" fmla="*/ 639 w 868"/>
                <a:gd name="T107" fmla="*/ 17 h 211"/>
                <a:gd name="T108" fmla="*/ 585 w 868"/>
                <a:gd name="T109" fmla="*/ 16 h 211"/>
                <a:gd name="T110" fmla="*/ 509 w 868"/>
                <a:gd name="T111" fmla="*/ 14 h 211"/>
                <a:gd name="T112" fmla="*/ 483 w 868"/>
                <a:gd name="T113" fmla="*/ 13 h 211"/>
                <a:gd name="T114" fmla="*/ 448 w 868"/>
                <a:gd name="T115" fmla="*/ 12 h 211"/>
                <a:gd name="T116" fmla="*/ 385 w 868"/>
                <a:gd name="T117" fmla="*/ 9 h 211"/>
                <a:gd name="T118" fmla="*/ 349 w 868"/>
                <a:gd name="T119" fmla="*/ 7 h 211"/>
                <a:gd name="T120" fmla="*/ 0 w 868"/>
                <a:gd name="T121" fmla="*/ 14 h 21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68"/>
                <a:gd name="T184" fmla="*/ 0 h 211"/>
                <a:gd name="T185" fmla="*/ 868 w 868"/>
                <a:gd name="T186" fmla="*/ 211 h 21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68" h="211">
                  <a:moveTo>
                    <a:pt x="0" y="140"/>
                  </a:moveTo>
                  <a:lnTo>
                    <a:pt x="13" y="131"/>
                  </a:lnTo>
                  <a:lnTo>
                    <a:pt x="27" y="123"/>
                  </a:lnTo>
                  <a:lnTo>
                    <a:pt x="41" y="111"/>
                  </a:lnTo>
                  <a:lnTo>
                    <a:pt x="54" y="103"/>
                  </a:lnTo>
                  <a:lnTo>
                    <a:pt x="64" y="92"/>
                  </a:lnTo>
                  <a:lnTo>
                    <a:pt x="77" y="83"/>
                  </a:lnTo>
                  <a:lnTo>
                    <a:pt x="91" y="74"/>
                  </a:lnTo>
                  <a:lnTo>
                    <a:pt x="105" y="66"/>
                  </a:lnTo>
                  <a:lnTo>
                    <a:pt x="109" y="57"/>
                  </a:lnTo>
                  <a:lnTo>
                    <a:pt x="123" y="49"/>
                  </a:lnTo>
                  <a:lnTo>
                    <a:pt x="132" y="43"/>
                  </a:lnTo>
                  <a:lnTo>
                    <a:pt x="146" y="37"/>
                  </a:lnTo>
                  <a:lnTo>
                    <a:pt x="160" y="29"/>
                  </a:lnTo>
                  <a:lnTo>
                    <a:pt x="173" y="26"/>
                  </a:lnTo>
                  <a:lnTo>
                    <a:pt x="178" y="29"/>
                  </a:lnTo>
                  <a:lnTo>
                    <a:pt x="187" y="35"/>
                  </a:lnTo>
                  <a:lnTo>
                    <a:pt x="201" y="37"/>
                  </a:lnTo>
                  <a:lnTo>
                    <a:pt x="214" y="49"/>
                  </a:lnTo>
                  <a:lnTo>
                    <a:pt x="233" y="57"/>
                  </a:lnTo>
                  <a:lnTo>
                    <a:pt x="251" y="69"/>
                  </a:lnTo>
                  <a:lnTo>
                    <a:pt x="265" y="80"/>
                  </a:lnTo>
                  <a:lnTo>
                    <a:pt x="288" y="94"/>
                  </a:lnTo>
                  <a:lnTo>
                    <a:pt x="306" y="103"/>
                  </a:lnTo>
                  <a:lnTo>
                    <a:pt x="324" y="114"/>
                  </a:lnTo>
                  <a:lnTo>
                    <a:pt x="342" y="126"/>
                  </a:lnTo>
                  <a:lnTo>
                    <a:pt x="356" y="134"/>
                  </a:lnTo>
                  <a:lnTo>
                    <a:pt x="365" y="143"/>
                  </a:lnTo>
                  <a:lnTo>
                    <a:pt x="379" y="146"/>
                  </a:lnTo>
                  <a:lnTo>
                    <a:pt x="388" y="148"/>
                  </a:lnTo>
                  <a:lnTo>
                    <a:pt x="393" y="148"/>
                  </a:lnTo>
                  <a:lnTo>
                    <a:pt x="393" y="143"/>
                  </a:lnTo>
                  <a:lnTo>
                    <a:pt x="402" y="134"/>
                  </a:lnTo>
                  <a:lnTo>
                    <a:pt x="406" y="126"/>
                  </a:lnTo>
                  <a:lnTo>
                    <a:pt x="420" y="114"/>
                  </a:lnTo>
                  <a:lnTo>
                    <a:pt x="434" y="103"/>
                  </a:lnTo>
                  <a:lnTo>
                    <a:pt x="447" y="92"/>
                  </a:lnTo>
                  <a:lnTo>
                    <a:pt x="457" y="86"/>
                  </a:lnTo>
                  <a:lnTo>
                    <a:pt x="466" y="80"/>
                  </a:lnTo>
                  <a:lnTo>
                    <a:pt x="470" y="72"/>
                  </a:lnTo>
                  <a:lnTo>
                    <a:pt x="479" y="69"/>
                  </a:lnTo>
                  <a:lnTo>
                    <a:pt x="489" y="60"/>
                  </a:lnTo>
                  <a:lnTo>
                    <a:pt x="493" y="55"/>
                  </a:lnTo>
                  <a:lnTo>
                    <a:pt x="498" y="46"/>
                  </a:lnTo>
                  <a:lnTo>
                    <a:pt x="507" y="40"/>
                  </a:lnTo>
                  <a:lnTo>
                    <a:pt x="525" y="29"/>
                  </a:lnTo>
                  <a:lnTo>
                    <a:pt x="539" y="20"/>
                  </a:lnTo>
                  <a:lnTo>
                    <a:pt x="548" y="12"/>
                  </a:lnTo>
                  <a:lnTo>
                    <a:pt x="562" y="3"/>
                  </a:lnTo>
                  <a:lnTo>
                    <a:pt x="566" y="0"/>
                  </a:lnTo>
                  <a:lnTo>
                    <a:pt x="580" y="0"/>
                  </a:lnTo>
                  <a:lnTo>
                    <a:pt x="580" y="3"/>
                  </a:lnTo>
                  <a:lnTo>
                    <a:pt x="594" y="6"/>
                  </a:lnTo>
                  <a:lnTo>
                    <a:pt x="598" y="9"/>
                  </a:lnTo>
                  <a:lnTo>
                    <a:pt x="612" y="12"/>
                  </a:lnTo>
                  <a:lnTo>
                    <a:pt x="621" y="17"/>
                  </a:lnTo>
                  <a:lnTo>
                    <a:pt x="630" y="23"/>
                  </a:lnTo>
                  <a:lnTo>
                    <a:pt x="639" y="26"/>
                  </a:lnTo>
                  <a:lnTo>
                    <a:pt x="653" y="32"/>
                  </a:lnTo>
                  <a:lnTo>
                    <a:pt x="667" y="37"/>
                  </a:lnTo>
                  <a:lnTo>
                    <a:pt x="676" y="43"/>
                  </a:lnTo>
                  <a:lnTo>
                    <a:pt x="690" y="49"/>
                  </a:lnTo>
                  <a:lnTo>
                    <a:pt x="703" y="57"/>
                  </a:lnTo>
                  <a:lnTo>
                    <a:pt x="713" y="60"/>
                  </a:lnTo>
                  <a:lnTo>
                    <a:pt x="731" y="69"/>
                  </a:lnTo>
                  <a:lnTo>
                    <a:pt x="745" y="74"/>
                  </a:lnTo>
                  <a:lnTo>
                    <a:pt x="754" y="80"/>
                  </a:lnTo>
                  <a:lnTo>
                    <a:pt x="767" y="86"/>
                  </a:lnTo>
                  <a:lnTo>
                    <a:pt x="781" y="92"/>
                  </a:lnTo>
                  <a:lnTo>
                    <a:pt x="790" y="97"/>
                  </a:lnTo>
                  <a:lnTo>
                    <a:pt x="799" y="103"/>
                  </a:lnTo>
                  <a:lnTo>
                    <a:pt x="813" y="109"/>
                  </a:lnTo>
                  <a:lnTo>
                    <a:pt x="822" y="114"/>
                  </a:lnTo>
                  <a:lnTo>
                    <a:pt x="841" y="123"/>
                  </a:lnTo>
                  <a:lnTo>
                    <a:pt x="854" y="131"/>
                  </a:lnTo>
                  <a:lnTo>
                    <a:pt x="863" y="134"/>
                  </a:lnTo>
                  <a:lnTo>
                    <a:pt x="868" y="134"/>
                  </a:lnTo>
                  <a:lnTo>
                    <a:pt x="754" y="143"/>
                  </a:lnTo>
                  <a:lnTo>
                    <a:pt x="585" y="52"/>
                  </a:lnTo>
                  <a:lnTo>
                    <a:pt x="580" y="55"/>
                  </a:lnTo>
                  <a:lnTo>
                    <a:pt x="575" y="57"/>
                  </a:lnTo>
                  <a:lnTo>
                    <a:pt x="566" y="60"/>
                  </a:lnTo>
                  <a:lnTo>
                    <a:pt x="562" y="69"/>
                  </a:lnTo>
                  <a:lnTo>
                    <a:pt x="557" y="72"/>
                  </a:lnTo>
                  <a:lnTo>
                    <a:pt x="548" y="80"/>
                  </a:lnTo>
                  <a:lnTo>
                    <a:pt x="543" y="86"/>
                  </a:lnTo>
                  <a:lnTo>
                    <a:pt x="530" y="92"/>
                  </a:lnTo>
                  <a:lnTo>
                    <a:pt x="525" y="100"/>
                  </a:lnTo>
                  <a:lnTo>
                    <a:pt x="511" y="109"/>
                  </a:lnTo>
                  <a:lnTo>
                    <a:pt x="502" y="114"/>
                  </a:lnTo>
                  <a:lnTo>
                    <a:pt x="489" y="123"/>
                  </a:lnTo>
                  <a:lnTo>
                    <a:pt x="484" y="131"/>
                  </a:lnTo>
                  <a:lnTo>
                    <a:pt x="475" y="137"/>
                  </a:lnTo>
                  <a:lnTo>
                    <a:pt x="466" y="146"/>
                  </a:lnTo>
                  <a:lnTo>
                    <a:pt x="452" y="154"/>
                  </a:lnTo>
                  <a:lnTo>
                    <a:pt x="443" y="160"/>
                  </a:lnTo>
                  <a:lnTo>
                    <a:pt x="434" y="168"/>
                  </a:lnTo>
                  <a:lnTo>
                    <a:pt x="420" y="174"/>
                  </a:lnTo>
                  <a:lnTo>
                    <a:pt x="415" y="183"/>
                  </a:lnTo>
                  <a:lnTo>
                    <a:pt x="402" y="186"/>
                  </a:lnTo>
                  <a:lnTo>
                    <a:pt x="402" y="194"/>
                  </a:lnTo>
                  <a:lnTo>
                    <a:pt x="384" y="205"/>
                  </a:lnTo>
                  <a:lnTo>
                    <a:pt x="374" y="208"/>
                  </a:lnTo>
                  <a:lnTo>
                    <a:pt x="365" y="211"/>
                  </a:lnTo>
                  <a:lnTo>
                    <a:pt x="365" y="205"/>
                  </a:lnTo>
                  <a:lnTo>
                    <a:pt x="356" y="197"/>
                  </a:lnTo>
                  <a:lnTo>
                    <a:pt x="347" y="191"/>
                  </a:lnTo>
                  <a:lnTo>
                    <a:pt x="333" y="180"/>
                  </a:lnTo>
                  <a:lnTo>
                    <a:pt x="320" y="168"/>
                  </a:lnTo>
                  <a:lnTo>
                    <a:pt x="306" y="157"/>
                  </a:lnTo>
                  <a:lnTo>
                    <a:pt x="288" y="143"/>
                  </a:lnTo>
                  <a:lnTo>
                    <a:pt x="265" y="134"/>
                  </a:lnTo>
                  <a:lnTo>
                    <a:pt x="256" y="126"/>
                  </a:lnTo>
                  <a:lnTo>
                    <a:pt x="251" y="120"/>
                  </a:lnTo>
                  <a:lnTo>
                    <a:pt x="237" y="114"/>
                  </a:lnTo>
                  <a:lnTo>
                    <a:pt x="233" y="109"/>
                  </a:lnTo>
                  <a:lnTo>
                    <a:pt x="214" y="97"/>
                  </a:lnTo>
                  <a:lnTo>
                    <a:pt x="201" y="89"/>
                  </a:lnTo>
                  <a:lnTo>
                    <a:pt x="187" y="80"/>
                  </a:lnTo>
                  <a:lnTo>
                    <a:pt x="182" y="74"/>
                  </a:lnTo>
                  <a:lnTo>
                    <a:pt x="173" y="69"/>
                  </a:lnTo>
                  <a:lnTo>
                    <a:pt x="0" y="14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312" name="Freeform 104"/>
            <p:cNvSpPr>
              <a:spLocks/>
            </p:cNvSpPr>
            <p:nvPr>
              <p:custDataLst>
                <p:tags r:id="rId211"/>
              </p:custDataLst>
            </p:nvPr>
          </p:nvSpPr>
          <p:spPr bwMode="gray">
            <a:xfrm>
              <a:off x="2468" y="1772"/>
              <a:ext cx="980" cy="129"/>
            </a:xfrm>
            <a:custGeom>
              <a:avLst/>
              <a:gdLst>
                <a:gd name="T0" fmla="*/ 66 w 956"/>
                <a:gd name="T1" fmla="*/ 8 h 142"/>
                <a:gd name="T2" fmla="*/ 131 w 956"/>
                <a:gd name="T3" fmla="*/ 6 h 142"/>
                <a:gd name="T4" fmla="*/ 195 w 956"/>
                <a:gd name="T5" fmla="*/ 5 h 142"/>
                <a:gd name="T6" fmla="*/ 252 w 956"/>
                <a:gd name="T7" fmla="*/ 5 h 142"/>
                <a:gd name="T8" fmla="*/ 323 w 956"/>
                <a:gd name="T9" fmla="*/ 5 h 142"/>
                <a:gd name="T10" fmla="*/ 401 w 956"/>
                <a:gd name="T11" fmla="*/ 5 h 142"/>
                <a:gd name="T12" fmla="*/ 471 w 956"/>
                <a:gd name="T13" fmla="*/ 5 h 142"/>
                <a:gd name="T14" fmla="*/ 547 w 956"/>
                <a:gd name="T15" fmla="*/ 5 h 142"/>
                <a:gd name="T16" fmla="*/ 635 w 956"/>
                <a:gd name="T17" fmla="*/ 5 h 142"/>
                <a:gd name="T18" fmla="*/ 713 w 956"/>
                <a:gd name="T19" fmla="*/ 5 h 142"/>
                <a:gd name="T20" fmla="*/ 804 w 956"/>
                <a:gd name="T21" fmla="*/ 5 h 142"/>
                <a:gd name="T22" fmla="*/ 883 w 956"/>
                <a:gd name="T23" fmla="*/ 3 h 142"/>
                <a:gd name="T24" fmla="*/ 953 w 956"/>
                <a:gd name="T25" fmla="*/ 3 h 142"/>
                <a:gd name="T26" fmla="*/ 1035 w 956"/>
                <a:gd name="T27" fmla="*/ 0 h 142"/>
                <a:gd name="T28" fmla="*/ 1113 w 956"/>
                <a:gd name="T29" fmla="*/ 0 h 142"/>
                <a:gd name="T30" fmla="*/ 1187 w 956"/>
                <a:gd name="T31" fmla="*/ 3 h 142"/>
                <a:gd name="T32" fmla="*/ 1248 w 956"/>
                <a:gd name="T33" fmla="*/ 3 h 142"/>
                <a:gd name="T34" fmla="*/ 1316 w 956"/>
                <a:gd name="T35" fmla="*/ 5 h 142"/>
                <a:gd name="T36" fmla="*/ 1399 w 956"/>
                <a:gd name="T37" fmla="*/ 5 h 142"/>
                <a:gd name="T38" fmla="*/ 1470 w 956"/>
                <a:gd name="T39" fmla="*/ 5 h 142"/>
                <a:gd name="T40" fmla="*/ 1541 w 956"/>
                <a:gd name="T41" fmla="*/ 5 h 142"/>
                <a:gd name="T42" fmla="*/ 1614 w 956"/>
                <a:gd name="T43" fmla="*/ 5 h 142"/>
                <a:gd name="T44" fmla="*/ 1690 w 956"/>
                <a:gd name="T45" fmla="*/ 5 h 142"/>
                <a:gd name="T46" fmla="*/ 1765 w 956"/>
                <a:gd name="T47" fmla="*/ 6 h 142"/>
                <a:gd name="T48" fmla="*/ 1809 w 956"/>
                <a:gd name="T49" fmla="*/ 8 h 142"/>
                <a:gd name="T50" fmla="*/ 1809 w 956"/>
                <a:gd name="T51" fmla="*/ 8 h 142"/>
                <a:gd name="T52" fmla="*/ 1744 w 956"/>
                <a:gd name="T53" fmla="*/ 7 h 142"/>
                <a:gd name="T54" fmla="*/ 1673 w 956"/>
                <a:gd name="T55" fmla="*/ 5 h 142"/>
                <a:gd name="T56" fmla="*/ 1596 w 956"/>
                <a:gd name="T57" fmla="*/ 5 h 142"/>
                <a:gd name="T58" fmla="*/ 1505 w 956"/>
                <a:gd name="T59" fmla="*/ 5 h 142"/>
                <a:gd name="T60" fmla="*/ 1399 w 956"/>
                <a:gd name="T61" fmla="*/ 5 h 142"/>
                <a:gd name="T62" fmla="*/ 1290 w 956"/>
                <a:gd name="T63" fmla="*/ 5 h 142"/>
                <a:gd name="T64" fmla="*/ 1212 w 956"/>
                <a:gd name="T65" fmla="*/ 5 h 142"/>
                <a:gd name="T66" fmla="*/ 1152 w 956"/>
                <a:gd name="T67" fmla="*/ 5 h 142"/>
                <a:gd name="T68" fmla="*/ 1088 w 956"/>
                <a:gd name="T69" fmla="*/ 5 h 142"/>
                <a:gd name="T70" fmla="*/ 1030 w 956"/>
                <a:gd name="T71" fmla="*/ 5 h 142"/>
                <a:gd name="T72" fmla="*/ 968 w 956"/>
                <a:gd name="T73" fmla="*/ 5 h 142"/>
                <a:gd name="T74" fmla="*/ 896 w 956"/>
                <a:gd name="T75" fmla="*/ 5 h 142"/>
                <a:gd name="T76" fmla="*/ 827 w 956"/>
                <a:gd name="T77" fmla="*/ 5 h 142"/>
                <a:gd name="T78" fmla="*/ 757 w 956"/>
                <a:gd name="T79" fmla="*/ 5 h 142"/>
                <a:gd name="T80" fmla="*/ 696 w 956"/>
                <a:gd name="T81" fmla="*/ 5 h 142"/>
                <a:gd name="T82" fmla="*/ 628 w 956"/>
                <a:gd name="T83" fmla="*/ 5 h 142"/>
                <a:gd name="T84" fmla="*/ 568 w 956"/>
                <a:gd name="T85" fmla="*/ 5 h 142"/>
                <a:gd name="T86" fmla="*/ 507 w 956"/>
                <a:gd name="T87" fmla="*/ 5 h 142"/>
                <a:gd name="T88" fmla="*/ 437 w 956"/>
                <a:gd name="T89" fmla="*/ 5 h 142"/>
                <a:gd name="T90" fmla="*/ 359 w 956"/>
                <a:gd name="T91" fmla="*/ 6 h 142"/>
                <a:gd name="T92" fmla="*/ 263 w 956"/>
                <a:gd name="T93" fmla="*/ 8 h 142"/>
                <a:gd name="T94" fmla="*/ 164 w 956"/>
                <a:gd name="T95" fmla="*/ 10 h 142"/>
                <a:gd name="T96" fmla="*/ 84 w 956"/>
                <a:gd name="T97" fmla="*/ 11 h 142"/>
                <a:gd name="T98" fmla="*/ 0 w 956"/>
                <a:gd name="T99" fmla="*/ 12 h 142"/>
                <a:gd name="T100" fmla="*/ 5 w 956"/>
                <a:gd name="T101" fmla="*/ 11 h 142"/>
                <a:gd name="T102" fmla="*/ 5 w 956"/>
                <a:gd name="T103" fmla="*/ 10 h 14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56"/>
                <a:gd name="T157" fmla="*/ 0 h 142"/>
                <a:gd name="T158" fmla="*/ 956 w 956"/>
                <a:gd name="T159" fmla="*/ 142 h 14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56" h="142">
                  <a:moveTo>
                    <a:pt x="5" y="119"/>
                  </a:moveTo>
                  <a:lnTo>
                    <a:pt x="19" y="108"/>
                  </a:lnTo>
                  <a:lnTo>
                    <a:pt x="37" y="97"/>
                  </a:lnTo>
                  <a:lnTo>
                    <a:pt x="46" y="91"/>
                  </a:lnTo>
                  <a:lnTo>
                    <a:pt x="55" y="85"/>
                  </a:lnTo>
                  <a:lnTo>
                    <a:pt x="69" y="79"/>
                  </a:lnTo>
                  <a:lnTo>
                    <a:pt x="78" y="77"/>
                  </a:lnTo>
                  <a:lnTo>
                    <a:pt x="87" y="74"/>
                  </a:lnTo>
                  <a:lnTo>
                    <a:pt x="101" y="68"/>
                  </a:lnTo>
                  <a:lnTo>
                    <a:pt x="110" y="62"/>
                  </a:lnTo>
                  <a:lnTo>
                    <a:pt x="119" y="60"/>
                  </a:lnTo>
                  <a:lnTo>
                    <a:pt x="133" y="57"/>
                  </a:lnTo>
                  <a:lnTo>
                    <a:pt x="147" y="51"/>
                  </a:lnTo>
                  <a:lnTo>
                    <a:pt x="156" y="51"/>
                  </a:lnTo>
                  <a:lnTo>
                    <a:pt x="170" y="45"/>
                  </a:lnTo>
                  <a:lnTo>
                    <a:pt x="183" y="42"/>
                  </a:lnTo>
                  <a:lnTo>
                    <a:pt x="192" y="40"/>
                  </a:lnTo>
                  <a:lnTo>
                    <a:pt x="211" y="37"/>
                  </a:lnTo>
                  <a:lnTo>
                    <a:pt x="224" y="31"/>
                  </a:lnTo>
                  <a:lnTo>
                    <a:pt x="234" y="31"/>
                  </a:lnTo>
                  <a:lnTo>
                    <a:pt x="247" y="28"/>
                  </a:lnTo>
                  <a:lnTo>
                    <a:pt x="261" y="25"/>
                  </a:lnTo>
                  <a:lnTo>
                    <a:pt x="279" y="22"/>
                  </a:lnTo>
                  <a:lnTo>
                    <a:pt x="288" y="20"/>
                  </a:lnTo>
                  <a:lnTo>
                    <a:pt x="307" y="20"/>
                  </a:lnTo>
                  <a:lnTo>
                    <a:pt x="320" y="17"/>
                  </a:lnTo>
                  <a:lnTo>
                    <a:pt x="334" y="17"/>
                  </a:lnTo>
                  <a:lnTo>
                    <a:pt x="343" y="14"/>
                  </a:lnTo>
                  <a:lnTo>
                    <a:pt x="361" y="11"/>
                  </a:lnTo>
                  <a:lnTo>
                    <a:pt x="375" y="8"/>
                  </a:lnTo>
                  <a:lnTo>
                    <a:pt x="393" y="8"/>
                  </a:lnTo>
                  <a:lnTo>
                    <a:pt x="403" y="8"/>
                  </a:lnTo>
                  <a:lnTo>
                    <a:pt x="421" y="5"/>
                  </a:lnTo>
                  <a:lnTo>
                    <a:pt x="430" y="5"/>
                  </a:lnTo>
                  <a:lnTo>
                    <a:pt x="448" y="5"/>
                  </a:lnTo>
                  <a:lnTo>
                    <a:pt x="462" y="3"/>
                  </a:lnTo>
                  <a:lnTo>
                    <a:pt x="476" y="3"/>
                  </a:lnTo>
                  <a:lnTo>
                    <a:pt x="489" y="3"/>
                  </a:lnTo>
                  <a:lnTo>
                    <a:pt x="499" y="3"/>
                  </a:lnTo>
                  <a:lnTo>
                    <a:pt x="517" y="0"/>
                  </a:lnTo>
                  <a:lnTo>
                    <a:pt x="531" y="0"/>
                  </a:lnTo>
                  <a:lnTo>
                    <a:pt x="544" y="0"/>
                  </a:lnTo>
                  <a:lnTo>
                    <a:pt x="553" y="0"/>
                  </a:lnTo>
                  <a:lnTo>
                    <a:pt x="567" y="0"/>
                  </a:lnTo>
                  <a:lnTo>
                    <a:pt x="585" y="0"/>
                  </a:lnTo>
                  <a:lnTo>
                    <a:pt x="595" y="0"/>
                  </a:lnTo>
                  <a:lnTo>
                    <a:pt x="608" y="3"/>
                  </a:lnTo>
                  <a:lnTo>
                    <a:pt x="622" y="3"/>
                  </a:lnTo>
                  <a:lnTo>
                    <a:pt x="631" y="3"/>
                  </a:lnTo>
                  <a:lnTo>
                    <a:pt x="645" y="3"/>
                  </a:lnTo>
                  <a:lnTo>
                    <a:pt x="654" y="3"/>
                  </a:lnTo>
                  <a:lnTo>
                    <a:pt x="668" y="3"/>
                  </a:lnTo>
                  <a:lnTo>
                    <a:pt x="677" y="3"/>
                  </a:lnTo>
                  <a:lnTo>
                    <a:pt x="691" y="5"/>
                  </a:lnTo>
                  <a:lnTo>
                    <a:pt x="700" y="5"/>
                  </a:lnTo>
                  <a:lnTo>
                    <a:pt x="718" y="8"/>
                  </a:lnTo>
                  <a:lnTo>
                    <a:pt x="736" y="8"/>
                  </a:lnTo>
                  <a:lnTo>
                    <a:pt x="750" y="14"/>
                  </a:lnTo>
                  <a:lnTo>
                    <a:pt x="764" y="17"/>
                  </a:lnTo>
                  <a:lnTo>
                    <a:pt x="773" y="20"/>
                  </a:lnTo>
                  <a:lnTo>
                    <a:pt x="791" y="22"/>
                  </a:lnTo>
                  <a:lnTo>
                    <a:pt x="800" y="25"/>
                  </a:lnTo>
                  <a:lnTo>
                    <a:pt x="809" y="31"/>
                  </a:lnTo>
                  <a:lnTo>
                    <a:pt x="823" y="31"/>
                  </a:lnTo>
                  <a:lnTo>
                    <a:pt x="837" y="37"/>
                  </a:lnTo>
                  <a:lnTo>
                    <a:pt x="846" y="40"/>
                  </a:lnTo>
                  <a:lnTo>
                    <a:pt x="855" y="42"/>
                  </a:lnTo>
                  <a:lnTo>
                    <a:pt x="873" y="51"/>
                  </a:lnTo>
                  <a:lnTo>
                    <a:pt x="887" y="60"/>
                  </a:lnTo>
                  <a:lnTo>
                    <a:pt x="905" y="65"/>
                  </a:lnTo>
                  <a:lnTo>
                    <a:pt x="919" y="74"/>
                  </a:lnTo>
                  <a:lnTo>
                    <a:pt x="928" y="77"/>
                  </a:lnTo>
                  <a:lnTo>
                    <a:pt x="937" y="85"/>
                  </a:lnTo>
                  <a:lnTo>
                    <a:pt x="946" y="88"/>
                  </a:lnTo>
                  <a:lnTo>
                    <a:pt x="951" y="94"/>
                  </a:lnTo>
                  <a:lnTo>
                    <a:pt x="956" y="97"/>
                  </a:lnTo>
                  <a:lnTo>
                    <a:pt x="956" y="99"/>
                  </a:lnTo>
                  <a:lnTo>
                    <a:pt x="951" y="97"/>
                  </a:lnTo>
                  <a:lnTo>
                    <a:pt x="942" y="94"/>
                  </a:lnTo>
                  <a:lnTo>
                    <a:pt x="928" y="88"/>
                  </a:lnTo>
                  <a:lnTo>
                    <a:pt x="914" y="85"/>
                  </a:lnTo>
                  <a:lnTo>
                    <a:pt x="901" y="79"/>
                  </a:lnTo>
                  <a:lnTo>
                    <a:pt x="887" y="77"/>
                  </a:lnTo>
                  <a:lnTo>
                    <a:pt x="878" y="74"/>
                  </a:lnTo>
                  <a:lnTo>
                    <a:pt x="864" y="68"/>
                  </a:lnTo>
                  <a:lnTo>
                    <a:pt x="846" y="65"/>
                  </a:lnTo>
                  <a:lnTo>
                    <a:pt x="837" y="62"/>
                  </a:lnTo>
                  <a:lnTo>
                    <a:pt x="823" y="60"/>
                  </a:lnTo>
                  <a:lnTo>
                    <a:pt x="809" y="57"/>
                  </a:lnTo>
                  <a:lnTo>
                    <a:pt x="791" y="51"/>
                  </a:lnTo>
                  <a:lnTo>
                    <a:pt x="773" y="51"/>
                  </a:lnTo>
                  <a:lnTo>
                    <a:pt x="755" y="45"/>
                  </a:lnTo>
                  <a:lnTo>
                    <a:pt x="736" y="42"/>
                  </a:lnTo>
                  <a:lnTo>
                    <a:pt x="718" y="40"/>
                  </a:lnTo>
                  <a:lnTo>
                    <a:pt x="700" y="37"/>
                  </a:lnTo>
                  <a:lnTo>
                    <a:pt x="677" y="31"/>
                  </a:lnTo>
                  <a:lnTo>
                    <a:pt x="659" y="31"/>
                  </a:lnTo>
                  <a:lnTo>
                    <a:pt x="649" y="31"/>
                  </a:lnTo>
                  <a:lnTo>
                    <a:pt x="636" y="28"/>
                  </a:lnTo>
                  <a:lnTo>
                    <a:pt x="627" y="28"/>
                  </a:lnTo>
                  <a:lnTo>
                    <a:pt x="617" y="28"/>
                  </a:lnTo>
                  <a:lnTo>
                    <a:pt x="604" y="25"/>
                  </a:lnTo>
                  <a:lnTo>
                    <a:pt x="595" y="25"/>
                  </a:lnTo>
                  <a:lnTo>
                    <a:pt x="585" y="25"/>
                  </a:lnTo>
                  <a:lnTo>
                    <a:pt x="572" y="25"/>
                  </a:lnTo>
                  <a:lnTo>
                    <a:pt x="563" y="25"/>
                  </a:lnTo>
                  <a:lnTo>
                    <a:pt x="553" y="25"/>
                  </a:lnTo>
                  <a:lnTo>
                    <a:pt x="540" y="25"/>
                  </a:lnTo>
                  <a:lnTo>
                    <a:pt x="531" y="25"/>
                  </a:lnTo>
                  <a:lnTo>
                    <a:pt x="517" y="25"/>
                  </a:lnTo>
                  <a:lnTo>
                    <a:pt x="508" y="25"/>
                  </a:lnTo>
                  <a:lnTo>
                    <a:pt x="499" y="25"/>
                  </a:lnTo>
                  <a:lnTo>
                    <a:pt x="485" y="25"/>
                  </a:lnTo>
                  <a:lnTo>
                    <a:pt x="471" y="25"/>
                  </a:lnTo>
                  <a:lnTo>
                    <a:pt x="462" y="25"/>
                  </a:lnTo>
                  <a:lnTo>
                    <a:pt x="448" y="25"/>
                  </a:lnTo>
                  <a:lnTo>
                    <a:pt x="435" y="28"/>
                  </a:lnTo>
                  <a:lnTo>
                    <a:pt x="421" y="28"/>
                  </a:lnTo>
                  <a:lnTo>
                    <a:pt x="412" y="31"/>
                  </a:lnTo>
                  <a:lnTo>
                    <a:pt x="398" y="31"/>
                  </a:lnTo>
                  <a:lnTo>
                    <a:pt x="389" y="31"/>
                  </a:lnTo>
                  <a:lnTo>
                    <a:pt x="375" y="34"/>
                  </a:lnTo>
                  <a:lnTo>
                    <a:pt x="366" y="37"/>
                  </a:lnTo>
                  <a:lnTo>
                    <a:pt x="352" y="37"/>
                  </a:lnTo>
                  <a:lnTo>
                    <a:pt x="343" y="40"/>
                  </a:lnTo>
                  <a:lnTo>
                    <a:pt x="330" y="42"/>
                  </a:lnTo>
                  <a:lnTo>
                    <a:pt x="320" y="42"/>
                  </a:lnTo>
                  <a:lnTo>
                    <a:pt x="311" y="48"/>
                  </a:lnTo>
                  <a:lnTo>
                    <a:pt x="298" y="51"/>
                  </a:lnTo>
                  <a:lnTo>
                    <a:pt x="288" y="51"/>
                  </a:lnTo>
                  <a:lnTo>
                    <a:pt x="275" y="54"/>
                  </a:lnTo>
                  <a:lnTo>
                    <a:pt x="266" y="57"/>
                  </a:lnTo>
                  <a:lnTo>
                    <a:pt x="252" y="60"/>
                  </a:lnTo>
                  <a:lnTo>
                    <a:pt x="243" y="62"/>
                  </a:lnTo>
                  <a:lnTo>
                    <a:pt x="229" y="65"/>
                  </a:lnTo>
                  <a:lnTo>
                    <a:pt x="224" y="68"/>
                  </a:lnTo>
                  <a:lnTo>
                    <a:pt x="211" y="74"/>
                  </a:lnTo>
                  <a:lnTo>
                    <a:pt x="188" y="79"/>
                  </a:lnTo>
                  <a:lnTo>
                    <a:pt x="174" y="85"/>
                  </a:lnTo>
                  <a:lnTo>
                    <a:pt x="156" y="91"/>
                  </a:lnTo>
                  <a:lnTo>
                    <a:pt x="138" y="99"/>
                  </a:lnTo>
                  <a:lnTo>
                    <a:pt x="119" y="105"/>
                  </a:lnTo>
                  <a:lnTo>
                    <a:pt x="101" y="108"/>
                  </a:lnTo>
                  <a:lnTo>
                    <a:pt x="87" y="116"/>
                  </a:lnTo>
                  <a:lnTo>
                    <a:pt x="69" y="119"/>
                  </a:lnTo>
                  <a:lnTo>
                    <a:pt x="55" y="128"/>
                  </a:lnTo>
                  <a:lnTo>
                    <a:pt x="46" y="131"/>
                  </a:lnTo>
                  <a:lnTo>
                    <a:pt x="32" y="136"/>
                  </a:lnTo>
                  <a:lnTo>
                    <a:pt x="23" y="142"/>
                  </a:lnTo>
                  <a:lnTo>
                    <a:pt x="0" y="142"/>
                  </a:lnTo>
                  <a:lnTo>
                    <a:pt x="0" y="136"/>
                  </a:lnTo>
                  <a:lnTo>
                    <a:pt x="0" y="128"/>
                  </a:lnTo>
                  <a:lnTo>
                    <a:pt x="5" y="125"/>
                  </a:lnTo>
                  <a:lnTo>
                    <a:pt x="5" y="11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grpSp>
      <p:grpSp>
        <p:nvGrpSpPr>
          <p:cNvPr id="4109" name="Group 145"/>
          <p:cNvGrpSpPr>
            <a:grpSpLocks/>
          </p:cNvGrpSpPr>
          <p:nvPr>
            <p:custDataLst>
              <p:tags r:id="rId12"/>
            </p:custDataLst>
          </p:nvPr>
        </p:nvGrpSpPr>
        <p:grpSpPr bwMode="auto">
          <a:xfrm>
            <a:off x="3654091" y="2288712"/>
            <a:ext cx="1017260" cy="597685"/>
            <a:chOff x="0" y="402"/>
            <a:chExt cx="5645" cy="2423"/>
          </a:xfrm>
        </p:grpSpPr>
        <p:sp>
          <p:nvSpPr>
            <p:cNvPr id="4235" name="Freeform 146"/>
            <p:cNvSpPr>
              <a:spLocks/>
            </p:cNvSpPr>
            <p:nvPr>
              <p:custDataLst>
                <p:tags r:id="rId134"/>
              </p:custDataLst>
            </p:nvPr>
          </p:nvSpPr>
          <p:spPr bwMode="gray">
            <a:xfrm>
              <a:off x="0" y="402"/>
              <a:ext cx="5645" cy="831"/>
            </a:xfrm>
            <a:custGeom>
              <a:avLst/>
              <a:gdLst>
                <a:gd name="T0" fmla="*/ 210 w 5507"/>
                <a:gd name="T1" fmla="*/ 1 h 1310"/>
                <a:gd name="T2" fmla="*/ 635 w 5507"/>
                <a:gd name="T3" fmla="*/ 1 h 1310"/>
                <a:gd name="T4" fmla="*/ 1206 w 5507"/>
                <a:gd name="T5" fmla="*/ 1 h 1310"/>
                <a:gd name="T6" fmla="*/ 1859 w 5507"/>
                <a:gd name="T7" fmla="*/ 1 h 1310"/>
                <a:gd name="T8" fmla="*/ 2556 w 5507"/>
                <a:gd name="T9" fmla="*/ 1 h 1310"/>
                <a:gd name="T10" fmla="*/ 3269 w 5507"/>
                <a:gd name="T11" fmla="*/ 1 h 1310"/>
                <a:gd name="T12" fmla="*/ 3939 w 5507"/>
                <a:gd name="T13" fmla="*/ 1 h 1310"/>
                <a:gd name="T14" fmla="*/ 4522 w 5507"/>
                <a:gd name="T15" fmla="*/ 1 h 1310"/>
                <a:gd name="T16" fmla="*/ 4991 w 5507"/>
                <a:gd name="T17" fmla="*/ 1 h 1310"/>
                <a:gd name="T18" fmla="*/ 5262 w 5507"/>
                <a:gd name="T19" fmla="*/ 1 h 1310"/>
                <a:gd name="T20" fmla="*/ 5413 w 5507"/>
                <a:gd name="T21" fmla="*/ 1 h 1310"/>
                <a:gd name="T22" fmla="*/ 5571 w 5507"/>
                <a:gd name="T23" fmla="*/ 1 h 1310"/>
                <a:gd name="T24" fmla="*/ 5770 w 5507"/>
                <a:gd name="T25" fmla="*/ 1 h 1310"/>
                <a:gd name="T26" fmla="*/ 5958 w 5507"/>
                <a:gd name="T27" fmla="*/ 1 h 1310"/>
                <a:gd name="T28" fmla="*/ 6175 w 5507"/>
                <a:gd name="T29" fmla="*/ 1 h 1310"/>
                <a:gd name="T30" fmla="*/ 6400 w 5507"/>
                <a:gd name="T31" fmla="*/ 1 h 1310"/>
                <a:gd name="T32" fmla="*/ 6650 w 5507"/>
                <a:gd name="T33" fmla="*/ 1 h 1310"/>
                <a:gd name="T34" fmla="*/ 6938 w 5507"/>
                <a:gd name="T35" fmla="*/ 1 h 1310"/>
                <a:gd name="T36" fmla="*/ 7505 w 5507"/>
                <a:gd name="T37" fmla="*/ 1 h 1310"/>
                <a:gd name="T38" fmla="*/ 8063 w 5507"/>
                <a:gd name="T39" fmla="*/ 1 h 1310"/>
                <a:gd name="T40" fmla="*/ 8606 w 5507"/>
                <a:gd name="T41" fmla="*/ 1 h 1310"/>
                <a:gd name="T42" fmla="*/ 9123 w 5507"/>
                <a:gd name="T43" fmla="*/ 1 h 1310"/>
                <a:gd name="T44" fmla="*/ 9585 w 5507"/>
                <a:gd name="T45" fmla="*/ 1 h 1310"/>
                <a:gd name="T46" fmla="*/ 9957 w 5507"/>
                <a:gd name="T47" fmla="*/ 1 h 1310"/>
                <a:gd name="T48" fmla="*/ 10258 w 5507"/>
                <a:gd name="T49" fmla="*/ 1 h 1310"/>
                <a:gd name="T50" fmla="*/ 10428 w 5507"/>
                <a:gd name="T51" fmla="*/ 1 h 1310"/>
                <a:gd name="T52" fmla="*/ 10418 w 5507"/>
                <a:gd name="T53" fmla="*/ 1 h 1310"/>
                <a:gd name="T54" fmla="*/ 10248 w 5507"/>
                <a:gd name="T55" fmla="*/ 1 h 1310"/>
                <a:gd name="T56" fmla="*/ 10033 w 5507"/>
                <a:gd name="T57" fmla="*/ 1 h 1310"/>
                <a:gd name="T58" fmla="*/ 9957 w 5507"/>
                <a:gd name="T59" fmla="*/ 1 h 1310"/>
                <a:gd name="T60" fmla="*/ 9811 w 5507"/>
                <a:gd name="T61" fmla="*/ 1 h 1310"/>
                <a:gd name="T62" fmla="*/ 9619 w 5507"/>
                <a:gd name="T63" fmla="*/ 1 h 1310"/>
                <a:gd name="T64" fmla="*/ 9366 w 5507"/>
                <a:gd name="T65" fmla="*/ 1 h 1310"/>
                <a:gd name="T66" fmla="*/ 9071 w 5507"/>
                <a:gd name="T67" fmla="*/ 1 h 1310"/>
                <a:gd name="T68" fmla="*/ 8741 w 5507"/>
                <a:gd name="T69" fmla="*/ 1 h 1310"/>
                <a:gd name="T70" fmla="*/ 8375 w 5507"/>
                <a:gd name="T71" fmla="*/ 1 h 1310"/>
                <a:gd name="T72" fmla="*/ 7981 w 5507"/>
                <a:gd name="T73" fmla="*/ 1 h 1310"/>
                <a:gd name="T74" fmla="*/ 7601 w 5507"/>
                <a:gd name="T75" fmla="*/ 1 h 1310"/>
                <a:gd name="T76" fmla="*/ 7273 w 5507"/>
                <a:gd name="T77" fmla="*/ 1 h 1310"/>
                <a:gd name="T78" fmla="*/ 6932 w 5507"/>
                <a:gd name="T79" fmla="*/ 1 h 1310"/>
                <a:gd name="T80" fmla="*/ 6607 w 5507"/>
                <a:gd name="T81" fmla="*/ 1 h 1310"/>
                <a:gd name="T82" fmla="*/ 6304 w 5507"/>
                <a:gd name="T83" fmla="*/ 1 h 1310"/>
                <a:gd name="T84" fmla="*/ 6019 w 5507"/>
                <a:gd name="T85" fmla="*/ 1 h 1310"/>
                <a:gd name="T86" fmla="*/ 5760 w 5507"/>
                <a:gd name="T87" fmla="*/ 1 h 1310"/>
                <a:gd name="T88" fmla="*/ 5534 w 5507"/>
                <a:gd name="T89" fmla="*/ 1 h 1310"/>
                <a:gd name="T90" fmla="*/ 5350 w 5507"/>
                <a:gd name="T91" fmla="*/ 1 h 1310"/>
                <a:gd name="T92" fmla="*/ 5153 w 5507"/>
                <a:gd name="T93" fmla="*/ 1 h 1310"/>
                <a:gd name="T94" fmla="*/ 4696 w 5507"/>
                <a:gd name="T95" fmla="*/ 1 h 1310"/>
                <a:gd name="T96" fmla="*/ 4117 w 5507"/>
                <a:gd name="T97" fmla="*/ 1 h 1310"/>
                <a:gd name="T98" fmla="*/ 3427 w 5507"/>
                <a:gd name="T99" fmla="*/ 1 h 1310"/>
                <a:gd name="T100" fmla="*/ 2702 w 5507"/>
                <a:gd name="T101" fmla="*/ 1 h 1310"/>
                <a:gd name="T102" fmla="*/ 1991 w 5507"/>
                <a:gd name="T103" fmla="*/ 1 h 1310"/>
                <a:gd name="T104" fmla="*/ 1349 w 5507"/>
                <a:gd name="T105" fmla="*/ 1 h 1310"/>
                <a:gd name="T106" fmla="*/ 820 w 5507"/>
                <a:gd name="T107" fmla="*/ 1 h 1310"/>
                <a:gd name="T108" fmla="*/ 460 w 5507"/>
                <a:gd name="T109" fmla="*/ 1 h 1310"/>
                <a:gd name="T110" fmla="*/ 313 w 5507"/>
                <a:gd name="T111" fmla="*/ 1 h 1310"/>
                <a:gd name="T112" fmla="*/ 124 w 5507"/>
                <a:gd name="T113" fmla="*/ 1 h 13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507"/>
                <a:gd name="T172" fmla="*/ 0 h 1310"/>
                <a:gd name="T173" fmla="*/ 5507 w 5507"/>
                <a:gd name="T174" fmla="*/ 1310 h 13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507" h="1310">
                  <a:moveTo>
                    <a:pt x="0" y="1281"/>
                  </a:moveTo>
                  <a:lnTo>
                    <a:pt x="0" y="1264"/>
                  </a:lnTo>
                  <a:lnTo>
                    <a:pt x="18" y="1253"/>
                  </a:lnTo>
                  <a:lnTo>
                    <a:pt x="41" y="1236"/>
                  </a:lnTo>
                  <a:lnTo>
                    <a:pt x="64" y="1219"/>
                  </a:lnTo>
                  <a:lnTo>
                    <a:pt x="87" y="1205"/>
                  </a:lnTo>
                  <a:lnTo>
                    <a:pt x="110" y="1185"/>
                  </a:lnTo>
                  <a:lnTo>
                    <a:pt x="137" y="1165"/>
                  </a:lnTo>
                  <a:lnTo>
                    <a:pt x="165" y="1148"/>
                  </a:lnTo>
                  <a:lnTo>
                    <a:pt x="197" y="1125"/>
                  </a:lnTo>
                  <a:lnTo>
                    <a:pt x="229" y="1105"/>
                  </a:lnTo>
                  <a:lnTo>
                    <a:pt x="260" y="1082"/>
                  </a:lnTo>
                  <a:lnTo>
                    <a:pt x="297" y="1062"/>
                  </a:lnTo>
                  <a:lnTo>
                    <a:pt x="334" y="1039"/>
                  </a:lnTo>
                  <a:lnTo>
                    <a:pt x="379" y="1017"/>
                  </a:lnTo>
                  <a:lnTo>
                    <a:pt x="416" y="991"/>
                  </a:lnTo>
                  <a:lnTo>
                    <a:pt x="457" y="965"/>
                  </a:lnTo>
                  <a:lnTo>
                    <a:pt x="498" y="943"/>
                  </a:lnTo>
                  <a:lnTo>
                    <a:pt x="544" y="917"/>
                  </a:lnTo>
                  <a:lnTo>
                    <a:pt x="585" y="891"/>
                  </a:lnTo>
                  <a:lnTo>
                    <a:pt x="635" y="866"/>
                  </a:lnTo>
                  <a:lnTo>
                    <a:pt x="681" y="837"/>
                  </a:lnTo>
                  <a:lnTo>
                    <a:pt x="727" y="814"/>
                  </a:lnTo>
                  <a:lnTo>
                    <a:pt x="777" y="786"/>
                  </a:lnTo>
                  <a:lnTo>
                    <a:pt x="827" y="760"/>
                  </a:lnTo>
                  <a:lnTo>
                    <a:pt x="873" y="732"/>
                  </a:lnTo>
                  <a:lnTo>
                    <a:pt x="928" y="706"/>
                  </a:lnTo>
                  <a:lnTo>
                    <a:pt x="978" y="678"/>
                  </a:lnTo>
                  <a:lnTo>
                    <a:pt x="1028" y="652"/>
                  </a:lnTo>
                  <a:lnTo>
                    <a:pt x="1083" y="624"/>
                  </a:lnTo>
                  <a:lnTo>
                    <a:pt x="1133" y="598"/>
                  </a:lnTo>
                  <a:lnTo>
                    <a:pt x="1188" y="570"/>
                  </a:lnTo>
                  <a:lnTo>
                    <a:pt x="1239" y="547"/>
                  </a:lnTo>
                  <a:lnTo>
                    <a:pt x="1289" y="518"/>
                  </a:lnTo>
                  <a:lnTo>
                    <a:pt x="1344" y="493"/>
                  </a:lnTo>
                  <a:lnTo>
                    <a:pt x="1398" y="464"/>
                  </a:lnTo>
                  <a:lnTo>
                    <a:pt x="1453" y="439"/>
                  </a:lnTo>
                  <a:lnTo>
                    <a:pt x="1508" y="416"/>
                  </a:lnTo>
                  <a:lnTo>
                    <a:pt x="1563" y="387"/>
                  </a:lnTo>
                  <a:lnTo>
                    <a:pt x="1613" y="364"/>
                  </a:lnTo>
                  <a:lnTo>
                    <a:pt x="1668" y="342"/>
                  </a:lnTo>
                  <a:lnTo>
                    <a:pt x="1718" y="316"/>
                  </a:lnTo>
                  <a:lnTo>
                    <a:pt x="1769" y="293"/>
                  </a:lnTo>
                  <a:lnTo>
                    <a:pt x="1819" y="268"/>
                  </a:lnTo>
                  <a:lnTo>
                    <a:pt x="1874" y="248"/>
                  </a:lnTo>
                  <a:lnTo>
                    <a:pt x="1919" y="228"/>
                  </a:lnTo>
                  <a:lnTo>
                    <a:pt x="1970" y="208"/>
                  </a:lnTo>
                  <a:lnTo>
                    <a:pt x="2015" y="185"/>
                  </a:lnTo>
                  <a:lnTo>
                    <a:pt x="2070" y="171"/>
                  </a:lnTo>
                  <a:lnTo>
                    <a:pt x="2116" y="151"/>
                  </a:lnTo>
                  <a:lnTo>
                    <a:pt x="2162" y="134"/>
                  </a:lnTo>
                  <a:lnTo>
                    <a:pt x="2207" y="117"/>
                  </a:lnTo>
                  <a:lnTo>
                    <a:pt x="2253" y="103"/>
                  </a:lnTo>
                  <a:lnTo>
                    <a:pt x="2294" y="85"/>
                  </a:lnTo>
                  <a:lnTo>
                    <a:pt x="2340" y="74"/>
                  </a:lnTo>
                  <a:lnTo>
                    <a:pt x="2376" y="60"/>
                  </a:lnTo>
                  <a:lnTo>
                    <a:pt x="2418" y="48"/>
                  </a:lnTo>
                  <a:lnTo>
                    <a:pt x="2454" y="37"/>
                  </a:lnTo>
                  <a:lnTo>
                    <a:pt x="2495" y="28"/>
                  </a:lnTo>
                  <a:lnTo>
                    <a:pt x="2527" y="20"/>
                  </a:lnTo>
                  <a:lnTo>
                    <a:pt x="2564" y="14"/>
                  </a:lnTo>
                  <a:lnTo>
                    <a:pt x="2596" y="9"/>
                  </a:lnTo>
                  <a:lnTo>
                    <a:pt x="2623" y="3"/>
                  </a:lnTo>
                  <a:lnTo>
                    <a:pt x="2651" y="0"/>
                  </a:lnTo>
                  <a:lnTo>
                    <a:pt x="2683" y="0"/>
                  </a:lnTo>
                  <a:lnTo>
                    <a:pt x="2701" y="0"/>
                  </a:lnTo>
                  <a:lnTo>
                    <a:pt x="2719" y="0"/>
                  </a:lnTo>
                  <a:lnTo>
                    <a:pt x="2738" y="0"/>
                  </a:lnTo>
                  <a:lnTo>
                    <a:pt x="2756" y="3"/>
                  </a:lnTo>
                  <a:lnTo>
                    <a:pt x="2765" y="3"/>
                  </a:lnTo>
                  <a:lnTo>
                    <a:pt x="2774" y="6"/>
                  </a:lnTo>
                  <a:lnTo>
                    <a:pt x="2783" y="9"/>
                  </a:lnTo>
                  <a:lnTo>
                    <a:pt x="2797" y="11"/>
                  </a:lnTo>
                  <a:lnTo>
                    <a:pt x="2806" y="11"/>
                  </a:lnTo>
                  <a:lnTo>
                    <a:pt x="2820" y="11"/>
                  </a:lnTo>
                  <a:lnTo>
                    <a:pt x="2829" y="14"/>
                  </a:lnTo>
                  <a:lnTo>
                    <a:pt x="2843" y="20"/>
                  </a:lnTo>
                  <a:lnTo>
                    <a:pt x="2856" y="23"/>
                  </a:lnTo>
                  <a:lnTo>
                    <a:pt x="2865" y="23"/>
                  </a:lnTo>
                  <a:lnTo>
                    <a:pt x="2879" y="26"/>
                  </a:lnTo>
                  <a:lnTo>
                    <a:pt x="2893" y="31"/>
                  </a:lnTo>
                  <a:lnTo>
                    <a:pt x="2907" y="31"/>
                  </a:lnTo>
                  <a:lnTo>
                    <a:pt x="2916" y="37"/>
                  </a:lnTo>
                  <a:lnTo>
                    <a:pt x="2929" y="40"/>
                  </a:lnTo>
                  <a:lnTo>
                    <a:pt x="2943" y="46"/>
                  </a:lnTo>
                  <a:lnTo>
                    <a:pt x="2957" y="48"/>
                  </a:lnTo>
                  <a:lnTo>
                    <a:pt x="2971" y="51"/>
                  </a:lnTo>
                  <a:lnTo>
                    <a:pt x="2984" y="57"/>
                  </a:lnTo>
                  <a:lnTo>
                    <a:pt x="2998" y="60"/>
                  </a:lnTo>
                  <a:lnTo>
                    <a:pt x="3012" y="65"/>
                  </a:lnTo>
                  <a:lnTo>
                    <a:pt x="3030" y="71"/>
                  </a:lnTo>
                  <a:lnTo>
                    <a:pt x="3039" y="74"/>
                  </a:lnTo>
                  <a:lnTo>
                    <a:pt x="3057" y="80"/>
                  </a:lnTo>
                  <a:lnTo>
                    <a:pt x="3071" y="83"/>
                  </a:lnTo>
                  <a:lnTo>
                    <a:pt x="3085" y="88"/>
                  </a:lnTo>
                  <a:lnTo>
                    <a:pt x="3099" y="94"/>
                  </a:lnTo>
                  <a:lnTo>
                    <a:pt x="3117" y="100"/>
                  </a:lnTo>
                  <a:lnTo>
                    <a:pt x="3131" y="105"/>
                  </a:lnTo>
                  <a:lnTo>
                    <a:pt x="3144" y="108"/>
                  </a:lnTo>
                  <a:lnTo>
                    <a:pt x="3163" y="117"/>
                  </a:lnTo>
                  <a:lnTo>
                    <a:pt x="3181" y="120"/>
                  </a:lnTo>
                  <a:lnTo>
                    <a:pt x="3195" y="125"/>
                  </a:lnTo>
                  <a:lnTo>
                    <a:pt x="3208" y="131"/>
                  </a:lnTo>
                  <a:lnTo>
                    <a:pt x="3227" y="137"/>
                  </a:lnTo>
                  <a:lnTo>
                    <a:pt x="3245" y="142"/>
                  </a:lnTo>
                  <a:lnTo>
                    <a:pt x="3263" y="151"/>
                  </a:lnTo>
                  <a:lnTo>
                    <a:pt x="3277" y="157"/>
                  </a:lnTo>
                  <a:lnTo>
                    <a:pt x="3295" y="162"/>
                  </a:lnTo>
                  <a:lnTo>
                    <a:pt x="3313" y="171"/>
                  </a:lnTo>
                  <a:lnTo>
                    <a:pt x="3332" y="174"/>
                  </a:lnTo>
                  <a:lnTo>
                    <a:pt x="3345" y="182"/>
                  </a:lnTo>
                  <a:lnTo>
                    <a:pt x="3364" y="185"/>
                  </a:lnTo>
                  <a:lnTo>
                    <a:pt x="3382" y="194"/>
                  </a:lnTo>
                  <a:lnTo>
                    <a:pt x="3400" y="202"/>
                  </a:lnTo>
                  <a:lnTo>
                    <a:pt x="3418" y="208"/>
                  </a:lnTo>
                  <a:lnTo>
                    <a:pt x="3437" y="214"/>
                  </a:lnTo>
                  <a:lnTo>
                    <a:pt x="3455" y="222"/>
                  </a:lnTo>
                  <a:lnTo>
                    <a:pt x="3473" y="228"/>
                  </a:lnTo>
                  <a:lnTo>
                    <a:pt x="3492" y="236"/>
                  </a:lnTo>
                  <a:lnTo>
                    <a:pt x="3510" y="242"/>
                  </a:lnTo>
                  <a:lnTo>
                    <a:pt x="3528" y="251"/>
                  </a:lnTo>
                  <a:lnTo>
                    <a:pt x="3546" y="256"/>
                  </a:lnTo>
                  <a:lnTo>
                    <a:pt x="3569" y="265"/>
                  </a:lnTo>
                  <a:lnTo>
                    <a:pt x="3588" y="273"/>
                  </a:lnTo>
                  <a:lnTo>
                    <a:pt x="3610" y="279"/>
                  </a:lnTo>
                  <a:lnTo>
                    <a:pt x="3647" y="296"/>
                  </a:lnTo>
                  <a:lnTo>
                    <a:pt x="3688" y="310"/>
                  </a:lnTo>
                  <a:lnTo>
                    <a:pt x="3729" y="325"/>
                  </a:lnTo>
                  <a:lnTo>
                    <a:pt x="3770" y="342"/>
                  </a:lnTo>
                  <a:lnTo>
                    <a:pt x="3816" y="356"/>
                  </a:lnTo>
                  <a:lnTo>
                    <a:pt x="3853" y="376"/>
                  </a:lnTo>
                  <a:lnTo>
                    <a:pt x="3898" y="390"/>
                  </a:lnTo>
                  <a:lnTo>
                    <a:pt x="3944" y="407"/>
                  </a:lnTo>
                  <a:lnTo>
                    <a:pt x="3981" y="424"/>
                  </a:lnTo>
                  <a:lnTo>
                    <a:pt x="4026" y="441"/>
                  </a:lnTo>
                  <a:lnTo>
                    <a:pt x="4067" y="461"/>
                  </a:lnTo>
                  <a:lnTo>
                    <a:pt x="4109" y="476"/>
                  </a:lnTo>
                  <a:lnTo>
                    <a:pt x="4150" y="493"/>
                  </a:lnTo>
                  <a:lnTo>
                    <a:pt x="4195" y="510"/>
                  </a:lnTo>
                  <a:lnTo>
                    <a:pt x="4237" y="527"/>
                  </a:lnTo>
                  <a:lnTo>
                    <a:pt x="4278" y="547"/>
                  </a:lnTo>
                  <a:lnTo>
                    <a:pt x="4319" y="564"/>
                  </a:lnTo>
                  <a:lnTo>
                    <a:pt x="4364" y="578"/>
                  </a:lnTo>
                  <a:lnTo>
                    <a:pt x="4401" y="598"/>
                  </a:lnTo>
                  <a:lnTo>
                    <a:pt x="4442" y="615"/>
                  </a:lnTo>
                  <a:lnTo>
                    <a:pt x="4483" y="632"/>
                  </a:lnTo>
                  <a:lnTo>
                    <a:pt x="4524" y="649"/>
                  </a:lnTo>
                  <a:lnTo>
                    <a:pt x="4561" y="666"/>
                  </a:lnTo>
                  <a:lnTo>
                    <a:pt x="4607" y="686"/>
                  </a:lnTo>
                  <a:lnTo>
                    <a:pt x="4639" y="701"/>
                  </a:lnTo>
                  <a:lnTo>
                    <a:pt x="4680" y="718"/>
                  </a:lnTo>
                  <a:lnTo>
                    <a:pt x="4721" y="735"/>
                  </a:lnTo>
                  <a:lnTo>
                    <a:pt x="4757" y="752"/>
                  </a:lnTo>
                  <a:lnTo>
                    <a:pt x="4794" y="769"/>
                  </a:lnTo>
                  <a:lnTo>
                    <a:pt x="4831" y="786"/>
                  </a:lnTo>
                  <a:lnTo>
                    <a:pt x="4867" y="803"/>
                  </a:lnTo>
                  <a:lnTo>
                    <a:pt x="4904" y="817"/>
                  </a:lnTo>
                  <a:lnTo>
                    <a:pt x="4936" y="834"/>
                  </a:lnTo>
                  <a:lnTo>
                    <a:pt x="4968" y="849"/>
                  </a:lnTo>
                  <a:lnTo>
                    <a:pt x="5000" y="863"/>
                  </a:lnTo>
                  <a:lnTo>
                    <a:pt x="5036" y="880"/>
                  </a:lnTo>
                  <a:lnTo>
                    <a:pt x="5064" y="894"/>
                  </a:lnTo>
                  <a:lnTo>
                    <a:pt x="5096" y="908"/>
                  </a:lnTo>
                  <a:lnTo>
                    <a:pt x="5128" y="923"/>
                  </a:lnTo>
                  <a:lnTo>
                    <a:pt x="5155" y="937"/>
                  </a:lnTo>
                  <a:lnTo>
                    <a:pt x="5183" y="951"/>
                  </a:lnTo>
                  <a:lnTo>
                    <a:pt x="5210" y="965"/>
                  </a:lnTo>
                  <a:lnTo>
                    <a:pt x="5233" y="977"/>
                  </a:lnTo>
                  <a:lnTo>
                    <a:pt x="5260" y="988"/>
                  </a:lnTo>
                  <a:lnTo>
                    <a:pt x="5283" y="1002"/>
                  </a:lnTo>
                  <a:lnTo>
                    <a:pt x="5310" y="1011"/>
                  </a:lnTo>
                  <a:lnTo>
                    <a:pt x="5329" y="1022"/>
                  </a:lnTo>
                  <a:lnTo>
                    <a:pt x="5352" y="1037"/>
                  </a:lnTo>
                  <a:lnTo>
                    <a:pt x="5370" y="1045"/>
                  </a:lnTo>
                  <a:lnTo>
                    <a:pt x="5388" y="1056"/>
                  </a:lnTo>
                  <a:lnTo>
                    <a:pt x="5406" y="1065"/>
                  </a:lnTo>
                  <a:lnTo>
                    <a:pt x="5420" y="1071"/>
                  </a:lnTo>
                  <a:lnTo>
                    <a:pt x="5438" y="1082"/>
                  </a:lnTo>
                  <a:lnTo>
                    <a:pt x="5452" y="1091"/>
                  </a:lnTo>
                  <a:lnTo>
                    <a:pt x="5461" y="1096"/>
                  </a:lnTo>
                  <a:lnTo>
                    <a:pt x="5475" y="1105"/>
                  </a:lnTo>
                  <a:lnTo>
                    <a:pt x="5480" y="1111"/>
                  </a:lnTo>
                  <a:lnTo>
                    <a:pt x="5489" y="1116"/>
                  </a:lnTo>
                  <a:lnTo>
                    <a:pt x="5498" y="1122"/>
                  </a:lnTo>
                  <a:lnTo>
                    <a:pt x="5502" y="1128"/>
                  </a:lnTo>
                  <a:lnTo>
                    <a:pt x="5507" y="1136"/>
                  </a:lnTo>
                  <a:lnTo>
                    <a:pt x="5507" y="1139"/>
                  </a:lnTo>
                  <a:lnTo>
                    <a:pt x="5493" y="1148"/>
                  </a:lnTo>
                  <a:lnTo>
                    <a:pt x="5475" y="1156"/>
                  </a:lnTo>
                  <a:lnTo>
                    <a:pt x="5457" y="1165"/>
                  </a:lnTo>
                  <a:lnTo>
                    <a:pt x="5443" y="1170"/>
                  </a:lnTo>
                  <a:lnTo>
                    <a:pt x="5434" y="1170"/>
                  </a:lnTo>
                  <a:lnTo>
                    <a:pt x="5420" y="1176"/>
                  </a:lnTo>
                  <a:lnTo>
                    <a:pt x="5411" y="1179"/>
                  </a:lnTo>
                  <a:lnTo>
                    <a:pt x="5402" y="1179"/>
                  </a:lnTo>
                  <a:lnTo>
                    <a:pt x="5384" y="1185"/>
                  </a:lnTo>
                  <a:lnTo>
                    <a:pt x="5365" y="1187"/>
                  </a:lnTo>
                  <a:lnTo>
                    <a:pt x="5342" y="1187"/>
                  </a:lnTo>
                  <a:lnTo>
                    <a:pt x="5324" y="1190"/>
                  </a:lnTo>
                  <a:lnTo>
                    <a:pt x="5310" y="1190"/>
                  </a:lnTo>
                  <a:lnTo>
                    <a:pt x="5297" y="1190"/>
                  </a:lnTo>
                  <a:lnTo>
                    <a:pt x="5283" y="1187"/>
                  </a:lnTo>
                  <a:lnTo>
                    <a:pt x="5274" y="1185"/>
                  </a:lnTo>
                  <a:lnTo>
                    <a:pt x="5269" y="1182"/>
                  </a:lnTo>
                  <a:lnTo>
                    <a:pt x="5274" y="1179"/>
                  </a:lnTo>
                  <a:lnTo>
                    <a:pt x="5269" y="1176"/>
                  </a:lnTo>
                  <a:lnTo>
                    <a:pt x="5265" y="1170"/>
                  </a:lnTo>
                  <a:lnTo>
                    <a:pt x="5256" y="1165"/>
                  </a:lnTo>
                  <a:lnTo>
                    <a:pt x="5247" y="1159"/>
                  </a:lnTo>
                  <a:lnTo>
                    <a:pt x="5233" y="1150"/>
                  </a:lnTo>
                  <a:lnTo>
                    <a:pt x="5219" y="1142"/>
                  </a:lnTo>
                  <a:lnTo>
                    <a:pt x="5210" y="1136"/>
                  </a:lnTo>
                  <a:lnTo>
                    <a:pt x="5201" y="1131"/>
                  </a:lnTo>
                  <a:lnTo>
                    <a:pt x="5187" y="1125"/>
                  </a:lnTo>
                  <a:lnTo>
                    <a:pt x="5178" y="1122"/>
                  </a:lnTo>
                  <a:lnTo>
                    <a:pt x="5164" y="1116"/>
                  </a:lnTo>
                  <a:lnTo>
                    <a:pt x="5155" y="1108"/>
                  </a:lnTo>
                  <a:lnTo>
                    <a:pt x="5141" y="1102"/>
                  </a:lnTo>
                  <a:lnTo>
                    <a:pt x="5128" y="1093"/>
                  </a:lnTo>
                  <a:lnTo>
                    <a:pt x="5114" y="1088"/>
                  </a:lnTo>
                  <a:lnTo>
                    <a:pt x="5100" y="1079"/>
                  </a:lnTo>
                  <a:lnTo>
                    <a:pt x="5087" y="1071"/>
                  </a:lnTo>
                  <a:lnTo>
                    <a:pt x="5073" y="1065"/>
                  </a:lnTo>
                  <a:lnTo>
                    <a:pt x="5055" y="1054"/>
                  </a:lnTo>
                  <a:lnTo>
                    <a:pt x="5036" y="1045"/>
                  </a:lnTo>
                  <a:lnTo>
                    <a:pt x="5018" y="1039"/>
                  </a:lnTo>
                  <a:lnTo>
                    <a:pt x="5000" y="1028"/>
                  </a:lnTo>
                  <a:lnTo>
                    <a:pt x="4981" y="1019"/>
                  </a:lnTo>
                  <a:lnTo>
                    <a:pt x="4963" y="1011"/>
                  </a:lnTo>
                  <a:lnTo>
                    <a:pt x="4940" y="1002"/>
                  </a:lnTo>
                  <a:lnTo>
                    <a:pt x="4922" y="994"/>
                  </a:lnTo>
                  <a:lnTo>
                    <a:pt x="4904" y="982"/>
                  </a:lnTo>
                  <a:lnTo>
                    <a:pt x="4881" y="971"/>
                  </a:lnTo>
                  <a:lnTo>
                    <a:pt x="4858" y="962"/>
                  </a:lnTo>
                  <a:lnTo>
                    <a:pt x="4835" y="951"/>
                  </a:lnTo>
                  <a:lnTo>
                    <a:pt x="4817" y="940"/>
                  </a:lnTo>
                  <a:lnTo>
                    <a:pt x="4794" y="931"/>
                  </a:lnTo>
                  <a:lnTo>
                    <a:pt x="4767" y="920"/>
                  </a:lnTo>
                  <a:lnTo>
                    <a:pt x="4744" y="908"/>
                  </a:lnTo>
                  <a:lnTo>
                    <a:pt x="4721" y="897"/>
                  </a:lnTo>
                  <a:lnTo>
                    <a:pt x="4694" y="886"/>
                  </a:lnTo>
                  <a:lnTo>
                    <a:pt x="4671" y="874"/>
                  </a:lnTo>
                  <a:lnTo>
                    <a:pt x="4643" y="863"/>
                  </a:lnTo>
                  <a:lnTo>
                    <a:pt x="4620" y="851"/>
                  </a:lnTo>
                  <a:lnTo>
                    <a:pt x="4593" y="840"/>
                  </a:lnTo>
                  <a:lnTo>
                    <a:pt x="4561" y="829"/>
                  </a:lnTo>
                  <a:lnTo>
                    <a:pt x="4543" y="817"/>
                  </a:lnTo>
                  <a:lnTo>
                    <a:pt x="4511" y="803"/>
                  </a:lnTo>
                  <a:lnTo>
                    <a:pt x="4488" y="794"/>
                  </a:lnTo>
                  <a:lnTo>
                    <a:pt x="4456" y="777"/>
                  </a:lnTo>
                  <a:lnTo>
                    <a:pt x="4428" y="766"/>
                  </a:lnTo>
                  <a:lnTo>
                    <a:pt x="4401" y="755"/>
                  </a:lnTo>
                  <a:lnTo>
                    <a:pt x="4369" y="743"/>
                  </a:lnTo>
                  <a:lnTo>
                    <a:pt x="4342" y="729"/>
                  </a:lnTo>
                  <a:lnTo>
                    <a:pt x="4314" y="718"/>
                  </a:lnTo>
                  <a:lnTo>
                    <a:pt x="4282" y="706"/>
                  </a:lnTo>
                  <a:lnTo>
                    <a:pt x="4250" y="692"/>
                  </a:lnTo>
                  <a:lnTo>
                    <a:pt x="4223" y="681"/>
                  </a:lnTo>
                  <a:lnTo>
                    <a:pt x="4195" y="666"/>
                  </a:lnTo>
                  <a:lnTo>
                    <a:pt x="4163" y="655"/>
                  </a:lnTo>
                  <a:lnTo>
                    <a:pt x="4131" y="644"/>
                  </a:lnTo>
                  <a:lnTo>
                    <a:pt x="4099" y="629"/>
                  </a:lnTo>
                  <a:lnTo>
                    <a:pt x="4072" y="618"/>
                  </a:lnTo>
                  <a:lnTo>
                    <a:pt x="4045" y="609"/>
                  </a:lnTo>
                  <a:lnTo>
                    <a:pt x="4017" y="598"/>
                  </a:lnTo>
                  <a:lnTo>
                    <a:pt x="3994" y="587"/>
                  </a:lnTo>
                  <a:lnTo>
                    <a:pt x="3967" y="575"/>
                  </a:lnTo>
                  <a:lnTo>
                    <a:pt x="3944" y="564"/>
                  </a:lnTo>
                  <a:lnTo>
                    <a:pt x="3921" y="555"/>
                  </a:lnTo>
                  <a:lnTo>
                    <a:pt x="3889" y="547"/>
                  </a:lnTo>
                  <a:lnTo>
                    <a:pt x="3871" y="535"/>
                  </a:lnTo>
                  <a:lnTo>
                    <a:pt x="3839" y="527"/>
                  </a:lnTo>
                  <a:lnTo>
                    <a:pt x="3821" y="515"/>
                  </a:lnTo>
                  <a:lnTo>
                    <a:pt x="3789" y="507"/>
                  </a:lnTo>
                  <a:lnTo>
                    <a:pt x="3766" y="495"/>
                  </a:lnTo>
                  <a:lnTo>
                    <a:pt x="3743" y="484"/>
                  </a:lnTo>
                  <a:lnTo>
                    <a:pt x="3720" y="476"/>
                  </a:lnTo>
                  <a:lnTo>
                    <a:pt x="3693" y="467"/>
                  </a:lnTo>
                  <a:lnTo>
                    <a:pt x="3670" y="461"/>
                  </a:lnTo>
                  <a:lnTo>
                    <a:pt x="3642" y="450"/>
                  </a:lnTo>
                  <a:lnTo>
                    <a:pt x="3620" y="439"/>
                  </a:lnTo>
                  <a:lnTo>
                    <a:pt x="3597" y="430"/>
                  </a:lnTo>
                  <a:lnTo>
                    <a:pt x="3569" y="421"/>
                  </a:lnTo>
                  <a:lnTo>
                    <a:pt x="3546" y="413"/>
                  </a:lnTo>
                  <a:lnTo>
                    <a:pt x="3519" y="404"/>
                  </a:lnTo>
                  <a:lnTo>
                    <a:pt x="3496" y="396"/>
                  </a:lnTo>
                  <a:lnTo>
                    <a:pt x="3473" y="387"/>
                  </a:lnTo>
                  <a:lnTo>
                    <a:pt x="3455" y="376"/>
                  </a:lnTo>
                  <a:lnTo>
                    <a:pt x="3428" y="367"/>
                  </a:lnTo>
                  <a:lnTo>
                    <a:pt x="3405" y="362"/>
                  </a:lnTo>
                  <a:lnTo>
                    <a:pt x="3382" y="353"/>
                  </a:lnTo>
                  <a:lnTo>
                    <a:pt x="3359" y="345"/>
                  </a:lnTo>
                  <a:lnTo>
                    <a:pt x="3336" y="336"/>
                  </a:lnTo>
                  <a:lnTo>
                    <a:pt x="3313" y="330"/>
                  </a:lnTo>
                  <a:lnTo>
                    <a:pt x="3290" y="322"/>
                  </a:lnTo>
                  <a:lnTo>
                    <a:pt x="3268" y="313"/>
                  </a:lnTo>
                  <a:lnTo>
                    <a:pt x="3249" y="308"/>
                  </a:lnTo>
                  <a:lnTo>
                    <a:pt x="3227" y="299"/>
                  </a:lnTo>
                  <a:lnTo>
                    <a:pt x="3204" y="290"/>
                  </a:lnTo>
                  <a:lnTo>
                    <a:pt x="3181" y="285"/>
                  </a:lnTo>
                  <a:lnTo>
                    <a:pt x="3163" y="279"/>
                  </a:lnTo>
                  <a:lnTo>
                    <a:pt x="3144" y="271"/>
                  </a:lnTo>
                  <a:lnTo>
                    <a:pt x="3121" y="265"/>
                  </a:lnTo>
                  <a:lnTo>
                    <a:pt x="3103" y="259"/>
                  </a:lnTo>
                  <a:lnTo>
                    <a:pt x="3085" y="251"/>
                  </a:lnTo>
                  <a:lnTo>
                    <a:pt x="3062" y="248"/>
                  </a:lnTo>
                  <a:lnTo>
                    <a:pt x="3044" y="242"/>
                  </a:lnTo>
                  <a:lnTo>
                    <a:pt x="3025" y="236"/>
                  </a:lnTo>
                  <a:lnTo>
                    <a:pt x="3007" y="228"/>
                  </a:lnTo>
                  <a:lnTo>
                    <a:pt x="2993" y="225"/>
                  </a:lnTo>
                  <a:lnTo>
                    <a:pt x="2975" y="219"/>
                  </a:lnTo>
                  <a:lnTo>
                    <a:pt x="2957" y="214"/>
                  </a:lnTo>
                  <a:lnTo>
                    <a:pt x="2943" y="208"/>
                  </a:lnTo>
                  <a:lnTo>
                    <a:pt x="2925" y="205"/>
                  </a:lnTo>
                  <a:lnTo>
                    <a:pt x="2907" y="199"/>
                  </a:lnTo>
                  <a:lnTo>
                    <a:pt x="2888" y="196"/>
                  </a:lnTo>
                  <a:lnTo>
                    <a:pt x="2875" y="194"/>
                  </a:lnTo>
                  <a:lnTo>
                    <a:pt x="2861" y="188"/>
                  </a:lnTo>
                  <a:lnTo>
                    <a:pt x="2852" y="185"/>
                  </a:lnTo>
                  <a:lnTo>
                    <a:pt x="2838" y="182"/>
                  </a:lnTo>
                  <a:lnTo>
                    <a:pt x="2820" y="179"/>
                  </a:lnTo>
                  <a:lnTo>
                    <a:pt x="2811" y="174"/>
                  </a:lnTo>
                  <a:lnTo>
                    <a:pt x="2801" y="171"/>
                  </a:lnTo>
                  <a:lnTo>
                    <a:pt x="2783" y="171"/>
                  </a:lnTo>
                  <a:lnTo>
                    <a:pt x="2774" y="168"/>
                  </a:lnTo>
                  <a:lnTo>
                    <a:pt x="2765" y="165"/>
                  </a:lnTo>
                  <a:lnTo>
                    <a:pt x="2756" y="162"/>
                  </a:lnTo>
                  <a:lnTo>
                    <a:pt x="2733" y="159"/>
                  </a:lnTo>
                  <a:lnTo>
                    <a:pt x="2706" y="159"/>
                  </a:lnTo>
                  <a:lnTo>
                    <a:pt x="2674" y="159"/>
                  </a:lnTo>
                  <a:lnTo>
                    <a:pt x="2651" y="162"/>
                  </a:lnTo>
                  <a:lnTo>
                    <a:pt x="2614" y="165"/>
                  </a:lnTo>
                  <a:lnTo>
                    <a:pt x="2582" y="171"/>
                  </a:lnTo>
                  <a:lnTo>
                    <a:pt x="2546" y="179"/>
                  </a:lnTo>
                  <a:lnTo>
                    <a:pt x="2509" y="191"/>
                  </a:lnTo>
                  <a:lnTo>
                    <a:pt x="2468" y="199"/>
                  </a:lnTo>
                  <a:lnTo>
                    <a:pt x="2431" y="211"/>
                  </a:lnTo>
                  <a:lnTo>
                    <a:pt x="2386" y="225"/>
                  </a:lnTo>
                  <a:lnTo>
                    <a:pt x="2344" y="239"/>
                  </a:lnTo>
                  <a:lnTo>
                    <a:pt x="2299" y="253"/>
                  </a:lnTo>
                  <a:lnTo>
                    <a:pt x="2253" y="268"/>
                  </a:lnTo>
                  <a:lnTo>
                    <a:pt x="2207" y="288"/>
                  </a:lnTo>
                  <a:lnTo>
                    <a:pt x="2162" y="310"/>
                  </a:lnTo>
                  <a:lnTo>
                    <a:pt x="2111" y="327"/>
                  </a:lnTo>
                  <a:lnTo>
                    <a:pt x="2061" y="347"/>
                  </a:lnTo>
                  <a:lnTo>
                    <a:pt x="2011" y="367"/>
                  </a:lnTo>
                  <a:lnTo>
                    <a:pt x="1961" y="393"/>
                  </a:lnTo>
                  <a:lnTo>
                    <a:pt x="1906" y="416"/>
                  </a:lnTo>
                  <a:lnTo>
                    <a:pt x="1855" y="439"/>
                  </a:lnTo>
                  <a:lnTo>
                    <a:pt x="1801" y="464"/>
                  </a:lnTo>
                  <a:lnTo>
                    <a:pt x="1750" y="493"/>
                  </a:lnTo>
                  <a:lnTo>
                    <a:pt x="1691" y="515"/>
                  </a:lnTo>
                  <a:lnTo>
                    <a:pt x="1636" y="541"/>
                  </a:lnTo>
                  <a:lnTo>
                    <a:pt x="1581" y="570"/>
                  </a:lnTo>
                  <a:lnTo>
                    <a:pt x="1531" y="598"/>
                  </a:lnTo>
                  <a:lnTo>
                    <a:pt x="1472" y="624"/>
                  </a:lnTo>
                  <a:lnTo>
                    <a:pt x="1421" y="652"/>
                  </a:lnTo>
                  <a:lnTo>
                    <a:pt x="1366" y="681"/>
                  </a:lnTo>
                  <a:lnTo>
                    <a:pt x="1316" y="709"/>
                  </a:lnTo>
                  <a:lnTo>
                    <a:pt x="1257" y="735"/>
                  </a:lnTo>
                  <a:lnTo>
                    <a:pt x="1207" y="763"/>
                  </a:lnTo>
                  <a:lnTo>
                    <a:pt x="1152" y="792"/>
                  </a:lnTo>
                  <a:lnTo>
                    <a:pt x="1101" y="817"/>
                  </a:lnTo>
                  <a:lnTo>
                    <a:pt x="1047" y="846"/>
                  </a:lnTo>
                  <a:lnTo>
                    <a:pt x="996" y="874"/>
                  </a:lnTo>
                  <a:lnTo>
                    <a:pt x="946" y="900"/>
                  </a:lnTo>
                  <a:lnTo>
                    <a:pt x="896" y="928"/>
                  </a:lnTo>
                  <a:lnTo>
                    <a:pt x="845" y="954"/>
                  </a:lnTo>
                  <a:lnTo>
                    <a:pt x="800" y="980"/>
                  </a:lnTo>
                  <a:lnTo>
                    <a:pt x="754" y="1005"/>
                  </a:lnTo>
                  <a:lnTo>
                    <a:pt x="708" y="1031"/>
                  </a:lnTo>
                  <a:lnTo>
                    <a:pt x="663" y="1054"/>
                  </a:lnTo>
                  <a:lnTo>
                    <a:pt x="622" y="1076"/>
                  </a:lnTo>
                  <a:lnTo>
                    <a:pt x="580" y="1099"/>
                  </a:lnTo>
                  <a:lnTo>
                    <a:pt x="544" y="1122"/>
                  </a:lnTo>
                  <a:lnTo>
                    <a:pt x="503" y="1142"/>
                  </a:lnTo>
                  <a:lnTo>
                    <a:pt x="466" y="1162"/>
                  </a:lnTo>
                  <a:lnTo>
                    <a:pt x="430" y="1182"/>
                  </a:lnTo>
                  <a:lnTo>
                    <a:pt x="398" y="1199"/>
                  </a:lnTo>
                  <a:lnTo>
                    <a:pt x="366" y="1216"/>
                  </a:lnTo>
                  <a:lnTo>
                    <a:pt x="343" y="1230"/>
                  </a:lnTo>
                  <a:lnTo>
                    <a:pt x="311" y="1244"/>
                  </a:lnTo>
                  <a:lnTo>
                    <a:pt x="288" y="1261"/>
                  </a:lnTo>
                  <a:lnTo>
                    <a:pt x="260" y="1270"/>
                  </a:lnTo>
                  <a:lnTo>
                    <a:pt x="242" y="1281"/>
                  </a:lnTo>
                  <a:lnTo>
                    <a:pt x="229" y="1287"/>
                  </a:lnTo>
                  <a:lnTo>
                    <a:pt x="210" y="1299"/>
                  </a:lnTo>
                  <a:lnTo>
                    <a:pt x="201" y="1304"/>
                  </a:lnTo>
                  <a:lnTo>
                    <a:pt x="187" y="1307"/>
                  </a:lnTo>
                  <a:lnTo>
                    <a:pt x="183" y="1307"/>
                  </a:lnTo>
                  <a:lnTo>
                    <a:pt x="178" y="1310"/>
                  </a:lnTo>
                  <a:lnTo>
                    <a:pt x="165" y="1307"/>
                  </a:lnTo>
                  <a:lnTo>
                    <a:pt x="155" y="1307"/>
                  </a:lnTo>
                  <a:lnTo>
                    <a:pt x="137" y="1304"/>
                  </a:lnTo>
                  <a:lnTo>
                    <a:pt x="123" y="1304"/>
                  </a:lnTo>
                  <a:lnTo>
                    <a:pt x="105" y="1299"/>
                  </a:lnTo>
                  <a:lnTo>
                    <a:pt x="91" y="1299"/>
                  </a:lnTo>
                  <a:lnTo>
                    <a:pt x="73" y="1296"/>
                  </a:lnTo>
                  <a:lnTo>
                    <a:pt x="64" y="1293"/>
                  </a:lnTo>
                  <a:lnTo>
                    <a:pt x="46" y="1287"/>
                  </a:lnTo>
                  <a:lnTo>
                    <a:pt x="32" y="1287"/>
                  </a:lnTo>
                  <a:lnTo>
                    <a:pt x="18" y="1284"/>
                  </a:lnTo>
                  <a:lnTo>
                    <a:pt x="9" y="1284"/>
                  </a:lnTo>
                  <a:lnTo>
                    <a:pt x="0" y="1281"/>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36" name="Freeform 147"/>
            <p:cNvSpPr>
              <a:spLocks/>
            </p:cNvSpPr>
            <p:nvPr>
              <p:custDataLst>
                <p:tags r:id="rId135"/>
              </p:custDataLst>
            </p:nvPr>
          </p:nvSpPr>
          <p:spPr bwMode="gray">
            <a:xfrm>
              <a:off x="0" y="1175"/>
              <a:ext cx="5547" cy="378"/>
            </a:xfrm>
            <a:custGeom>
              <a:avLst/>
              <a:gdLst>
                <a:gd name="T0" fmla="*/ 137 w 5411"/>
                <a:gd name="T1" fmla="*/ 23 h 413"/>
                <a:gd name="T2" fmla="*/ 419 w 5411"/>
                <a:gd name="T3" fmla="*/ 27 h 413"/>
                <a:gd name="T4" fmla="*/ 792 w 5411"/>
                <a:gd name="T5" fmla="*/ 29 h 413"/>
                <a:gd name="T6" fmla="*/ 1235 w 5411"/>
                <a:gd name="T7" fmla="*/ 32 h 413"/>
                <a:gd name="T8" fmla="*/ 1745 w 5411"/>
                <a:gd name="T9" fmla="*/ 35 h 413"/>
                <a:gd name="T10" fmla="*/ 2301 w 5411"/>
                <a:gd name="T11" fmla="*/ 38 h 413"/>
                <a:gd name="T12" fmla="*/ 2885 w 5411"/>
                <a:gd name="T13" fmla="*/ 38 h 413"/>
                <a:gd name="T14" fmla="*/ 3504 w 5411"/>
                <a:gd name="T15" fmla="*/ 41 h 413"/>
                <a:gd name="T16" fmla="*/ 4129 w 5411"/>
                <a:gd name="T17" fmla="*/ 41 h 413"/>
                <a:gd name="T18" fmla="*/ 4759 w 5411"/>
                <a:gd name="T19" fmla="*/ 41 h 413"/>
                <a:gd name="T20" fmla="*/ 5374 w 5411"/>
                <a:gd name="T21" fmla="*/ 41 h 413"/>
                <a:gd name="T22" fmla="*/ 5964 w 5411"/>
                <a:gd name="T23" fmla="*/ 39 h 413"/>
                <a:gd name="T24" fmla="*/ 6526 w 5411"/>
                <a:gd name="T25" fmla="*/ 38 h 413"/>
                <a:gd name="T26" fmla="*/ 7032 w 5411"/>
                <a:gd name="T27" fmla="*/ 35 h 413"/>
                <a:gd name="T28" fmla="*/ 7519 w 5411"/>
                <a:gd name="T29" fmla="*/ 32 h 413"/>
                <a:gd name="T30" fmla="*/ 7972 w 5411"/>
                <a:gd name="T31" fmla="*/ 31 h 413"/>
                <a:gd name="T32" fmla="*/ 8402 w 5411"/>
                <a:gd name="T33" fmla="*/ 27 h 413"/>
                <a:gd name="T34" fmla="*/ 8785 w 5411"/>
                <a:gd name="T35" fmla="*/ 25 h 413"/>
                <a:gd name="T36" fmla="*/ 9130 w 5411"/>
                <a:gd name="T37" fmla="*/ 23 h 413"/>
                <a:gd name="T38" fmla="*/ 9436 w 5411"/>
                <a:gd name="T39" fmla="*/ 19 h 413"/>
                <a:gd name="T40" fmla="*/ 9704 w 5411"/>
                <a:gd name="T41" fmla="*/ 16 h 413"/>
                <a:gd name="T42" fmla="*/ 9927 w 5411"/>
                <a:gd name="T43" fmla="*/ 15 h 413"/>
                <a:gd name="T44" fmla="*/ 10097 w 5411"/>
                <a:gd name="T45" fmla="*/ 13 h 413"/>
                <a:gd name="T46" fmla="*/ 10233 w 5411"/>
                <a:gd name="T47" fmla="*/ 12 h 413"/>
                <a:gd name="T48" fmla="*/ 10318 w 5411"/>
                <a:gd name="T49" fmla="*/ 11 h 413"/>
                <a:gd name="T50" fmla="*/ 9982 w 5411"/>
                <a:gd name="T51" fmla="*/ 3 h 413"/>
                <a:gd name="T52" fmla="*/ 9839 w 5411"/>
                <a:gd name="T53" fmla="*/ 5 h 413"/>
                <a:gd name="T54" fmla="*/ 9639 w 5411"/>
                <a:gd name="T55" fmla="*/ 5 h 413"/>
                <a:gd name="T56" fmla="*/ 9352 w 5411"/>
                <a:gd name="T57" fmla="*/ 5 h 413"/>
                <a:gd name="T58" fmla="*/ 9016 w 5411"/>
                <a:gd name="T59" fmla="*/ 9 h 413"/>
                <a:gd name="T60" fmla="*/ 8628 w 5411"/>
                <a:gd name="T61" fmla="*/ 12 h 413"/>
                <a:gd name="T62" fmla="*/ 8190 w 5411"/>
                <a:gd name="T63" fmla="*/ 14 h 413"/>
                <a:gd name="T64" fmla="*/ 7704 w 5411"/>
                <a:gd name="T65" fmla="*/ 16 h 413"/>
                <a:gd name="T66" fmla="*/ 7193 w 5411"/>
                <a:gd name="T67" fmla="*/ 19 h 413"/>
                <a:gd name="T68" fmla="*/ 6640 w 5411"/>
                <a:gd name="T69" fmla="*/ 23 h 413"/>
                <a:gd name="T70" fmla="*/ 6066 w 5411"/>
                <a:gd name="T71" fmla="*/ 25 h 413"/>
                <a:gd name="T72" fmla="*/ 5482 w 5411"/>
                <a:gd name="T73" fmla="*/ 25 h 413"/>
                <a:gd name="T74" fmla="*/ 4868 w 5411"/>
                <a:gd name="T75" fmla="*/ 27 h 413"/>
                <a:gd name="T76" fmla="*/ 4278 w 5411"/>
                <a:gd name="T77" fmla="*/ 27 h 413"/>
                <a:gd name="T78" fmla="*/ 3722 w 5411"/>
                <a:gd name="T79" fmla="*/ 27 h 413"/>
                <a:gd name="T80" fmla="*/ 3190 w 5411"/>
                <a:gd name="T81" fmla="*/ 27 h 413"/>
                <a:gd name="T82" fmla="*/ 2699 w 5411"/>
                <a:gd name="T83" fmla="*/ 25 h 413"/>
                <a:gd name="T84" fmla="*/ 2242 w 5411"/>
                <a:gd name="T85" fmla="*/ 24 h 413"/>
                <a:gd name="T86" fmla="*/ 1838 w 5411"/>
                <a:gd name="T87" fmla="*/ 23 h 413"/>
                <a:gd name="T88" fmla="*/ 1449 w 5411"/>
                <a:gd name="T89" fmla="*/ 21 h 413"/>
                <a:gd name="T90" fmla="*/ 1141 w 5411"/>
                <a:gd name="T91" fmla="*/ 19 h 413"/>
                <a:gd name="T92" fmla="*/ 869 w 5411"/>
                <a:gd name="T93" fmla="*/ 17 h 413"/>
                <a:gd name="T94" fmla="*/ 657 w 5411"/>
                <a:gd name="T95" fmla="*/ 16 h 413"/>
                <a:gd name="T96" fmla="*/ 514 w 5411"/>
                <a:gd name="T97" fmla="*/ 14 h 413"/>
                <a:gd name="T98" fmla="*/ 410 w 5411"/>
                <a:gd name="T99" fmla="*/ 14 h 413"/>
                <a:gd name="T100" fmla="*/ 252 w 5411"/>
                <a:gd name="T101" fmla="*/ 14 h 413"/>
                <a:gd name="T102" fmla="*/ 74 w 5411"/>
                <a:gd name="T103" fmla="*/ 17 h 413"/>
                <a:gd name="T104" fmla="*/ 0 w 5411"/>
                <a:gd name="T105" fmla="*/ 19 h 41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411"/>
                <a:gd name="T160" fmla="*/ 0 h 413"/>
                <a:gd name="T161" fmla="*/ 5411 w 5411"/>
                <a:gd name="T162" fmla="*/ 413 h 41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411" h="413">
                  <a:moveTo>
                    <a:pt x="0" y="199"/>
                  </a:moveTo>
                  <a:lnTo>
                    <a:pt x="5" y="208"/>
                  </a:lnTo>
                  <a:lnTo>
                    <a:pt x="23" y="213"/>
                  </a:lnTo>
                  <a:lnTo>
                    <a:pt x="46" y="222"/>
                  </a:lnTo>
                  <a:lnTo>
                    <a:pt x="73" y="231"/>
                  </a:lnTo>
                  <a:lnTo>
                    <a:pt x="96" y="239"/>
                  </a:lnTo>
                  <a:lnTo>
                    <a:pt x="123" y="248"/>
                  </a:lnTo>
                  <a:lnTo>
                    <a:pt x="155" y="253"/>
                  </a:lnTo>
                  <a:lnTo>
                    <a:pt x="187" y="262"/>
                  </a:lnTo>
                  <a:lnTo>
                    <a:pt x="219" y="268"/>
                  </a:lnTo>
                  <a:lnTo>
                    <a:pt x="256" y="273"/>
                  </a:lnTo>
                  <a:lnTo>
                    <a:pt x="292" y="282"/>
                  </a:lnTo>
                  <a:lnTo>
                    <a:pt x="334" y="287"/>
                  </a:lnTo>
                  <a:lnTo>
                    <a:pt x="375" y="293"/>
                  </a:lnTo>
                  <a:lnTo>
                    <a:pt x="416" y="299"/>
                  </a:lnTo>
                  <a:lnTo>
                    <a:pt x="462" y="307"/>
                  </a:lnTo>
                  <a:lnTo>
                    <a:pt x="507" y="313"/>
                  </a:lnTo>
                  <a:lnTo>
                    <a:pt x="553" y="319"/>
                  </a:lnTo>
                  <a:lnTo>
                    <a:pt x="599" y="324"/>
                  </a:lnTo>
                  <a:lnTo>
                    <a:pt x="649" y="330"/>
                  </a:lnTo>
                  <a:lnTo>
                    <a:pt x="699" y="336"/>
                  </a:lnTo>
                  <a:lnTo>
                    <a:pt x="750" y="339"/>
                  </a:lnTo>
                  <a:lnTo>
                    <a:pt x="804" y="344"/>
                  </a:lnTo>
                  <a:lnTo>
                    <a:pt x="859" y="350"/>
                  </a:lnTo>
                  <a:lnTo>
                    <a:pt x="914" y="356"/>
                  </a:lnTo>
                  <a:lnTo>
                    <a:pt x="969" y="359"/>
                  </a:lnTo>
                  <a:lnTo>
                    <a:pt x="1028" y="364"/>
                  </a:lnTo>
                  <a:lnTo>
                    <a:pt x="1088" y="367"/>
                  </a:lnTo>
                  <a:lnTo>
                    <a:pt x="1147" y="373"/>
                  </a:lnTo>
                  <a:lnTo>
                    <a:pt x="1207" y="376"/>
                  </a:lnTo>
                  <a:lnTo>
                    <a:pt x="1266" y="379"/>
                  </a:lnTo>
                  <a:lnTo>
                    <a:pt x="1325" y="384"/>
                  </a:lnTo>
                  <a:lnTo>
                    <a:pt x="1394" y="390"/>
                  </a:lnTo>
                  <a:lnTo>
                    <a:pt x="1453" y="390"/>
                  </a:lnTo>
                  <a:lnTo>
                    <a:pt x="1513" y="393"/>
                  </a:lnTo>
                  <a:lnTo>
                    <a:pt x="1577" y="396"/>
                  </a:lnTo>
                  <a:lnTo>
                    <a:pt x="1645" y="399"/>
                  </a:lnTo>
                  <a:lnTo>
                    <a:pt x="1709" y="401"/>
                  </a:lnTo>
                  <a:lnTo>
                    <a:pt x="1773" y="401"/>
                  </a:lnTo>
                  <a:lnTo>
                    <a:pt x="1837" y="404"/>
                  </a:lnTo>
                  <a:lnTo>
                    <a:pt x="1906" y="407"/>
                  </a:lnTo>
                  <a:lnTo>
                    <a:pt x="1970" y="410"/>
                  </a:lnTo>
                  <a:lnTo>
                    <a:pt x="2034" y="410"/>
                  </a:lnTo>
                  <a:lnTo>
                    <a:pt x="2098" y="410"/>
                  </a:lnTo>
                  <a:lnTo>
                    <a:pt x="2166" y="413"/>
                  </a:lnTo>
                  <a:lnTo>
                    <a:pt x="2235" y="413"/>
                  </a:lnTo>
                  <a:lnTo>
                    <a:pt x="2299" y="413"/>
                  </a:lnTo>
                  <a:lnTo>
                    <a:pt x="2363" y="413"/>
                  </a:lnTo>
                  <a:lnTo>
                    <a:pt x="2431" y="413"/>
                  </a:lnTo>
                  <a:lnTo>
                    <a:pt x="2495" y="413"/>
                  </a:lnTo>
                  <a:lnTo>
                    <a:pt x="2559" y="413"/>
                  </a:lnTo>
                  <a:lnTo>
                    <a:pt x="2623" y="410"/>
                  </a:lnTo>
                  <a:lnTo>
                    <a:pt x="2692" y="410"/>
                  </a:lnTo>
                  <a:lnTo>
                    <a:pt x="2751" y="410"/>
                  </a:lnTo>
                  <a:lnTo>
                    <a:pt x="2820" y="407"/>
                  </a:lnTo>
                  <a:lnTo>
                    <a:pt x="2879" y="404"/>
                  </a:lnTo>
                  <a:lnTo>
                    <a:pt x="2943" y="404"/>
                  </a:lnTo>
                  <a:lnTo>
                    <a:pt x="3003" y="401"/>
                  </a:lnTo>
                  <a:lnTo>
                    <a:pt x="3067" y="401"/>
                  </a:lnTo>
                  <a:lnTo>
                    <a:pt x="3126" y="399"/>
                  </a:lnTo>
                  <a:lnTo>
                    <a:pt x="3185" y="396"/>
                  </a:lnTo>
                  <a:lnTo>
                    <a:pt x="3245" y="390"/>
                  </a:lnTo>
                  <a:lnTo>
                    <a:pt x="3304" y="390"/>
                  </a:lnTo>
                  <a:lnTo>
                    <a:pt x="3364" y="384"/>
                  </a:lnTo>
                  <a:lnTo>
                    <a:pt x="3423" y="381"/>
                  </a:lnTo>
                  <a:lnTo>
                    <a:pt x="3473" y="376"/>
                  </a:lnTo>
                  <a:lnTo>
                    <a:pt x="3528" y="373"/>
                  </a:lnTo>
                  <a:lnTo>
                    <a:pt x="3583" y="367"/>
                  </a:lnTo>
                  <a:lnTo>
                    <a:pt x="3638" y="364"/>
                  </a:lnTo>
                  <a:lnTo>
                    <a:pt x="3688" y="359"/>
                  </a:lnTo>
                  <a:lnTo>
                    <a:pt x="3743" y="353"/>
                  </a:lnTo>
                  <a:lnTo>
                    <a:pt x="3789" y="347"/>
                  </a:lnTo>
                  <a:lnTo>
                    <a:pt x="3843" y="344"/>
                  </a:lnTo>
                  <a:lnTo>
                    <a:pt x="3889" y="339"/>
                  </a:lnTo>
                  <a:lnTo>
                    <a:pt x="3944" y="333"/>
                  </a:lnTo>
                  <a:lnTo>
                    <a:pt x="3990" y="327"/>
                  </a:lnTo>
                  <a:lnTo>
                    <a:pt x="4040" y="324"/>
                  </a:lnTo>
                  <a:lnTo>
                    <a:pt x="4086" y="316"/>
                  </a:lnTo>
                  <a:lnTo>
                    <a:pt x="4136" y="313"/>
                  </a:lnTo>
                  <a:lnTo>
                    <a:pt x="4182" y="307"/>
                  </a:lnTo>
                  <a:lnTo>
                    <a:pt x="4232" y="302"/>
                  </a:lnTo>
                  <a:lnTo>
                    <a:pt x="4273" y="296"/>
                  </a:lnTo>
                  <a:lnTo>
                    <a:pt x="4319" y="287"/>
                  </a:lnTo>
                  <a:lnTo>
                    <a:pt x="4360" y="285"/>
                  </a:lnTo>
                  <a:lnTo>
                    <a:pt x="4406" y="279"/>
                  </a:lnTo>
                  <a:lnTo>
                    <a:pt x="4447" y="273"/>
                  </a:lnTo>
                  <a:lnTo>
                    <a:pt x="4488" y="265"/>
                  </a:lnTo>
                  <a:lnTo>
                    <a:pt x="4529" y="262"/>
                  </a:lnTo>
                  <a:lnTo>
                    <a:pt x="4570" y="256"/>
                  </a:lnTo>
                  <a:lnTo>
                    <a:pt x="4607" y="250"/>
                  </a:lnTo>
                  <a:lnTo>
                    <a:pt x="4643" y="239"/>
                  </a:lnTo>
                  <a:lnTo>
                    <a:pt x="4680" y="236"/>
                  </a:lnTo>
                  <a:lnTo>
                    <a:pt x="4721" y="231"/>
                  </a:lnTo>
                  <a:lnTo>
                    <a:pt x="4753" y="225"/>
                  </a:lnTo>
                  <a:lnTo>
                    <a:pt x="4789" y="219"/>
                  </a:lnTo>
                  <a:lnTo>
                    <a:pt x="4821" y="213"/>
                  </a:lnTo>
                  <a:lnTo>
                    <a:pt x="4858" y="208"/>
                  </a:lnTo>
                  <a:lnTo>
                    <a:pt x="4890" y="202"/>
                  </a:lnTo>
                  <a:lnTo>
                    <a:pt x="4922" y="196"/>
                  </a:lnTo>
                  <a:lnTo>
                    <a:pt x="4949" y="191"/>
                  </a:lnTo>
                  <a:lnTo>
                    <a:pt x="4981" y="185"/>
                  </a:lnTo>
                  <a:lnTo>
                    <a:pt x="5009" y="179"/>
                  </a:lnTo>
                  <a:lnTo>
                    <a:pt x="5041" y="174"/>
                  </a:lnTo>
                  <a:lnTo>
                    <a:pt x="5064" y="168"/>
                  </a:lnTo>
                  <a:lnTo>
                    <a:pt x="5091" y="165"/>
                  </a:lnTo>
                  <a:lnTo>
                    <a:pt x="5119" y="159"/>
                  </a:lnTo>
                  <a:lnTo>
                    <a:pt x="5141" y="154"/>
                  </a:lnTo>
                  <a:lnTo>
                    <a:pt x="5164" y="151"/>
                  </a:lnTo>
                  <a:lnTo>
                    <a:pt x="5187" y="148"/>
                  </a:lnTo>
                  <a:lnTo>
                    <a:pt x="5205" y="142"/>
                  </a:lnTo>
                  <a:lnTo>
                    <a:pt x="5228" y="139"/>
                  </a:lnTo>
                  <a:lnTo>
                    <a:pt x="5247" y="137"/>
                  </a:lnTo>
                  <a:lnTo>
                    <a:pt x="5265" y="131"/>
                  </a:lnTo>
                  <a:lnTo>
                    <a:pt x="5283" y="128"/>
                  </a:lnTo>
                  <a:lnTo>
                    <a:pt x="5297" y="122"/>
                  </a:lnTo>
                  <a:lnTo>
                    <a:pt x="5315" y="119"/>
                  </a:lnTo>
                  <a:lnTo>
                    <a:pt x="5329" y="117"/>
                  </a:lnTo>
                  <a:lnTo>
                    <a:pt x="5338" y="114"/>
                  </a:lnTo>
                  <a:lnTo>
                    <a:pt x="5352" y="111"/>
                  </a:lnTo>
                  <a:lnTo>
                    <a:pt x="5365" y="111"/>
                  </a:lnTo>
                  <a:lnTo>
                    <a:pt x="5374" y="108"/>
                  </a:lnTo>
                  <a:lnTo>
                    <a:pt x="5388" y="102"/>
                  </a:lnTo>
                  <a:lnTo>
                    <a:pt x="5402" y="102"/>
                  </a:lnTo>
                  <a:lnTo>
                    <a:pt x="5411" y="100"/>
                  </a:lnTo>
                  <a:lnTo>
                    <a:pt x="5265" y="0"/>
                  </a:lnTo>
                  <a:lnTo>
                    <a:pt x="5260" y="0"/>
                  </a:lnTo>
                  <a:lnTo>
                    <a:pt x="5251" y="3"/>
                  </a:lnTo>
                  <a:lnTo>
                    <a:pt x="5242" y="3"/>
                  </a:lnTo>
                  <a:lnTo>
                    <a:pt x="5233" y="3"/>
                  </a:lnTo>
                  <a:lnTo>
                    <a:pt x="5219" y="3"/>
                  </a:lnTo>
                  <a:lnTo>
                    <a:pt x="5210" y="8"/>
                  </a:lnTo>
                  <a:lnTo>
                    <a:pt x="5196" y="11"/>
                  </a:lnTo>
                  <a:lnTo>
                    <a:pt x="5178" y="14"/>
                  </a:lnTo>
                  <a:lnTo>
                    <a:pt x="5160" y="17"/>
                  </a:lnTo>
                  <a:lnTo>
                    <a:pt x="5141" y="20"/>
                  </a:lnTo>
                  <a:lnTo>
                    <a:pt x="5119" y="23"/>
                  </a:lnTo>
                  <a:lnTo>
                    <a:pt x="5100" y="25"/>
                  </a:lnTo>
                  <a:lnTo>
                    <a:pt x="5077" y="31"/>
                  </a:lnTo>
                  <a:lnTo>
                    <a:pt x="5055" y="37"/>
                  </a:lnTo>
                  <a:lnTo>
                    <a:pt x="5023" y="40"/>
                  </a:lnTo>
                  <a:lnTo>
                    <a:pt x="5000" y="43"/>
                  </a:lnTo>
                  <a:lnTo>
                    <a:pt x="4968" y="48"/>
                  </a:lnTo>
                  <a:lnTo>
                    <a:pt x="4940" y="51"/>
                  </a:lnTo>
                  <a:lnTo>
                    <a:pt x="4904" y="57"/>
                  </a:lnTo>
                  <a:lnTo>
                    <a:pt x="4872" y="60"/>
                  </a:lnTo>
                  <a:lnTo>
                    <a:pt x="4840" y="68"/>
                  </a:lnTo>
                  <a:lnTo>
                    <a:pt x="4808" y="71"/>
                  </a:lnTo>
                  <a:lnTo>
                    <a:pt x="4767" y="77"/>
                  </a:lnTo>
                  <a:lnTo>
                    <a:pt x="4730" y="82"/>
                  </a:lnTo>
                  <a:lnTo>
                    <a:pt x="4694" y="88"/>
                  </a:lnTo>
                  <a:lnTo>
                    <a:pt x="4652" y="91"/>
                  </a:lnTo>
                  <a:lnTo>
                    <a:pt x="4611" y="97"/>
                  </a:lnTo>
                  <a:lnTo>
                    <a:pt x="4570" y="102"/>
                  </a:lnTo>
                  <a:lnTo>
                    <a:pt x="4524" y="111"/>
                  </a:lnTo>
                  <a:lnTo>
                    <a:pt x="4488" y="117"/>
                  </a:lnTo>
                  <a:lnTo>
                    <a:pt x="4438" y="122"/>
                  </a:lnTo>
                  <a:lnTo>
                    <a:pt x="4392" y="128"/>
                  </a:lnTo>
                  <a:lnTo>
                    <a:pt x="4342" y="134"/>
                  </a:lnTo>
                  <a:lnTo>
                    <a:pt x="4296" y="139"/>
                  </a:lnTo>
                  <a:lnTo>
                    <a:pt x="4246" y="142"/>
                  </a:lnTo>
                  <a:lnTo>
                    <a:pt x="4200" y="151"/>
                  </a:lnTo>
                  <a:lnTo>
                    <a:pt x="4145" y="154"/>
                  </a:lnTo>
                  <a:lnTo>
                    <a:pt x="4095" y="162"/>
                  </a:lnTo>
                  <a:lnTo>
                    <a:pt x="4040" y="165"/>
                  </a:lnTo>
                  <a:lnTo>
                    <a:pt x="3990" y="174"/>
                  </a:lnTo>
                  <a:lnTo>
                    <a:pt x="3935" y="176"/>
                  </a:lnTo>
                  <a:lnTo>
                    <a:pt x="3885" y="185"/>
                  </a:lnTo>
                  <a:lnTo>
                    <a:pt x="3830" y="185"/>
                  </a:lnTo>
                  <a:lnTo>
                    <a:pt x="3770" y="193"/>
                  </a:lnTo>
                  <a:lnTo>
                    <a:pt x="3716" y="199"/>
                  </a:lnTo>
                  <a:lnTo>
                    <a:pt x="3661" y="205"/>
                  </a:lnTo>
                  <a:lnTo>
                    <a:pt x="3597" y="208"/>
                  </a:lnTo>
                  <a:lnTo>
                    <a:pt x="3542" y="213"/>
                  </a:lnTo>
                  <a:lnTo>
                    <a:pt x="3482" y="219"/>
                  </a:lnTo>
                  <a:lnTo>
                    <a:pt x="3423" y="225"/>
                  </a:lnTo>
                  <a:lnTo>
                    <a:pt x="3364" y="228"/>
                  </a:lnTo>
                  <a:lnTo>
                    <a:pt x="3304" y="231"/>
                  </a:lnTo>
                  <a:lnTo>
                    <a:pt x="3245" y="236"/>
                  </a:lnTo>
                  <a:lnTo>
                    <a:pt x="3181" y="239"/>
                  </a:lnTo>
                  <a:lnTo>
                    <a:pt x="3121" y="242"/>
                  </a:lnTo>
                  <a:lnTo>
                    <a:pt x="3057" y="248"/>
                  </a:lnTo>
                  <a:lnTo>
                    <a:pt x="2998" y="250"/>
                  </a:lnTo>
                  <a:lnTo>
                    <a:pt x="2934" y="253"/>
                  </a:lnTo>
                  <a:lnTo>
                    <a:pt x="2875" y="256"/>
                  </a:lnTo>
                  <a:lnTo>
                    <a:pt x="2806" y="259"/>
                  </a:lnTo>
                  <a:lnTo>
                    <a:pt x="2747" y="262"/>
                  </a:lnTo>
                  <a:lnTo>
                    <a:pt x="2683" y="265"/>
                  </a:lnTo>
                  <a:lnTo>
                    <a:pt x="2619" y="265"/>
                  </a:lnTo>
                  <a:lnTo>
                    <a:pt x="2555" y="268"/>
                  </a:lnTo>
                  <a:lnTo>
                    <a:pt x="2495" y="268"/>
                  </a:lnTo>
                  <a:lnTo>
                    <a:pt x="2431" y="270"/>
                  </a:lnTo>
                  <a:lnTo>
                    <a:pt x="2367" y="270"/>
                  </a:lnTo>
                  <a:lnTo>
                    <a:pt x="2308" y="270"/>
                  </a:lnTo>
                  <a:lnTo>
                    <a:pt x="2244" y="270"/>
                  </a:lnTo>
                  <a:lnTo>
                    <a:pt x="2185" y="270"/>
                  </a:lnTo>
                  <a:lnTo>
                    <a:pt x="2125" y="270"/>
                  </a:lnTo>
                  <a:lnTo>
                    <a:pt x="2070" y="268"/>
                  </a:lnTo>
                  <a:lnTo>
                    <a:pt x="2011" y="268"/>
                  </a:lnTo>
                  <a:lnTo>
                    <a:pt x="1951" y="268"/>
                  </a:lnTo>
                  <a:lnTo>
                    <a:pt x="1897" y="265"/>
                  </a:lnTo>
                  <a:lnTo>
                    <a:pt x="1842" y="265"/>
                  </a:lnTo>
                  <a:lnTo>
                    <a:pt x="1787" y="262"/>
                  </a:lnTo>
                  <a:lnTo>
                    <a:pt x="1732" y="262"/>
                  </a:lnTo>
                  <a:lnTo>
                    <a:pt x="1673" y="262"/>
                  </a:lnTo>
                  <a:lnTo>
                    <a:pt x="1622" y="259"/>
                  </a:lnTo>
                  <a:lnTo>
                    <a:pt x="1568" y="256"/>
                  </a:lnTo>
                  <a:lnTo>
                    <a:pt x="1517" y="253"/>
                  </a:lnTo>
                  <a:lnTo>
                    <a:pt x="1467" y="250"/>
                  </a:lnTo>
                  <a:lnTo>
                    <a:pt x="1417" y="250"/>
                  </a:lnTo>
                  <a:lnTo>
                    <a:pt x="1362" y="248"/>
                  </a:lnTo>
                  <a:lnTo>
                    <a:pt x="1321" y="245"/>
                  </a:lnTo>
                  <a:lnTo>
                    <a:pt x="1270" y="239"/>
                  </a:lnTo>
                  <a:lnTo>
                    <a:pt x="1220" y="239"/>
                  </a:lnTo>
                  <a:lnTo>
                    <a:pt x="1175" y="236"/>
                  </a:lnTo>
                  <a:lnTo>
                    <a:pt x="1129" y="233"/>
                  </a:lnTo>
                  <a:lnTo>
                    <a:pt x="1088" y="231"/>
                  </a:lnTo>
                  <a:lnTo>
                    <a:pt x="1042" y="228"/>
                  </a:lnTo>
                  <a:lnTo>
                    <a:pt x="1001" y="225"/>
                  </a:lnTo>
                  <a:lnTo>
                    <a:pt x="964" y="219"/>
                  </a:lnTo>
                  <a:lnTo>
                    <a:pt x="919" y="216"/>
                  </a:lnTo>
                  <a:lnTo>
                    <a:pt x="877" y="213"/>
                  </a:lnTo>
                  <a:lnTo>
                    <a:pt x="841" y="208"/>
                  </a:lnTo>
                  <a:lnTo>
                    <a:pt x="804" y="208"/>
                  </a:lnTo>
                  <a:lnTo>
                    <a:pt x="759" y="202"/>
                  </a:lnTo>
                  <a:lnTo>
                    <a:pt x="731" y="199"/>
                  </a:lnTo>
                  <a:lnTo>
                    <a:pt x="695" y="196"/>
                  </a:lnTo>
                  <a:lnTo>
                    <a:pt x="663" y="193"/>
                  </a:lnTo>
                  <a:lnTo>
                    <a:pt x="631" y="188"/>
                  </a:lnTo>
                  <a:lnTo>
                    <a:pt x="599" y="185"/>
                  </a:lnTo>
                  <a:lnTo>
                    <a:pt x="567" y="182"/>
                  </a:lnTo>
                  <a:lnTo>
                    <a:pt x="539" y="179"/>
                  </a:lnTo>
                  <a:lnTo>
                    <a:pt x="507" y="174"/>
                  </a:lnTo>
                  <a:lnTo>
                    <a:pt x="484" y="174"/>
                  </a:lnTo>
                  <a:lnTo>
                    <a:pt x="457" y="168"/>
                  </a:lnTo>
                  <a:lnTo>
                    <a:pt x="434" y="165"/>
                  </a:lnTo>
                  <a:lnTo>
                    <a:pt x="411" y="162"/>
                  </a:lnTo>
                  <a:lnTo>
                    <a:pt x="384" y="159"/>
                  </a:lnTo>
                  <a:lnTo>
                    <a:pt x="361" y="156"/>
                  </a:lnTo>
                  <a:lnTo>
                    <a:pt x="343" y="154"/>
                  </a:lnTo>
                  <a:lnTo>
                    <a:pt x="329" y="151"/>
                  </a:lnTo>
                  <a:lnTo>
                    <a:pt x="311" y="148"/>
                  </a:lnTo>
                  <a:lnTo>
                    <a:pt x="292" y="145"/>
                  </a:lnTo>
                  <a:lnTo>
                    <a:pt x="283" y="142"/>
                  </a:lnTo>
                  <a:lnTo>
                    <a:pt x="270" y="139"/>
                  </a:lnTo>
                  <a:lnTo>
                    <a:pt x="256" y="139"/>
                  </a:lnTo>
                  <a:lnTo>
                    <a:pt x="242" y="137"/>
                  </a:lnTo>
                  <a:lnTo>
                    <a:pt x="238" y="137"/>
                  </a:lnTo>
                  <a:lnTo>
                    <a:pt x="224" y="134"/>
                  </a:lnTo>
                  <a:lnTo>
                    <a:pt x="215" y="134"/>
                  </a:lnTo>
                  <a:lnTo>
                    <a:pt x="201" y="128"/>
                  </a:lnTo>
                  <a:lnTo>
                    <a:pt x="187" y="128"/>
                  </a:lnTo>
                  <a:lnTo>
                    <a:pt x="169" y="131"/>
                  </a:lnTo>
                  <a:lnTo>
                    <a:pt x="155" y="134"/>
                  </a:lnTo>
                  <a:lnTo>
                    <a:pt x="133" y="137"/>
                  </a:lnTo>
                  <a:lnTo>
                    <a:pt x="114" y="142"/>
                  </a:lnTo>
                  <a:lnTo>
                    <a:pt x="96" y="151"/>
                  </a:lnTo>
                  <a:lnTo>
                    <a:pt x="78" y="159"/>
                  </a:lnTo>
                  <a:lnTo>
                    <a:pt x="59" y="165"/>
                  </a:lnTo>
                  <a:lnTo>
                    <a:pt x="41" y="174"/>
                  </a:lnTo>
                  <a:lnTo>
                    <a:pt x="23" y="179"/>
                  </a:lnTo>
                  <a:lnTo>
                    <a:pt x="14" y="185"/>
                  </a:lnTo>
                  <a:lnTo>
                    <a:pt x="0" y="191"/>
                  </a:lnTo>
                  <a:lnTo>
                    <a:pt x="0" y="196"/>
                  </a:lnTo>
                  <a:lnTo>
                    <a:pt x="0" y="19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37" name="Freeform 148"/>
            <p:cNvSpPr>
              <a:spLocks/>
            </p:cNvSpPr>
            <p:nvPr>
              <p:custDataLst>
                <p:tags r:id="rId136"/>
              </p:custDataLst>
            </p:nvPr>
          </p:nvSpPr>
          <p:spPr bwMode="gray">
            <a:xfrm>
              <a:off x="932" y="1412"/>
              <a:ext cx="3823" cy="1413"/>
            </a:xfrm>
            <a:custGeom>
              <a:avLst/>
              <a:gdLst>
                <a:gd name="T0" fmla="*/ 223 w 3730"/>
                <a:gd name="T1" fmla="*/ 12 h 1546"/>
                <a:gd name="T2" fmla="*/ 202 w 3730"/>
                <a:gd name="T3" fmla="*/ 22 h 1546"/>
                <a:gd name="T4" fmla="*/ 181 w 3730"/>
                <a:gd name="T5" fmla="*/ 34 h 1546"/>
                <a:gd name="T6" fmla="*/ 145 w 3730"/>
                <a:gd name="T7" fmla="*/ 48 h 1546"/>
                <a:gd name="T8" fmla="*/ 116 w 3730"/>
                <a:gd name="T9" fmla="*/ 65 h 1546"/>
                <a:gd name="T10" fmla="*/ 75 w 3730"/>
                <a:gd name="T11" fmla="*/ 83 h 1546"/>
                <a:gd name="T12" fmla="*/ 54 w 3730"/>
                <a:gd name="T13" fmla="*/ 98 h 1546"/>
                <a:gd name="T14" fmla="*/ 14 w 3730"/>
                <a:gd name="T15" fmla="*/ 112 h 1546"/>
                <a:gd name="T16" fmla="*/ 5 w 3730"/>
                <a:gd name="T17" fmla="*/ 123 h 1546"/>
                <a:gd name="T18" fmla="*/ 0 w 3730"/>
                <a:gd name="T19" fmla="*/ 131 h 1546"/>
                <a:gd name="T20" fmla="*/ 5 w 3730"/>
                <a:gd name="T21" fmla="*/ 132 h 1546"/>
                <a:gd name="T22" fmla="*/ 123 w 3730"/>
                <a:gd name="T23" fmla="*/ 133 h 1546"/>
                <a:gd name="T24" fmla="*/ 271 w 3730"/>
                <a:gd name="T25" fmla="*/ 134 h 1546"/>
                <a:gd name="T26" fmla="*/ 461 w 3730"/>
                <a:gd name="T27" fmla="*/ 137 h 1546"/>
                <a:gd name="T28" fmla="*/ 696 w 3730"/>
                <a:gd name="T29" fmla="*/ 138 h 1546"/>
                <a:gd name="T30" fmla="*/ 963 w 3730"/>
                <a:gd name="T31" fmla="*/ 140 h 1546"/>
                <a:gd name="T32" fmla="*/ 1252 w 3730"/>
                <a:gd name="T33" fmla="*/ 142 h 1546"/>
                <a:gd name="T34" fmla="*/ 1571 w 3730"/>
                <a:gd name="T35" fmla="*/ 144 h 1546"/>
                <a:gd name="T36" fmla="*/ 1893 w 3730"/>
                <a:gd name="T37" fmla="*/ 144 h 1546"/>
                <a:gd name="T38" fmla="*/ 2211 w 3730"/>
                <a:gd name="T39" fmla="*/ 146 h 1546"/>
                <a:gd name="T40" fmla="*/ 2537 w 3730"/>
                <a:gd name="T41" fmla="*/ 148 h 1546"/>
                <a:gd name="T42" fmla="*/ 2881 w 3730"/>
                <a:gd name="T43" fmla="*/ 150 h 1546"/>
                <a:gd name="T44" fmla="*/ 3238 w 3730"/>
                <a:gd name="T45" fmla="*/ 150 h 1546"/>
                <a:gd name="T46" fmla="*/ 3611 w 3730"/>
                <a:gd name="T47" fmla="*/ 150 h 1546"/>
                <a:gd name="T48" fmla="*/ 3984 w 3730"/>
                <a:gd name="T49" fmla="*/ 149 h 1546"/>
                <a:gd name="T50" fmla="*/ 4362 w 3730"/>
                <a:gd name="T51" fmla="*/ 148 h 1546"/>
                <a:gd name="T52" fmla="*/ 4708 w 3730"/>
                <a:gd name="T53" fmla="*/ 147 h 1546"/>
                <a:gd name="T54" fmla="*/ 5047 w 3730"/>
                <a:gd name="T55" fmla="*/ 145 h 1546"/>
                <a:gd name="T56" fmla="*/ 5353 w 3730"/>
                <a:gd name="T57" fmla="*/ 144 h 1546"/>
                <a:gd name="T58" fmla="*/ 5623 w 3730"/>
                <a:gd name="T59" fmla="*/ 144 h 1546"/>
                <a:gd name="T60" fmla="*/ 5847 w 3730"/>
                <a:gd name="T61" fmla="*/ 143 h 1546"/>
                <a:gd name="T62" fmla="*/ 6025 w 3730"/>
                <a:gd name="T63" fmla="*/ 142 h 1546"/>
                <a:gd name="T64" fmla="*/ 6201 w 3730"/>
                <a:gd name="T65" fmla="*/ 140 h 1546"/>
                <a:gd name="T66" fmla="*/ 6364 w 3730"/>
                <a:gd name="T67" fmla="*/ 139 h 1546"/>
                <a:gd name="T68" fmla="*/ 6505 w 3730"/>
                <a:gd name="T69" fmla="*/ 138 h 1546"/>
                <a:gd name="T70" fmla="*/ 6640 w 3730"/>
                <a:gd name="T71" fmla="*/ 137 h 1546"/>
                <a:gd name="T72" fmla="*/ 6797 w 3730"/>
                <a:gd name="T73" fmla="*/ 134 h 1546"/>
                <a:gd name="T74" fmla="*/ 6978 w 3730"/>
                <a:gd name="T75" fmla="*/ 133 h 1546"/>
                <a:gd name="T76" fmla="*/ 7077 w 3730"/>
                <a:gd name="T77" fmla="*/ 132 h 1546"/>
                <a:gd name="T78" fmla="*/ 6496 w 3730"/>
                <a:gd name="T79" fmla="*/ 123 h 1546"/>
                <a:gd name="T80" fmla="*/ 6372 w 3730"/>
                <a:gd name="T81" fmla="*/ 124 h 1546"/>
                <a:gd name="T82" fmla="*/ 6209 w 3730"/>
                <a:gd name="T83" fmla="*/ 126 h 1546"/>
                <a:gd name="T84" fmla="*/ 6000 w 3730"/>
                <a:gd name="T85" fmla="*/ 126 h 1546"/>
                <a:gd name="T86" fmla="*/ 5736 w 3730"/>
                <a:gd name="T87" fmla="*/ 128 h 1546"/>
                <a:gd name="T88" fmla="*/ 5451 w 3730"/>
                <a:gd name="T89" fmla="*/ 130 h 1546"/>
                <a:gd name="T90" fmla="*/ 5131 w 3730"/>
                <a:gd name="T91" fmla="*/ 131 h 1546"/>
                <a:gd name="T92" fmla="*/ 4799 w 3730"/>
                <a:gd name="T93" fmla="*/ 132 h 1546"/>
                <a:gd name="T94" fmla="*/ 4451 w 3730"/>
                <a:gd name="T95" fmla="*/ 133 h 1546"/>
                <a:gd name="T96" fmla="*/ 4086 w 3730"/>
                <a:gd name="T97" fmla="*/ 134 h 1546"/>
                <a:gd name="T98" fmla="*/ 3726 w 3730"/>
                <a:gd name="T99" fmla="*/ 134 h 1546"/>
                <a:gd name="T100" fmla="*/ 3328 w 3730"/>
                <a:gd name="T101" fmla="*/ 134 h 1546"/>
                <a:gd name="T102" fmla="*/ 2911 w 3730"/>
                <a:gd name="T103" fmla="*/ 133 h 1546"/>
                <a:gd name="T104" fmla="*/ 2482 w 3730"/>
                <a:gd name="T105" fmla="*/ 132 h 1546"/>
                <a:gd name="T106" fmla="*/ 2061 w 3730"/>
                <a:gd name="T107" fmla="*/ 132 h 1546"/>
                <a:gd name="T108" fmla="*/ 1667 w 3730"/>
                <a:gd name="T109" fmla="*/ 130 h 1546"/>
                <a:gd name="T110" fmla="*/ 1301 w 3730"/>
                <a:gd name="T111" fmla="*/ 128 h 1546"/>
                <a:gd name="T112" fmla="*/ 987 w 3730"/>
                <a:gd name="T113" fmla="*/ 126 h 1546"/>
                <a:gd name="T114" fmla="*/ 747 w 3730"/>
                <a:gd name="T115" fmla="*/ 125 h 1546"/>
                <a:gd name="T116" fmla="*/ 584 w 3730"/>
                <a:gd name="T117" fmla="*/ 123 h 1546"/>
                <a:gd name="T118" fmla="*/ 589 w 3730"/>
                <a:gd name="T119" fmla="*/ 9 h 154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30"/>
                <a:gd name="T181" fmla="*/ 0 h 1546"/>
                <a:gd name="T182" fmla="*/ 3730 w 3730"/>
                <a:gd name="T183" fmla="*/ 1546 h 154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30" h="1546">
                  <a:moveTo>
                    <a:pt x="133" y="85"/>
                  </a:moveTo>
                  <a:lnTo>
                    <a:pt x="133" y="88"/>
                  </a:lnTo>
                  <a:lnTo>
                    <a:pt x="128" y="94"/>
                  </a:lnTo>
                  <a:lnTo>
                    <a:pt x="124" y="102"/>
                  </a:lnTo>
                  <a:lnTo>
                    <a:pt x="124" y="114"/>
                  </a:lnTo>
                  <a:lnTo>
                    <a:pt x="119" y="122"/>
                  </a:lnTo>
                  <a:lnTo>
                    <a:pt x="119" y="136"/>
                  </a:lnTo>
                  <a:lnTo>
                    <a:pt x="119" y="151"/>
                  </a:lnTo>
                  <a:lnTo>
                    <a:pt x="119" y="168"/>
                  </a:lnTo>
                  <a:lnTo>
                    <a:pt x="115" y="182"/>
                  </a:lnTo>
                  <a:lnTo>
                    <a:pt x="110" y="199"/>
                  </a:lnTo>
                  <a:lnTo>
                    <a:pt x="106" y="219"/>
                  </a:lnTo>
                  <a:lnTo>
                    <a:pt x="106" y="239"/>
                  </a:lnTo>
                  <a:lnTo>
                    <a:pt x="106" y="259"/>
                  </a:lnTo>
                  <a:lnTo>
                    <a:pt x="101" y="282"/>
                  </a:lnTo>
                  <a:lnTo>
                    <a:pt x="96" y="304"/>
                  </a:lnTo>
                  <a:lnTo>
                    <a:pt x="96" y="327"/>
                  </a:lnTo>
                  <a:lnTo>
                    <a:pt x="96" y="353"/>
                  </a:lnTo>
                  <a:lnTo>
                    <a:pt x="92" y="376"/>
                  </a:lnTo>
                  <a:lnTo>
                    <a:pt x="87" y="401"/>
                  </a:lnTo>
                  <a:lnTo>
                    <a:pt x="87" y="427"/>
                  </a:lnTo>
                  <a:lnTo>
                    <a:pt x="87" y="453"/>
                  </a:lnTo>
                  <a:lnTo>
                    <a:pt x="83" y="481"/>
                  </a:lnTo>
                  <a:lnTo>
                    <a:pt x="78" y="509"/>
                  </a:lnTo>
                  <a:lnTo>
                    <a:pt x="74" y="535"/>
                  </a:lnTo>
                  <a:lnTo>
                    <a:pt x="74" y="564"/>
                  </a:lnTo>
                  <a:lnTo>
                    <a:pt x="74" y="592"/>
                  </a:lnTo>
                  <a:lnTo>
                    <a:pt x="69" y="621"/>
                  </a:lnTo>
                  <a:lnTo>
                    <a:pt x="64" y="649"/>
                  </a:lnTo>
                  <a:lnTo>
                    <a:pt x="60" y="680"/>
                  </a:lnTo>
                  <a:lnTo>
                    <a:pt x="60" y="709"/>
                  </a:lnTo>
                  <a:lnTo>
                    <a:pt x="55" y="737"/>
                  </a:lnTo>
                  <a:lnTo>
                    <a:pt x="55" y="766"/>
                  </a:lnTo>
                  <a:lnTo>
                    <a:pt x="51" y="797"/>
                  </a:lnTo>
                  <a:lnTo>
                    <a:pt x="51" y="826"/>
                  </a:lnTo>
                  <a:lnTo>
                    <a:pt x="42" y="854"/>
                  </a:lnTo>
                  <a:lnTo>
                    <a:pt x="42" y="883"/>
                  </a:lnTo>
                  <a:lnTo>
                    <a:pt x="37" y="911"/>
                  </a:lnTo>
                  <a:lnTo>
                    <a:pt x="37" y="939"/>
                  </a:lnTo>
                  <a:lnTo>
                    <a:pt x="37" y="968"/>
                  </a:lnTo>
                  <a:lnTo>
                    <a:pt x="37" y="994"/>
                  </a:lnTo>
                  <a:lnTo>
                    <a:pt x="28" y="1019"/>
                  </a:lnTo>
                  <a:lnTo>
                    <a:pt x="28" y="1045"/>
                  </a:lnTo>
                  <a:lnTo>
                    <a:pt x="19" y="1073"/>
                  </a:lnTo>
                  <a:lnTo>
                    <a:pt x="19" y="1099"/>
                  </a:lnTo>
                  <a:lnTo>
                    <a:pt x="19" y="1122"/>
                  </a:lnTo>
                  <a:lnTo>
                    <a:pt x="19" y="1142"/>
                  </a:lnTo>
                  <a:lnTo>
                    <a:pt x="14" y="1167"/>
                  </a:lnTo>
                  <a:lnTo>
                    <a:pt x="14" y="1190"/>
                  </a:lnTo>
                  <a:lnTo>
                    <a:pt x="10" y="1210"/>
                  </a:lnTo>
                  <a:lnTo>
                    <a:pt x="10" y="1227"/>
                  </a:lnTo>
                  <a:lnTo>
                    <a:pt x="10" y="1247"/>
                  </a:lnTo>
                  <a:lnTo>
                    <a:pt x="5" y="1267"/>
                  </a:lnTo>
                  <a:lnTo>
                    <a:pt x="5" y="1281"/>
                  </a:lnTo>
                  <a:lnTo>
                    <a:pt x="0" y="1298"/>
                  </a:lnTo>
                  <a:lnTo>
                    <a:pt x="0" y="1312"/>
                  </a:lnTo>
                  <a:lnTo>
                    <a:pt x="0" y="1327"/>
                  </a:lnTo>
                  <a:lnTo>
                    <a:pt x="0" y="1338"/>
                  </a:lnTo>
                  <a:lnTo>
                    <a:pt x="0" y="1347"/>
                  </a:lnTo>
                  <a:lnTo>
                    <a:pt x="0" y="1355"/>
                  </a:lnTo>
                  <a:lnTo>
                    <a:pt x="0" y="1364"/>
                  </a:lnTo>
                  <a:lnTo>
                    <a:pt x="0" y="1372"/>
                  </a:lnTo>
                  <a:lnTo>
                    <a:pt x="0" y="1375"/>
                  </a:lnTo>
                  <a:lnTo>
                    <a:pt x="0" y="1378"/>
                  </a:lnTo>
                  <a:lnTo>
                    <a:pt x="5" y="1378"/>
                  </a:lnTo>
                  <a:lnTo>
                    <a:pt x="14" y="1378"/>
                  </a:lnTo>
                  <a:lnTo>
                    <a:pt x="28" y="1381"/>
                  </a:lnTo>
                  <a:lnTo>
                    <a:pt x="37" y="1381"/>
                  </a:lnTo>
                  <a:lnTo>
                    <a:pt x="42" y="1387"/>
                  </a:lnTo>
                  <a:lnTo>
                    <a:pt x="55" y="1387"/>
                  </a:lnTo>
                  <a:lnTo>
                    <a:pt x="64" y="1387"/>
                  </a:lnTo>
                  <a:lnTo>
                    <a:pt x="74" y="1387"/>
                  </a:lnTo>
                  <a:lnTo>
                    <a:pt x="87" y="1389"/>
                  </a:lnTo>
                  <a:lnTo>
                    <a:pt x="96" y="1392"/>
                  </a:lnTo>
                  <a:lnTo>
                    <a:pt x="115" y="1395"/>
                  </a:lnTo>
                  <a:lnTo>
                    <a:pt x="124" y="1398"/>
                  </a:lnTo>
                  <a:lnTo>
                    <a:pt x="142" y="1398"/>
                  </a:lnTo>
                  <a:lnTo>
                    <a:pt x="156" y="1398"/>
                  </a:lnTo>
                  <a:lnTo>
                    <a:pt x="174" y="1404"/>
                  </a:lnTo>
                  <a:lnTo>
                    <a:pt x="188" y="1406"/>
                  </a:lnTo>
                  <a:lnTo>
                    <a:pt x="206" y="1409"/>
                  </a:lnTo>
                  <a:lnTo>
                    <a:pt x="224" y="1409"/>
                  </a:lnTo>
                  <a:lnTo>
                    <a:pt x="243" y="1412"/>
                  </a:lnTo>
                  <a:lnTo>
                    <a:pt x="261" y="1415"/>
                  </a:lnTo>
                  <a:lnTo>
                    <a:pt x="279" y="1418"/>
                  </a:lnTo>
                  <a:lnTo>
                    <a:pt x="302" y="1421"/>
                  </a:lnTo>
                  <a:lnTo>
                    <a:pt x="325" y="1424"/>
                  </a:lnTo>
                  <a:lnTo>
                    <a:pt x="343" y="1426"/>
                  </a:lnTo>
                  <a:lnTo>
                    <a:pt x="366" y="1429"/>
                  </a:lnTo>
                  <a:lnTo>
                    <a:pt x="389" y="1432"/>
                  </a:lnTo>
                  <a:lnTo>
                    <a:pt x="416" y="1435"/>
                  </a:lnTo>
                  <a:lnTo>
                    <a:pt x="435" y="1441"/>
                  </a:lnTo>
                  <a:lnTo>
                    <a:pt x="457" y="1443"/>
                  </a:lnTo>
                  <a:lnTo>
                    <a:pt x="485" y="1443"/>
                  </a:lnTo>
                  <a:lnTo>
                    <a:pt x="508" y="1449"/>
                  </a:lnTo>
                  <a:lnTo>
                    <a:pt x="531" y="1452"/>
                  </a:lnTo>
                  <a:lnTo>
                    <a:pt x="558" y="1455"/>
                  </a:lnTo>
                  <a:lnTo>
                    <a:pt x="581" y="1458"/>
                  </a:lnTo>
                  <a:lnTo>
                    <a:pt x="608" y="1463"/>
                  </a:lnTo>
                  <a:lnTo>
                    <a:pt x="636" y="1463"/>
                  </a:lnTo>
                  <a:lnTo>
                    <a:pt x="659" y="1466"/>
                  </a:lnTo>
                  <a:lnTo>
                    <a:pt x="686" y="1469"/>
                  </a:lnTo>
                  <a:lnTo>
                    <a:pt x="713" y="1475"/>
                  </a:lnTo>
                  <a:lnTo>
                    <a:pt x="741" y="1478"/>
                  </a:lnTo>
                  <a:lnTo>
                    <a:pt x="768" y="1481"/>
                  </a:lnTo>
                  <a:lnTo>
                    <a:pt x="800" y="1486"/>
                  </a:lnTo>
                  <a:lnTo>
                    <a:pt x="828" y="1486"/>
                  </a:lnTo>
                  <a:lnTo>
                    <a:pt x="855" y="1489"/>
                  </a:lnTo>
                  <a:lnTo>
                    <a:pt x="882" y="1492"/>
                  </a:lnTo>
                  <a:lnTo>
                    <a:pt x="910" y="1495"/>
                  </a:lnTo>
                  <a:lnTo>
                    <a:pt x="937" y="1498"/>
                  </a:lnTo>
                  <a:lnTo>
                    <a:pt x="965" y="1500"/>
                  </a:lnTo>
                  <a:lnTo>
                    <a:pt x="997" y="1506"/>
                  </a:lnTo>
                  <a:lnTo>
                    <a:pt x="1020" y="1506"/>
                  </a:lnTo>
                  <a:lnTo>
                    <a:pt x="1052" y="1512"/>
                  </a:lnTo>
                  <a:lnTo>
                    <a:pt x="1079" y="1512"/>
                  </a:lnTo>
                  <a:lnTo>
                    <a:pt x="1106" y="1515"/>
                  </a:lnTo>
                  <a:lnTo>
                    <a:pt x="1138" y="1518"/>
                  </a:lnTo>
                  <a:lnTo>
                    <a:pt x="1166" y="1520"/>
                  </a:lnTo>
                  <a:lnTo>
                    <a:pt x="1193" y="1523"/>
                  </a:lnTo>
                  <a:lnTo>
                    <a:pt x="1225" y="1526"/>
                  </a:lnTo>
                  <a:lnTo>
                    <a:pt x="1253" y="1529"/>
                  </a:lnTo>
                  <a:lnTo>
                    <a:pt x="1285" y="1532"/>
                  </a:lnTo>
                  <a:lnTo>
                    <a:pt x="1308" y="1535"/>
                  </a:lnTo>
                  <a:lnTo>
                    <a:pt x="1335" y="1535"/>
                  </a:lnTo>
                  <a:lnTo>
                    <a:pt x="1362" y="1535"/>
                  </a:lnTo>
                  <a:lnTo>
                    <a:pt x="1394" y="1537"/>
                  </a:lnTo>
                  <a:lnTo>
                    <a:pt x="1422" y="1537"/>
                  </a:lnTo>
                  <a:lnTo>
                    <a:pt x="1454" y="1540"/>
                  </a:lnTo>
                  <a:lnTo>
                    <a:pt x="1486" y="1540"/>
                  </a:lnTo>
                  <a:lnTo>
                    <a:pt x="1518" y="1543"/>
                  </a:lnTo>
                  <a:lnTo>
                    <a:pt x="1545" y="1543"/>
                  </a:lnTo>
                  <a:lnTo>
                    <a:pt x="1577" y="1546"/>
                  </a:lnTo>
                  <a:lnTo>
                    <a:pt x="1609" y="1546"/>
                  </a:lnTo>
                  <a:lnTo>
                    <a:pt x="1641" y="1546"/>
                  </a:lnTo>
                  <a:lnTo>
                    <a:pt x="1673" y="1546"/>
                  </a:lnTo>
                  <a:lnTo>
                    <a:pt x="1705" y="1546"/>
                  </a:lnTo>
                  <a:lnTo>
                    <a:pt x="1742" y="1546"/>
                  </a:lnTo>
                  <a:lnTo>
                    <a:pt x="1774" y="1546"/>
                  </a:lnTo>
                  <a:lnTo>
                    <a:pt x="1806" y="1546"/>
                  </a:lnTo>
                  <a:lnTo>
                    <a:pt x="1838" y="1546"/>
                  </a:lnTo>
                  <a:lnTo>
                    <a:pt x="1865" y="1546"/>
                  </a:lnTo>
                  <a:lnTo>
                    <a:pt x="1902" y="1546"/>
                  </a:lnTo>
                  <a:lnTo>
                    <a:pt x="1929" y="1546"/>
                  </a:lnTo>
                  <a:lnTo>
                    <a:pt x="1966" y="1546"/>
                  </a:lnTo>
                  <a:lnTo>
                    <a:pt x="1998" y="1546"/>
                  </a:lnTo>
                  <a:lnTo>
                    <a:pt x="2034" y="1546"/>
                  </a:lnTo>
                  <a:lnTo>
                    <a:pt x="2066" y="1543"/>
                  </a:lnTo>
                  <a:lnTo>
                    <a:pt x="2098" y="1540"/>
                  </a:lnTo>
                  <a:lnTo>
                    <a:pt x="2130" y="1540"/>
                  </a:lnTo>
                  <a:lnTo>
                    <a:pt x="2167" y="1540"/>
                  </a:lnTo>
                  <a:lnTo>
                    <a:pt x="2199" y="1537"/>
                  </a:lnTo>
                  <a:lnTo>
                    <a:pt x="2235" y="1537"/>
                  </a:lnTo>
                  <a:lnTo>
                    <a:pt x="2263" y="1535"/>
                  </a:lnTo>
                  <a:lnTo>
                    <a:pt x="2299" y="1535"/>
                  </a:lnTo>
                  <a:lnTo>
                    <a:pt x="2327" y="1535"/>
                  </a:lnTo>
                  <a:lnTo>
                    <a:pt x="2359" y="1535"/>
                  </a:lnTo>
                  <a:lnTo>
                    <a:pt x="2391" y="1529"/>
                  </a:lnTo>
                  <a:lnTo>
                    <a:pt x="2423" y="1529"/>
                  </a:lnTo>
                  <a:lnTo>
                    <a:pt x="2455" y="1526"/>
                  </a:lnTo>
                  <a:lnTo>
                    <a:pt x="2482" y="1526"/>
                  </a:lnTo>
                  <a:lnTo>
                    <a:pt x="2514" y="1523"/>
                  </a:lnTo>
                  <a:lnTo>
                    <a:pt x="2546" y="1523"/>
                  </a:lnTo>
                  <a:lnTo>
                    <a:pt x="2573" y="1520"/>
                  </a:lnTo>
                  <a:lnTo>
                    <a:pt x="2601" y="1520"/>
                  </a:lnTo>
                  <a:lnTo>
                    <a:pt x="2633" y="1518"/>
                  </a:lnTo>
                  <a:lnTo>
                    <a:pt x="2660" y="1515"/>
                  </a:lnTo>
                  <a:lnTo>
                    <a:pt x="2688" y="1512"/>
                  </a:lnTo>
                  <a:lnTo>
                    <a:pt x="2715" y="1512"/>
                  </a:lnTo>
                  <a:lnTo>
                    <a:pt x="2743" y="1509"/>
                  </a:lnTo>
                  <a:lnTo>
                    <a:pt x="2775" y="1509"/>
                  </a:lnTo>
                  <a:lnTo>
                    <a:pt x="2797" y="1506"/>
                  </a:lnTo>
                  <a:lnTo>
                    <a:pt x="2820" y="1503"/>
                  </a:lnTo>
                  <a:lnTo>
                    <a:pt x="2848" y="1500"/>
                  </a:lnTo>
                  <a:lnTo>
                    <a:pt x="2875" y="1498"/>
                  </a:lnTo>
                  <a:lnTo>
                    <a:pt x="2893" y="1498"/>
                  </a:lnTo>
                  <a:lnTo>
                    <a:pt x="2921" y="1495"/>
                  </a:lnTo>
                  <a:lnTo>
                    <a:pt x="2944" y="1492"/>
                  </a:lnTo>
                  <a:lnTo>
                    <a:pt x="2962" y="1492"/>
                  </a:lnTo>
                  <a:lnTo>
                    <a:pt x="2989" y="1489"/>
                  </a:lnTo>
                  <a:lnTo>
                    <a:pt x="3008" y="1486"/>
                  </a:lnTo>
                  <a:lnTo>
                    <a:pt x="3026" y="1486"/>
                  </a:lnTo>
                  <a:lnTo>
                    <a:pt x="3049" y="1486"/>
                  </a:lnTo>
                  <a:lnTo>
                    <a:pt x="3067" y="1481"/>
                  </a:lnTo>
                  <a:lnTo>
                    <a:pt x="3081" y="1481"/>
                  </a:lnTo>
                  <a:lnTo>
                    <a:pt x="3099" y="1478"/>
                  </a:lnTo>
                  <a:lnTo>
                    <a:pt x="3117" y="1478"/>
                  </a:lnTo>
                  <a:lnTo>
                    <a:pt x="3131" y="1475"/>
                  </a:lnTo>
                  <a:lnTo>
                    <a:pt x="3145" y="1472"/>
                  </a:lnTo>
                  <a:lnTo>
                    <a:pt x="3163" y="1469"/>
                  </a:lnTo>
                  <a:lnTo>
                    <a:pt x="3177" y="1466"/>
                  </a:lnTo>
                  <a:lnTo>
                    <a:pt x="3190" y="1463"/>
                  </a:lnTo>
                  <a:lnTo>
                    <a:pt x="3209" y="1463"/>
                  </a:lnTo>
                  <a:lnTo>
                    <a:pt x="3222" y="1461"/>
                  </a:lnTo>
                  <a:lnTo>
                    <a:pt x="3241" y="1461"/>
                  </a:lnTo>
                  <a:lnTo>
                    <a:pt x="3254" y="1455"/>
                  </a:lnTo>
                  <a:lnTo>
                    <a:pt x="3268" y="1455"/>
                  </a:lnTo>
                  <a:lnTo>
                    <a:pt x="3282" y="1452"/>
                  </a:lnTo>
                  <a:lnTo>
                    <a:pt x="3296" y="1452"/>
                  </a:lnTo>
                  <a:lnTo>
                    <a:pt x="3309" y="1449"/>
                  </a:lnTo>
                  <a:lnTo>
                    <a:pt x="3323" y="1446"/>
                  </a:lnTo>
                  <a:lnTo>
                    <a:pt x="3341" y="1443"/>
                  </a:lnTo>
                  <a:lnTo>
                    <a:pt x="3355" y="1443"/>
                  </a:lnTo>
                  <a:lnTo>
                    <a:pt x="3364" y="1441"/>
                  </a:lnTo>
                  <a:lnTo>
                    <a:pt x="3378" y="1438"/>
                  </a:lnTo>
                  <a:lnTo>
                    <a:pt x="3391" y="1435"/>
                  </a:lnTo>
                  <a:lnTo>
                    <a:pt x="3405" y="1432"/>
                  </a:lnTo>
                  <a:lnTo>
                    <a:pt x="3419" y="1432"/>
                  </a:lnTo>
                  <a:lnTo>
                    <a:pt x="3428" y="1429"/>
                  </a:lnTo>
                  <a:lnTo>
                    <a:pt x="3442" y="1426"/>
                  </a:lnTo>
                  <a:lnTo>
                    <a:pt x="3455" y="1424"/>
                  </a:lnTo>
                  <a:lnTo>
                    <a:pt x="3465" y="1421"/>
                  </a:lnTo>
                  <a:lnTo>
                    <a:pt x="3478" y="1421"/>
                  </a:lnTo>
                  <a:lnTo>
                    <a:pt x="3492" y="1418"/>
                  </a:lnTo>
                  <a:lnTo>
                    <a:pt x="3501" y="1415"/>
                  </a:lnTo>
                  <a:lnTo>
                    <a:pt x="3515" y="1412"/>
                  </a:lnTo>
                  <a:lnTo>
                    <a:pt x="3529" y="1412"/>
                  </a:lnTo>
                  <a:lnTo>
                    <a:pt x="3538" y="1409"/>
                  </a:lnTo>
                  <a:lnTo>
                    <a:pt x="3547" y="1409"/>
                  </a:lnTo>
                  <a:lnTo>
                    <a:pt x="3565" y="1404"/>
                  </a:lnTo>
                  <a:lnTo>
                    <a:pt x="3583" y="1398"/>
                  </a:lnTo>
                  <a:lnTo>
                    <a:pt x="3602" y="1398"/>
                  </a:lnTo>
                  <a:lnTo>
                    <a:pt x="3620" y="1392"/>
                  </a:lnTo>
                  <a:lnTo>
                    <a:pt x="3634" y="1389"/>
                  </a:lnTo>
                  <a:lnTo>
                    <a:pt x="3652" y="1387"/>
                  </a:lnTo>
                  <a:lnTo>
                    <a:pt x="3666" y="1387"/>
                  </a:lnTo>
                  <a:lnTo>
                    <a:pt x="3679" y="1381"/>
                  </a:lnTo>
                  <a:lnTo>
                    <a:pt x="3689" y="1378"/>
                  </a:lnTo>
                  <a:lnTo>
                    <a:pt x="3698" y="1375"/>
                  </a:lnTo>
                  <a:lnTo>
                    <a:pt x="3707" y="1372"/>
                  </a:lnTo>
                  <a:lnTo>
                    <a:pt x="3711" y="1372"/>
                  </a:lnTo>
                  <a:lnTo>
                    <a:pt x="3725" y="1372"/>
                  </a:lnTo>
                  <a:lnTo>
                    <a:pt x="3730" y="1372"/>
                  </a:lnTo>
                  <a:lnTo>
                    <a:pt x="3538" y="0"/>
                  </a:lnTo>
                  <a:lnTo>
                    <a:pt x="3341" y="11"/>
                  </a:lnTo>
                  <a:lnTo>
                    <a:pt x="3442" y="1281"/>
                  </a:lnTo>
                  <a:lnTo>
                    <a:pt x="3433" y="1281"/>
                  </a:lnTo>
                  <a:lnTo>
                    <a:pt x="3423" y="1281"/>
                  </a:lnTo>
                  <a:lnTo>
                    <a:pt x="3410" y="1281"/>
                  </a:lnTo>
                  <a:lnTo>
                    <a:pt x="3401" y="1281"/>
                  </a:lnTo>
                  <a:lnTo>
                    <a:pt x="3391" y="1284"/>
                  </a:lnTo>
                  <a:lnTo>
                    <a:pt x="3378" y="1284"/>
                  </a:lnTo>
                  <a:lnTo>
                    <a:pt x="3369" y="1287"/>
                  </a:lnTo>
                  <a:lnTo>
                    <a:pt x="3359" y="1287"/>
                  </a:lnTo>
                  <a:lnTo>
                    <a:pt x="3346" y="1290"/>
                  </a:lnTo>
                  <a:lnTo>
                    <a:pt x="3332" y="1293"/>
                  </a:lnTo>
                  <a:lnTo>
                    <a:pt x="3323" y="1293"/>
                  </a:lnTo>
                  <a:lnTo>
                    <a:pt x="3305" y="1295"/>
                  </a:lnTo>
                  <a:lnTo>
                    <a:pt x="3291" y="1295"/>
                  </a:lnTo>
                  <a:lnTo>
                    <a:pt x="3273" y="1298"/>
                  </a:lnTo>
                  <a:lnTo>
                    <a:pt x="3254" y="1301"/>
                  </a:lnTo>
                  <a:lnTo>
                    <a:pt x="3236" y="1301"/>
                  </a:lnTo>
                  <a:lnTo>
                    <a:pt x="3218" y="1304"/>
                  </a:lnTo>
                  <a:lnTo>
                    <a:pt x="3200" y="1307"/>
                  </a:lnTo>
                  <a:lnTo>
                    <a:pt x="3181" y="1310"/>
                  </a:lnTo>
                  <a:lnTo>
                    <a:pt x="3163" y="1310"/>
                  </a:lnTo>
                  <a:lnTo>
                    <a:pt x="3140" y="1312"/>
                  </a:lnTo>
                  <a:lnTo>
                    <a:pt x="3117" y="1315"/>
                  </a:lnTo>
                  <a:lnTo>
                    <a:pt x="3099" y="1318"/>
                  </a:lnTo>
                  <a:lnTo>
                    <a:pt x="3072" y="1321"/>
                  </a:lnTo>
                  <a:lnTo>
                    <a:pt x="3049" y="1324"/>
                  </a:lnTo>
                  <a:lnTo>
                    <a:pt x="3026" y="1327"/>
                  </a:lnTo>
                  <a:lnTo>
                    <a:pt x="3003" y="1330"/>
                  </a:lnTo>
                  <a:lnTo>
                    <a:pt x="2980" y="1332"/>
                  </a:lnTo>
                  <a:lnTo>
                    <a:pt x="2953" y="1332"/>
                  </a:lnTo>
                  <a:lnTo>
                    <a:pt x="2925" y="1335"/>
                  </a:lnTo>
                  <a:lnTo>
                    <a:pt x="2898" y="1338"/>
                  </a:lnTo>
                  <a:lnTo>
                    <a:pt x="2875" y="1341"/>
                  </a:lnTo>
                  <a:lnTo>
                    <a:pt x="2848" y="1344"/>
                  </a:lnTo>
                  <a:lnTo>
                    <a:pt x="2820" y="1347"/>
                  </a:lnTo>
                  <a:lnTo>
                    <a:pt x="2793" y="1350"/>
                  </a:lnTo>
                  <a:lnTo>
                    <a:pt x="2765" y="1350"/>
                  </a:lnTo>
                  <a:lnTo>
                    <a:pt x="2733" y="1352"/>
                  </a:lnTo>
                  <a:lnTo>
                    <a:pt x="2706" y="1355"/>
                  </a:lnTo>
                  <a:lnTo>
                    <a:pt x="2679" y="1361"/>
                  </a:lnTo>
                  <a:lnTo>
                    <a:pt x="2651" y="1361"/>
                  </a:lnTo>
                  <a:lnTo>
                    <a:pt x="2619" y="1364"/>
                  </a:lnTo>
                  <a:lnTo>
                    <a:pt x="2587" y="1367"/>
                  </a:lnTo>
                  <a:lnTo>
                    <a:pt x="2560" y="1369"/>
                  </a:lnTo>
                  <a:lnTo>
                    <a:pt x="2528" y="1372"/>
                  </a:lnTo>
                  <a:lnTo>
                    <a:pt x="2500" y="1372"/>
                  </a:lnTo>
                  <a:lnTo>
                    <a:pt x="2468" y="1375"/>
                  </a:lnTo>
                  <a:lnTo>
                    <a:pt x="2436" y="1378"/>
                  </a:lnTo>
                  <a:lnTo>
                    <a:pt x="2404" y="1378"/>
                  </a:lnTo>
                  <a:lnTo>
                    <a:pt x="2377" y="1381"/>
                  </a:lnTo>
                  <a:lnTo>
                    <a:pt x="2345" y="1384"/>
                  </a:lnTo>
                  <a:lnTo>
                    <a:pt x="2313" y="1387"/>
                  </a:lnTo>
                  <a:lnTo>
                    <a:pt x="2281" y="1387"/>
                  </a:lnTo>
                  <a:lnTo>
                    <a:pt x="2254" y="1389"/>
                  </a:lnTo>
                  <a:lnTo>
                    <a:pt x="2217" y="1392"/>
                  </a:lnTo>
                  <a:lnTo>
                    <a:pt x="2190" y="1392"/>
                  </a:lnTo>
                  <a:lnTo>
                    <a:pt x="2153" y="1395"/>
                  </a:lnTo>
                  <a:lnTo>
                    <a:pt x="2126" y="1398"/>
                  </a:lnTo>
                  <a:lnTo>
                    <a:pt x="2094" y="1398"/>
                  </a:lnTo>
                  <a:lnTo>
                    <a:pt x="2066" y="1398"/>
                  </a:lnTo>
                  <a:lnTo>
                    <a:pt x="2034" y="1398"/>
                  </a:lnTo>
                  <a:lnTo>
                    <a:pt x="1998" y="1398"/>
                  </a:lnTo>
                  <a:lnTo>
                    <a:pt x="1966" y="1398"/>
                  </a:lnTo>
                  <a:lnTo>
                    <a:pt x="1929" y="1401"/>
                  </a:lnTo>
                  <a:lnTo>
                    <a:pt x="1897" y="1401"/>
                  </a:lnTo>
                  <a:lnTo>
                    <a:pt x="1860" y="1401"/>
                  </a:lnTo>
                  <a:lnTo>
                    <a:pt x="1829" y="1401"/>
                  </a:lnTo>
                  <a:lnTo>
                    <a:pt x="1792" y="1401"/>
                  </a:lnTo>
                  <a:lnTo>
                    <a:pt x="1755" y="1398"/>
                  </a:lnTo>
                  <a:lnTo>
                    <a:pt x="1723" y="1398"/>
                  </a:lnTo>
                  <a:lnTo>
                    <a:pt x="1682" y="1398"/>
                  </a:lnTo>
                  <a:lnTo>
                    <a:pt x="1646" y="1398"/>
                  </a:lnTo>
                  <a:lnTo>
                    <a:pt x="1609" y="1398"/>
                  </a:lnTo>
                  <a:lnTo>
                    <a:pt x="1573" y="1395"/>
                  </a:lnTo>
                  <a:lnTo>
                    <a:pt x="1536" y="1392"/>
                  </a:lnTo>
                  <a:lnTo>
                    <a:pt x="1499" y="1392"/>
                  </a:lnTo>
                  <a:lnTo>
                    <a:pt x="1458" y="1389"/>
                  </a:lnTo>
                  <a:lnTo>
                    <a:pt x="1422" y="1387"/>
                  </a:lnTo>
                  <a:lnTo>
                    <a:pt x="1385" y="1387"/>
                  </a:lnTo>
                  <a:lnTo>
                    <a:pt x="1344" y="1381"/>
                  </a:lnTo>
                  <a:lnTo>
                    <a:pt x="1308" y="1378"/>
                  </a:lnTo>
                  <a:lnTo>
                    <a:pt x="1271" y="1378"/>
                  </a:lnTo>
                  <a:lnTo>
                    <a:pt x="1234" y="1375"/>
                  </a:lnTo>
                  <a:lnTo>
                    <a:pt x="1198" y="1372"/>
                  </a:lnTo>
                  <a:lnTo>
                    <a:pt x="1161" y="1369"/>
                  </a:lnTo>
                  <a:lnTo>
                    <a:pt x="1125" y="1367"/>
                  </a:lnTo>
                  <a:lnTo>
                    <a:pt x="1088" y="1364"/>
                  </a:lnTo>
                  <a:lnTo>
                    <a:pt x="1052" y="1361"/>
                  </a:lnTo>
                  <a:lnTo>
                    <a:pt x="1020" y="1358"/>
                  </a:lnTo>
                  <a:lnTo>
                    <a:pt x="983" y="1355"/>
                  </a:lnTo>
                  <a:lnTo>
                    <a:pt x="946" y="1352"/>
                  </a:lnTo>
                  <a:lnTo>
                    <a:pt x="914" y="1350"/>
                  </a:lnTo>
                  <a:lnTo>
                    <a:pt x="878" y="1347"/>
                  </a:lnTo>
                  <a:lnTo>
                    <a:pt x="846" y="1344"/>
                  </a:lnTo>
                  <a:lnTo>
                    <a:pt x="809" y="1338"/>
                  </a:lnTo>
                  <a:lnTo>
                    <a:pt x="777" y="1335"/>
                  </a:lnTo>
                  <a:lnTo>
                    <a:pt x="745" y="1332"/>
                  </a:lnTo>
                  <a:lnTo>
                    <a:pt x="718" y="1330"/>
                  </a:lnTo>
                  <a:lnTo>
                    <a:pt x="686" y="1327"/>
                  </a:lnTo>
                  <a:lnTo>
                    <a:pt x="659" y="1324"/>
                  </a:lnTo>
                  <a:lnTo>
                    <a:pt x="627" y="1321"/>
                  </a:lnTo>
                  <a:lnTo>
                    <a:pt x="599" y="1315"/>
                  </a:lnTo>
                  <a:lnTo>
                    <a:pt x="576" y="1312"/>
                  </a:lnTo>
                  <a:lnTo>
                    <a:pt x="549" y="1310"/>
                  </a:lnTo>
                  <a:lnTo>
                    <a:pt x="521" y="1307"/>
                  </a:lnTo>
                  <a:lnTo>
                    <a:pt x="499" y="1304"/>
                  </a:lnTo>
                  <a:lnTo>
                    <a:pt x="476" y="1304"/>
                  </a:lnTo>
                  <a:lnTo>
                    <a:pt x="453" y="1301"/>
                  </a:lnTo>
                  <a:lnTo>
                    <a:pt x="430" y="1298"/>
                  </a:lnTo>
                  <a:lnTo>
                    <a:pt x="412" y="1295"/>
                  </a:lnTo>
                  <a:lnTo>
                    <a:pt x="393" y="1293"/>
                  </a:lnTo>
                  <a:lnTo>
                    <a:pt x="380" y="1293"/>
                  </a:lnTo>
                  <a:lnTo>
                    <a:pt x="361" y="1290"/>
                  </a:lnTo>
                  <a:lnTo>
                    <a:pt x="343" y="1287"/>
                  </a:lnTo>
                  <a:lnTo>
                    <a:pt x="330" y="1284"/>
                  </a:lnTo>
                  <a:lnTo>
                    <a:pt x="320" y="1284"/>
                  </a:lnTo>
                  <a:lnTo>
                    <a:pt x="307" y="1281"/>
                  </a:lnTo>
                  <a:lnTo>
                    <a:pt x="298" y="1281"/>
                  </a:lnTo>
                  <a:lnTo>
                    <a:pt x="288" y="1281"/>
                  </a:lnTo>
                  <a:lnTo>
                    <a:pt x="279" y="1281"/>
                  </a:lnTo>
                  <a:lnTo>
                    <a:pt x="275" y="1281"/>
                  </a:lnTo>
                  <a:lnTo>
                    <a:pt x="270" y="1281"/>
                  </a:lnTo>
                  <a:lnTo>
                    <a:pt x="311" y="91"/>
                  </a:lnTo>
                  <a:lnTo>
                    <a:pt x="133" y="85"/>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38" name="Freeform 149"/>
            <p:cNvSpPr>
              <a:spLocks/>
            </p:cNvSpPr>
            <p:nvPr>
              <p:custDataLst>
                <p:tags r:id="rId137"/>
              </p:custDataLst>
            </p:nvPr>
          </p:nvSpPr>
          <p:spPr bwMode="gray">
            <a:xfrm>
              <a:off x="2572" y="1972"/>
              <a:ext cx="800" cy="748"/>
            </a:xfrm>
            <a:custGeom>
              <a:avLst/>
              <a:gdLst>
                <a:gd name="T0" fmla="*/ 0 w 781"/>
                <a:gd name="T1" fmla="*/ 74 h 820"/>
                <a:gd name="T2" fmla="*/ 0 w 781"/>
                <a:gd name="T3" fmla="*/ 71 h 820"/>
                <a:gd name="T4" fmla="*/ 5 w 781"/>
                <a:gd name="T5" fmla="*/ 68 h 820"/>
                <a:gd name="T6" fmla="*/ 5 w 781"/>
                <a:gd name="T7" fmla="*/ 65 h 820"/>
                <a:gd name="T8" fmla="*/ 5 w 781"/>
                <a:gd name="T9" fmla="*/ 62 h 820"/>
                <a:gd name="T10" fmla="*/ 5 w 781"/>
                <a:gd name="T11" fmla="*/ 58 h 820"/>
                <a:gd name="T12" fmla="*/ 5 w 781"/>
                <a:gd name="T13" fmla="*/ 56 h 820"/>
                <a:gd name="T14" fmla="*/ 9 w 781"/>
                <a:gd name="T15" fmla="*/ 52 h 820"/>
                <a:gd name="T16" fmla="*/ 9 w 781"/>
                <a:gd name="T17" fmla="*/ 47 h 820"/>
                <a:gd name="T18" fmla="*/ 9 w 781"/>
                <a:gd name="T19" fmla="*/ 43 h 820"/>
                <a:gd name="T20" fmla="*/ 18 w 781"/>
                <a:gd name="T21" fmla="*/ 39 h 820"/>
                <a:gd name="T22" fmla="*/ 18 w 781"/>
                <a:gd name="T23" fmla="*/ 34 h 820"/>
                <a:gd name="T24" fmla="*/ 58 w 781"/>
                <a:gd name="T25" fmla="*/ 30 h 820"/>
                <a:gd name="T26" fmla="*/ 64 w 781"/>
                <a:gd name="T27" fmla="*/ 26 h 820"/>
                <a:gd name="T28" fmla="*/ 90 w 781"/>
                <a:gd name="T29" fmla="*/ 23 h 820"/>
                <a:gd name="T30" fmla="*/ 122 w 781"/>
                <a:gd name="T31" fmla="*/ 19 h 820"/>
                <a:gd name="T32" fmla="*/ 136 w 781"/>
                <a:gd name="T33" fmla="*/ 16 h 820"/>
                <a:gd name="T34" fmla="*/ 169 w 781"/>
                <a:gd name="T35" fmla="*/ 13 h 820"/>
                <a:gd name="T36" fmla="*/ 213 w 781"/>
                <a:gd name="T37" fmla="*/ 11 h 820"/>
                <a:gd name="T38" fmla="*/ 255 w 781"/>
                <a:gd name="T39" fmla="*/ 8 h 820"/>
                <a:gd name="T40" fmla="*/ 307 w 781"/>
                <a:gd name="T41" fmla="*/ 5 h 820"/>
                <a:gd name="T42" fmla="*/ 382 w 781"/>
                <a:gd name="T43" fmla="*/ 5 h 820"/>
                <a:gd name="T44" fmla="*/ 494 w 781"/>
                <a:gd name="T45" fmla="*/ 5 h 820"/>
                <a:gd name="T46" fmla="*/ 544 w 781"/>
                <a:gd name="T47" fmla="*/ 5 h 820"/>
                <a:gd name="T48" fmla="*/ 605 w 781"/>
                <a:gd name="T49" fmla="*/ 5 h 820"/>
                <a:gd name="T50" fmla="*/ 683 w 781"/>
                <a:gd name="T51" fmla="*/ 0 h 820"/>
                <a:gd name="T52" fmla="*/ 761 w 781"/>
                <a:gd name="T53" fmla="*/ 3 h 820"/>
                <a:gd name="T54" fmla="*/ 827 w 781"/>
                <a:gd name="T55" fmla="*/ 5 h 820"/>
                <a:gd name="T56" fmla="*/ 939 w 781"/>
                <a:gd name="T57" fmla="*/ 5 h 820"/>
                <a:gd name="T58" fmla="*/ 1033 w 781"/>
                <a:gd name="T59" fmla="*/ 5 h 820"/>
                <a:gd name="T60" fmla="*/ 1129 w 781"/>
                <a:gd name="T61" fmla="*/ 5 h 820"/>
                <a:gd name="T62" fmla="*/ 1222 w 781"/>
                <a:gd name="T63" fmla="*/ 8 h 820"/>
                <a:gd name="T64" fmla="*/ 1287 w 781"/>
                <a:gd name="T65" fmla="*/ 12 h 820"/>
                <a:gd name="T66" fmla="*/ 1341 w 781"/>
                <a:gd name="T67" fmla="*/ 15 h 820"/>
                <a:gd name="T68" fmla="*/ 1369 w 781"/>
                <a:gd name="T69" fmla="*/ 16 h 820"/>
                <a:gd name="T70" fmla="*/ 1381 w 781"/>
                <a:gd name="T71" fmla="*/ 19 h 820"/>
                <a:gd name="T72" fmla="*/ 1390 w 781"/>
                <a:gd name="T73" fmla="*/ 21 h 820"/>
                <a:gd name="T74" fmla="*/ 1408 w 781"/>
                <a:gd name="T75" fmla="*/ 23 h 820"/>
                <a:gd name="T76" fmla="*/ 1416 w 781"/>
                <a:gd name="T77" fmla="*/ 27 h 820"/>
                <a:gd name="T78" fmla="*/ 1424 w 781"/>
                <a:gd name="T79" fmla="*/ 30 h 820"/>
                <a:gd name="T80" fmla="*/ 1437 w 781"/>
                <a:gd name="T81" fmla="*/ 33 h 820"/>
                <a:gd name="T82" fmla="*/ 1442 w 781"/>
                <a:gd name="T83" fmla="*/ 36 h 820"/>
                <a:gd name="T84" fmla="*/ 1450 w 781"/>
                <a:gd name="T85" fmla="*/ 40 h 820"/>
                <a:gd name="T86" fmla="*/ 1450 w 781"/>
                <a:gd name="T87" fmla="*/ 44 h 820"/>
                <a:gd name="T88" fmla="*/ 1458 w 781"/>
                <a:gd name="T89" fmla="*/ 47 h 820"/>
                <a:gd name="T90" fmla="*/ 1458 w 781"/>
                <a:gd name="T91" fmla="*/ 52 h 820"/>
                <a:gd name="T92" fmla="*/ 1458 w 781"/>
                <a:gd name="T93" fmla="*/ 56 h 820"/>
                <a:gd name="T94" fmla="*/ 1458 w 781"/>
                <a:gd name="T95" fmla="*/ 58 h 820"/>
                <a:gd name="T96" fmla="*/ 1458 w 781"/>
                <a:gd name="T97" fmla="*/ 62 h 820"/>
                <a:gd name="T98" fmla="*/ 1458 w 781"/>
                <a:gd name="T99" fmla="*/ 64 h 820"/>
                <a:gd name="T100" fmla="*/ 1458 w 781"/>
                <a:gd name="T101" fmla="*/ 67 h 820"/>
                <a:gd name="T102" fmla="*/ 1458 w 781"/>
                <a:gd name="T103" fmla="*/ 68 h 820"/>
                <a:gd name="T104" fmla="*/ 1458 w 781"/>
                <a:gd name="T105" fmla="*/ 70 h 820"/>
                <a:gd name="T106" fmla="*/ 1458 w 781"/>
                <a:gd name="T107" fmla="*/ 73 h 820"/>
                <a:gd name="T108" fmla="*/ 0 w 781"/>
                <a:gd name="T109" fmla="*/ 75 h 82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1"/>
                <a:gd name="T166" fmla="*/ 0 h 820"/>
                <a:gd name="T167" fmla="*/ 781 w 781"/>
                <a:gd name="T168" fmla="*/ 820 h 82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1" h="820">
                  <a:moveTo>
                    <a:pt x="0" y="820"/>
                  </a:moveTo>
                  <a:lnTo>
                    <a:pt x="0" y="812"/>
                  </a:lnTo>
                  <a:lnTo>
                    <a:pt x="0" y="806"/>
                  </a:lnTo>
                  <a:lnTo>
                    <a:pt x="0" y="797"/>
                  </a:lnTo>
                  <a:lnTo>
                    <a:pt x="0" y="786"/>
                  </a:lnTo>
                  <a:lnTo>
                    <a:pt x="0" y="777"/>
                  </a:lnTo>
                  <a:lnTo>
                    <a:pt x="0" y="766"/>
                  </a:lnTo>
                  <a:lnTo>
                    <a:pt x="0" y="757"/>
                  </a:lnTo>
                  <a:lnTo>
                    <a:pt x="5" y="749"/>
                  </a:lnTo>
                  <a:lnTo>
                    <a:pt x="5" y="738"/>
                  </a:lnTo>
                  <a:lnTo>
                    <a:pt x="5" y="726"/>
                  </a:lnTo>
                  <a:lnTo>
                    <a:pt x="5" y="712"/>
                  </a:lnTo>
                  <a:lnTo>
                    <a:pt x="5" y="700"/>
                  </a:lnTo>
                  <a:lnTo>
                    <a:pt x="5" y="689"/>
                  </a:lnTo>
                  <a:lnTo>
                    <a:pt x="5" y="675"/>
                  </a:lnTo>
                  <a:lnTo>
                    <a:pt x="5" y="663"/>
                  </a:lnTo>
                  <a:lnTo>
                    <a:pt x="5" y="649"/>
                  </a:lnTo>
                  <a:lnTo>
                    <a:pt x="5" y="638"/>
                  </a:lnTo>
                  <a:lnTo>
                    <a:pt x="5" y="624"/>
                  </a:lnTo>
                  <a:lnTo>
                    <a:pt x="5" y="609"/>
                  </a:lnTo>
                  <a:lnTo>
                    <a:pt x="5" y="595"/>
                  </a:lnTo>
                  <a:lnTo>
                    <a:pt x="5" y="578"/>
                  </a:lnTo>
                  <a:lnTo>
                    <a:pt x="9" y="564"/>
                  </a:lnTo>
                  <a:lnTo>
                    <a:pt x="9" y="552"/>
                  </a:lnTo>
                  <a:lnTo>
                    <a:pt x="9" y="538"/>
                  </a:lnTo>
                  <a:lnTo>
                    <a:pt x="9" y="521"/>
                  </a:lnTo>
                  <a:lnTo>
                    <a:pt x="9" y="510"/>
                  </a:lnTo>
                  <a:lnTo>
                    <a:pt x="9" y="493"/>
                  </a:lnTo>
                  <a:lnTo>
                    <a:pt x="9" y="478"/>
                  </a:lnTo>
                  <a:lnTo>
                    <a:pt x="9" y="464"/>
                  </a:lnTo>
                  <a:lnTo>
                    <a:pt x="14" y="450"/>
                  </a:lnTo>
                  <a:lnTo>
                    <a:pt x="14" y="433"/>
                  </a:lnTo>
                  <a:lnTo>
                    <a:pt x="18" y="419"/>
                  </a:lnTo>
                  <a:lnTo>
                    <a:pt x="18" y="404"/>
                  </a:lnTo>
                  <a:lnTo>
                    <a:pt x="18" y="387"/>
                  </a:lnTo>
                  <a:lnTo>
                    <a:pt x="18" y="373"/>
                  </a:lnTo>
                  <a:lnTo>
                    <a:pt x="23" y="359"/>
                  </a:lnTo>
                  <a:lnTo>
                    <a:pt x="27" y="345"/>
                  </a:lnTo>
                  <a:lnTo>
                    <a:pt x="32" y="330"/>
                  </a:lnTo>
                  <a:lnTo>
                    <a:pt x="32" y="316"/>
                  </a:lnTo>
                  <a:lnTo>
                    <a:pt x="37" y="302"/>
                  </a:lnTo>
                  <a:lnTo>
                    <a:pt x="37" y="285"/>
                  </a:lnTo>
                  <a:lnTo>
                    <a:pt x="46" y="273"/>
                  </a:lnTo>
                  <a:lnTo>
                    <a:pt x="46" y="259"/>
                  </a:lnTo>
                  <a:lnTo>
                    <a:pt x="50" y="245"/>
                  </a:lnTo>
                  <a:lnTo>
                    <a:pt x="55" y="231"/>
                  </a:lnTo>
                  <a:lnTo>
                    <a:pt x="55" y="219"/>
                  </a:lnTo>
                  <a:lnTo>
                    <a:pt x="64" y="208"/>
                  </a:lnTo>
                  <a:lnTo>
                    <a:pt x="69" y="196"/>
                  </a:lnTo>
                  <a:lnTo>
                    <a:pt x="73" y="182"/>
                  </a:lnTo>
                  <a:lnTo>
                    <a:pt x="73" y="171"/>
                  </a:lnTo>
                  <a:lnTo>
                    <a:pt x="82" y="159"/>
                  </a:lnTo>
                  <a:lnTo>
                    <a:pt x="87" y="148"/>
                  </a:lnTo>
                  <a:lnTo>
                    <a:pt x="91" y="137"/>
                  </a:lnTo>
                  <a:lnTo>
                    <a:pt x="96" y="125"/>
                  </a:lnTo>
                  <a:lnTo>
                    <a:pt x="110" y="117"/>
                  </a:lnTo>
                  <a:lnTo>
                    <a:pt x="114" y="108"/>
                  </a:lnTo>
                  <a:lnTo>
                    <a:pt x="123" y="97"/>
                  </a:lnTo>
                  <a:lnTo>
                    <a:pt x="128" y="91"/>
                  </a:lnTo>
                  <a:lnTo>
                    <a:pt x="137" y="83"/>
                  </a:lnTo>
                  <a:lnTo>
                    <a:pt x="146" y="74"/>
                  </a:lnTo>
                  <a:lnTo>
                    <a:pt x="155" y="68"/>
                  </a:lnTo>
                  <a:lnTo>
                    <a:pt x="165" y="60"/>
                  </a:lnTo>
                  <a:lnTo>
                    <a:pt x="174" y="54"/>
                  </a:lnTo>
                  <a:lnTo>
                    <a:pt x="187" y="48"/>
                  </a:lnTo>
                  <a:lnTo>
                    <a:pt x="206" y="40"/>
                  </a:lnTo>
                  <a:lnTo>
                    <a:pt x="224" y="31"/>
                  </a:lnTo>
                  <a:lnTo>
                    <a:pt x="242" y="23"/>
                  </a:lnTo>
                  <a:lnTo>
                    <a:pt x="265" y="17"/>
                  </a:lnTo>
                  <a:lnTo>
                    <a:pt x="274" y="14"/>
                  </a:lnTo>
                  <a:lnTo>
                    <a:pt x="283" y="11"/>
                  </a:lnTo>
                  <a:lnTo>
                    <a:pt x="292" y="9"/>
                  </a:lnTo>
                  <a:lnTo>
                    <a:pt x="306" y="6"/>
                  </a:lnTo>
                  <a:lnTo>
                    <a:pt x="311" y="6"/>
                  </a:lnTo>
                  <a:lnTo>
                    <a:pt x="324" y="6"/>
                  </a:lnTo>
                  <a:lnTo>
                    <a:pt x="334" y="3"/>
                  </a:lnTo>
                  <a:lnTo>
                    <a:pt x="347" y="3"/>
                  </a:lnTo>
                  <a:lnTo>
                    <a:pt x="366" y="0"/>
                  </a:lnTo>
                  <a:lnTo>
                    <a:pt x="384" y="3"/>
                  </a:lnTo>
                  <a:lnTo>
                    <a:pt x="398" y="3"/>
                  </a:lnTo>
                  <a:lnTo>
                    <a:pt x="407" y="3"/>
                  </a:lnTo>
                  <a:lnTo>
                    <a:pt x="416" y="3"/>
                  </a:lnTo>
                  <a:lnTo>
                    <a:pt x="425" y="6"/>
                  </a:lnTo>
                  <a:lnTo>
                    <a:pt x="443" y="6"/>
                  </a:lnTo>
                  <a:lnTo>
                    <a:pt x="466" y="9"/>
                  </a:lnTo>
                  <a:lnTo>
                    <a:pt x="484" y="14"/>
                  </a:lnTo>
                  <a:lnTo>
                    <a:pt x="503" y="20"/>
                  </a:lnTo>
                  <a:lnTo>
                    <a:pt x="521" y="23"/>
                  </a:lnTo>
                  <a:lnTo>
                    <a:pt x="539" y="28"/>
                  </a:lnTo>
                  <a:lnTo>
                    <a:pt x="553" y="37"/>
                  </a:lnTo>
                  <a:lnTo>
                    <a:pt x="576" y="43"/>
                  </a:lnTo>
                  <a:lnTo>
                    <a:pt x="590" y="48"/>
                  </a:lnTo>
                  <a:lnTo>
                    <a:pt x="603" y="60"/>
                  </a:lnTo>
                  <a:lnTo>
                    <a:pt x="622" y="68"/>
                  </a:lnTo>
                  <a:lnTo>
                    <a:pt x="635" y="77"/>
                  </a:lnTo>
                  <a:lnTo>
                    <a:pt x="654" y="85"/>
                  </a:lnTo>
                  <a:lnTo>
                    <a:pt x="663" y="97"/>
                  </a:lnTo>
                  <a:lnTo>
                    <a:pt x="672" y="108"/>
                  </a:lnTo>
                  <a:lnTo>
                    <a:pt x="690" y="120"/>
                  </a:lnTo>
                  <a:lnTo>
                    <a:pt x="699" y="131"/>
                  </a:lnTo>
                  <a:lnTo>
                    <a:pt x="708" y="142"/>
                  </a:lnTo>
                  <a:lnTo>
                    <a:pt x="718" y="154"/>
                  </a:lnTo>
                  <a:lnTo>
                    <a:pt x="727" y="165"/>
                  </a:lnTo>
                  <a:lnTo>
                    <a:pt x="727" y="171"/>
                  </a:lnTo>
                  <a:lnTo>
                    <a:pt x="731" y="177"/>
                  </a:lnTo>
                  <a:lnTo>
                    <a:pt x="736" y="185"/>
                  </a:lnTo>
                  <a:lnTo>
                    <a:pt x="736" y="194"/>
                  </a:lnTo>
                  <a:lnTo>
                    <a:pt x="740" y="199"/>
                  </a:lnTo>
                  <a:lnTo>
                    <a:pt x="745" y="208"/>
                  </a:lnTo>
                  <a:lnTo>
                    <a:pt x="745" y="216"/>
                  </a:lnTo>
                  <a:lnTo>
                    <a:pt x="745" y="228"/>
                  </a:lnTo>
                  <a:lnTo>
                    <a:pt x="745" y="236"/>
                  </a:lnTo>
                  <a:lnTo>
                    <a:pt x="754" y="245"/>
                  </a:lnTo>
                  <a:lnTo>
                    <a:pt x="754" y="256"/>
                  </a:lnTo>
                  <a:lnTo>
                    <a:pt x="754" y="268"/>
                  </a:lnTo>
                  <a:lnTo>
                    <a:pt x="759" y="279"/>
                  </a:lnTo>
                  <a:lnTo>
                    <a:pt x="759" y="290"/>
                  </a:lnTo>
                  <a:lnTo>
                    <a:pt x="759" y="302"/>
                  </a:lnTo>
                  <a:lnTo>
                    <a:pt x="763" y="313"/>
                  </a:lnTo>
                  <a:lnTo>
                    <a:pt x="763" y="327"/>
                  </a:lnTo>
                  <a:lnTo>
                    <a:pt x="763" y="336"/>
                  </a:lnTo>
                  <a:lnTo>
                    <a:pt x="763" y="347"/>
                  </a:lnTo>
                  <a:lnTo>
                    <a:pt x="768" y="362"/>
                  </a:lnTo>
                  <a:lnTo>
                    <a:pt x="768" y="379"/>
                  </a:lnTo>
                  <a:lnTo>
                    <a:pt x="772" y="390"/>
                  </a:lnTo>
                  <a:lnTo>
                    <a:pt x="772" y="401"/>
                  </a:lnTo>
                  <a:lnTo>
                    <a:pt x="777" y="416"/>
                  </a:lnTo>
                  <a:lnTo>
                    <a:pt x="777" y="430"/>
                  </a:lnTo>
                  <a:lnTo>
                    <a:pt x="777" y="444"/>
                  </a:lnTo>
                  <a:lnTo>
                    <a:pt x="777" y="456"/>
                  </a:lnTo>
                  <a:lnTo>
                    <a:pt x="777" y="470"/>
                  </a:lnTo>
                  <a:lnTo>
                    <a:pt x="777" y="484"/>
                  </a:lnTo>
                  <a:lnTo>
                    <a:pt x="777" y="498"/>
                  </a:lnTo>
                  <a:lnTo>
                    <a:pt x="777" y="510"/>
                  </a:lnTo>
                  <a:lnTo>
                    <a:pt x="781" y="524"/>
                  </a:lnTo>
                  <a:lnTo>
                    <a:pt x="781" y="538"/>
                  </a:lnTo>
                  <a:lnTo>
                    <a:pt x="781" y="552"/>
                  </a:lnTo>
                  <a:lnTo>
                    <a:pt x="781" y="561"/>
                  </a:lnTo>
                  <a:lnTo>
                    <a:pt x="781" y="575"/>
                  </a:lnTo>
                  <a:lnTo>
                    <a:pt x="781" y="587"/>
                  </a:lnTo>
                  <a:lnTo>
                    <a:pt x="781" y="601"/>
                  </a:lnTo>
                  <a:lnTo>
                    <a:pt x="781" y="612"/>
                  </a:lnTo>
                  <a:lnTo>
                    <a:pt x="781" y="626"/>
                  </a:lnTo>
                  <a:lnTo>
                    <a:pt x="781" y="635"/>
                  </a:lnTo>
                  <a:lnTo>
                    <a:pt x="781" y="649"/>
                  </a:lnTo>
                  <a:lnTo>
                    <a:pt x="781" y="658"/>
                  </a:lnTo>
                  <a:lnTo>
                    <a:pt x="781" y="669"/>
                  </a:lnTo>
                  <a:lnTo>
                    <a:pt x="781" y="681"/>
                  </a:lnTo>
                  <a:lnTo>
                    <a:pt x="781" y="692"/>
                  </a:lnTo>
                  <a:lnTo>
                    <a:pt x="781" y="700"/>
                  </a:lnTo>
                  <a:lnTo>
                    <a:pt x="781" y="712"/>
                  </a:lnTo>
                  <a:lnTo>
                    <a:pt x="781" y="720"/>
                  </a:lnTo>
                  <a:lnTo>
                    <a:pt x="781" y="726"/>
                  </a:lnTo>
                  <a:lnTo>
                    <a:pt x="781" y="735"/>
                  </a:lnTo>
                  <a:lnTo>
                    <a:pt x="781" y="743"/>
                  </a:lnTo>
                  <a:lnTo>
                    <a:pt x="781" y="749"/>
                  </a:lnTo>
                  <a:lnTo>
                    <a:pt x="781" y="757"/>
                  </a:lnTo>
                  <a:lnTo>
                    <a:pt x="781" y="763"/>
                  </a:lnTo>
                  <a:lnTo>
                    <a:pt x="781" y="769"/>
                  </a:lnTo>
                  <a:lnTo>
                    <a:pt x="781" y="777"/>
                  </a:lnTo>
                  <a:lnTo>
                    <a:pt x="781" y="786"/>
                  </a:lnTo>
                  <a:lnTo>
                    <a:pt x="781" y="789"/>
                  </a:lnTo>
                  <a:lnTo>
                    <a:pt x="781" y="792"/>
                  </a:lnTo>
                  <a:lnTo>
                    <a:pt x="0" y="82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39" name="Freeform 150"/>
            <p:cNvSpPr>
              <a:spLocks/>
            </p:cNvSpPr>
            <p:nvPr>
              <p:custDataLst>
                <p:tags r:id="rId138"/>
              </p:custDataLst>
            </p:nvPr>
          </p:nvSpPr>
          <p:spPr bwMode="gray">
            <a:xfrm>
              <a:off x="1134" y="2045"/>
              <a:ext cx="1339" cy="362"/>
            </a:xfrm>
            <a:custGeom>
              <a:avLst/>
              <a:gdLst>
                <a:gd name="T0" fmla="*/ 90 w 1307"/>
                <a:gd name="T1" fmla="*/ 5 h 396"/>
                <a:gd name="T2" fmla="*/ 207 w 1307"/>
                <a:gd name="T3" fmla="*/ 5 h 396"/>
                <a:gd name="T4" fmla="*/ 326 w 1307"/>
                <a:gd name="T5" fmla="*/ 5 h 396"/>
                <a:gd name="T6" fmla="*/ 446 w 1307"/>
                <a:gd name="T7" fmla="*/ 5 h 396"/>
                <a:gd name="T8" fmla="*/ 591 w 1307"/>
                <a:gd name="T9" fmla="*/ 5 h 396"/>
                <a:gd name="T10" fmla="*/ 739 w 1307"/>
                <a:gd name="T11" fmla="*/ 5 h 396"/>
                <a:gd name="T12" fmla="*/ 884 w 1307"/>
                <a:gd name="T13" fmla="*/ 5 h 396"/>
                <a:gd name="T14" fmla="*/ 1038 w 1307"/>
                <a:gd name="T15" fmla="*/ 6 h 396"/>
                <a:gd name="T16" fmla="*/ 1190 w 1307"/>
                <a:gd name="T17" fmla="*/ 7 h 396"/>
                <a:gd name="T18" fmla="*/ 1336 w 1307"/>
                <a:gd name="T19" fmla="*/ 7 h 396"/>
                <a:gd name="T20" fmla="*/ 1490 w 1307"/>
                <a:gd name="T21" fmla="*/ 8 h 396"/>
                <a:gd name="T22" fmla="*/ 1637 w 1307"/>
                <a:gd name="T23" fmla="*/ 8 h 396"/>
                <a:gd name="T24" fmla="*/ 1775 w 1307"/>
                <a:gd name="T25" fmla="*/ 8 h 396"/>
                <a:gd name="T26" fmla="*/ 1900 w 1307"/>
                <a:gd name="T27" fmla="*/ 9 h 396"/>
                <a:gd name="T28" fmla="*/ 2023 w 1307"/>
                <a:gd name="T29" fmla="*/ 10 h 396"/>
                <a:gd name="T30" fmla="*/ 2125 w 1307"/>
                <a:gd name="T31" fmla="*/ 10 h 396"/>
                <a:gd name="T32" fmla="*/ 2223 w 1307"/>
                <a:gd name="T33" fmla="*/ 10 h 396"/>
                <a:gd name="T34" fmla="*/ 2303 w 1307"/>
                <a:gd name="T35" fmla="*/ 10 h 396"/>
                <a:gd name="T36" fmla="*/ 2377 w 1307"/>
                <a:gd name="T37" fmla="*/ 10 h 396"/>
                <a:gd name="T38" fmla="*/ 2445 w 1307"/>
                <a:gd name="T39" fmla="*/ 10 h 396"/>
                <a:gd name="T40" fmla="*/ 2416 w 1307"/>
                <a:gd name="T41" fmla="*/ 37 h 396"/>
                <a:gd name="T42" fmla="*/ 2356 w 1307"/>
                <a:gd name="T43" fmla="*/ 37 h 396"/>
                <a:gd name="T44" fmla="*/ 2296 w 1307"/>
                <a:gd name="T45" fmla="*/ 37 h 396"/>
                <a:gd name="T46" fmla="*/ 2223 w 1307"/>
                <a:gd name="T47" fmla="*/ 37 h 396"/>
                <a:gd name="T48" fmla="*/ 2125 w 1307"/>
                <a:gd name="T49" fmla="*/ 37 h 396"/>
                <a:gd name="T50" fmla="*/ 2016 w 1307"/>
                <a:gd name="T51" fmla="*/ 37 h 396"/>
                <a:gd name="T52" fmla="*/ 1956 w 1307"/>
                <a:gd name="T53" fmla="*/ 37 h 396"/>
                <a:gd name="T54" fmla="*/ 1894 w 1307"/>
                <a:gd name="T55" fmla="*/ 37 h 396"/>
                <a:gd name="T56" fmla="*/ 1818 w 1307"/>
                <a:gd name="T57" fmla="*/ 37 h 396"/>
                <a:gd name="T58" fmla="*/ 1749 w 1307"/>
                <a:gd name="T59" fmla="*/ 37 h 396"/>
                <a:gd name="T60" fmla="*/ 1670 w 1307"/>
                <a:gd name="T61" fmla="*/ 37 h 396"/>
                <a:gd name="T62" fmla="*/ 1585 w 1307"/>
                <a:gd name="T63" fmla="*/ 37 h 396"/>
                <a:gd name="T64" fmla="*/ 1508 w 1307"/>
                <a:gd name="T65" fmla="*/ 37 h 396"/>
                <a:gd name="T66" fmla="*/ 1423 w 1307"/>
                <a:gd name="T67" fmla="*/ 37 h 396"/>
                <a:gd name="T68" fmla="*/ 1330 w 1307"/>
                <a:gd name="T69" fmla="*/ 37 h 396"/>
                <a:gd name="T70" fmla="*/ 1237 w 1307"/>
                <a:gd name="T71" fmla="*/ 37 h 396"/>
                <a:gd name="T72" fmla="*/ 1140 w 1307"/>
                <a:gd name="T73" fmla="*/ 36 h 396"/>
                <a:gd name="T74" fmla="*/ 1047 w 1307"/>
                <a:gd name="T75" fmla="*/ 36 h 396"/>
                <a:gd name="T76" fmla="*/ 951 w 1307"/>
                <a:gd name="T77" fmla="*/ 34 h 396"/>
                <a:gd name="T78" fmla="*/ 857 w 1307"/>
                <a:gd name="T79" fmla="*/ 34 h 396"/>
                <a:gd name="T80" fmla="*/ 763 w 1307"/>
                <a:gd name="T81" fmla="*/ 34 h 396"/>
                <a:gd name="T82" fmla="*/ 687 w 1307"/>
                <a:gd name="T83" fmla="*/ 34 h 396"/>
                <a:gd name="T84" fmla="*/ 591 w 1307"/>
                <a:gd name="T85" fmla="*/ 34 h 396"/>
                <a:gd name="T86" fmla="*/ 514 w 1307"/>
                <a:gd name="T87" fmla="*/ 34 h 396"/>
                <a:gd name="T88" fmla="*/ 436 w 1307"/>
                <a:gd name="T89" fmla="*/ 34 h 396"/>
                <a:gd name="T90" fmla="*/ 360 w 1307"/>
                <a:gd name="T91" fmla="*/ 33 h 396"/>
                <a:gd name="T92" fmla="*/ 299 w 1307"/>
                <a:gd name="T93" fmla="*/ 31 h 396"/>
                <a:gd name="T94" fmla="*/ 229 w 1307"/>
                <a:gd name="T95" fmla="*/ 31 h 396"/>
                <a:gd name="T96" fmla="*/ 151 w 1307"/>
                <a:gd name="T97" fmla="*/ 31 h 396"/>
                <a:gd name="T98" fmla="*/ 64 w 1307"/>
                <a:gd name="T99" fmla="*/ 31 h 396"/>
                <a:gd name="T100" fmla="*/ 5 w 1307"/>
                <a:gd name="T101" fmla="*/ 31 h 396"/>
                <a:gd name="T102" fmla="*/ 18 w 1307"/>
                <a:gd name="T103" fmla="*/ 0 h 39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07"/>
                <a:gd name="T157" fmla="*/ 0 h 396"/>
                <a:gd name="T158" fmla="*/ 1307 w 1307"/>
                <a:gd name="T159" fmla="*/ 396 h 39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07" h="396">
                  <a:moveTo>
                    <a:pt x="18" y="0"/>
                  </a:moveTo>
                  <a:lnTo>
                    <a:pt x="32" y="3"/>
                  </a:lnTo>
                  <a:lnTo>
                    <a:pt x="50" y="5"/>
                  </a:lnTo>
                  <a:lnTo>
                    <a:pt x="69" y="11"/>
                  </a:lnTo>
                  <a:lnTo>
                    <a:pt x="91" y="14"/>
                  </a:lnTo>
                  <a:lnTo>
                    <a:pt x="110" y="17"/>
                  </a:lnTo>
                  <a:lnTo>
                    <a:pt x="128" y="22"/>
                  </a:lnTo>
                  <a:lnTo>
                    <a:pt x="151" y="25"/>
                  </a:lnTo>
                  <a:lnTo>
                    <a:pt x="174" y="28"/>
                  </a:lnTo>
                  <a:lnTo>
                    <a:pt x="196" y="31"/>
                  </a:lnTo>
                  <a:lnTo>
                    <a:pt x="219" y="34"/>
                  </a:lnTo>
                  <a:lnTo>
                    <a:pt x="238" y="40"/>
                  </a:lnTo>
                  <a:lnTo>
                    <a:pt x="270" y="40"/>
                  </a:lnTo>
                  <a:lnTo>
                    <a:pt x="288" y="42"/>
                  </a:lnTo>
                  <a:lnTo>
                    <a:pt x="315" y="45"/>
                  </a:lnTo>
                  <a:lnTo>
                    <a:pt x="338" y="51"/>
                  </a:lnTo>
                  <a:lnTo>
                    <a:pt x="366" y="51"/>
                  </a:lnTo>
                  <a:lnTo>
                    <a:pt x="393" y="54"/>
                  </a:lnTo>
                  <a:lnTo>
                    <a:pt x="420" y="57"/>
                  </a:lnTo>
                  <a:lnTo>
                    <a:pt x="443" y="60"/>
                  </a:lnTo>
                  <a:lnTo>
                    <a:pt x="471" y="62"/>
                  </a:lnTo>
                  <a:lnTo>
                    <a:pt x="498" y="62"/>
                  </a:lnTo>
                  <a:lnTo>
                    <a:pt x="526" y="65"/>
                  </a:lnTo>
                  <a:lnTo>
                    <a:pt x="553" y="68"/>
                  </a:lnTo>
                  <a:lnTo>
                    <a:pt x="580" y="71"/>
                  </a:lnTo>
                  <a:lnTo>
                    <a:pt x="608" y="71"/>
                  </a:lnTo>
                  <a:lnTo>
                    <a:pt x="635" y="74"/>
                  </a:lnTo>
                  <a:lnTo>
                    <a:pt x="658" y="74"/>
                  </a:lnTo>
                  <a:lnTo>
                    <a:pt x="685" y="74"/>
                  </a:lnTo>
                  <a:lnTo>
                    <a:pt x="713" y="77"/>
                  </a:lnTo>
                  <a:lnTo>
                    <a:pt x="740" y="79"/>
                  </a:lnTo>
                  <a:lnTo>
                    <a:pt x="768" y="79"/>
                  </a:lnTo>
                  <a:lnTo>
                    <a:pt x="795" y="82"/>
                  </a:lnTo>
                  <a:lnTo>
                    <a:pt x="823" y="82"/>
                  </a:lnTo>
                  <a:lnTo>
                    <a:pt x="845" y="85"/>
                  </a:lnTo>
                  <a:lnTo>
                    <a:pt x="873" y="85"/>
                  </a:lnTo>
                  <a:lnTo>
                    <a:pt x="896" y="85"/>
                  </a:lnTo>
                  <a:lnTo>
                    <a:pt x="919" y="85"/>
                  </a:lnTo>
                  <a:lnTo>
                    <a:pt x="946" y="85"/>
                  </a:lnTo>
                  <a:lnTo>
                    <a:pt x="969" y="88"/>
                  </a:lnTo>
                  <a:lnTo>
                    <a:pt x="992" y="91"/>
                  </a:lnTo>
                  <a:lnTo>
                    <a:pt x="1015" y="91"/>
                  </a:lnTo>
                  <a:lnTo>
                    <a:pt x="1037" y="91"/>
                  </a:lnTo>
                  <a:lnTo>
                    <a:pt x="1056" y="91"/>
                  </a:lnTo>
                  <a:lnTo>
                    <a:pt x="1079" y="94"/>
                  </a:lnTo>
                  <a:lnTo>
                    <a:pt x="1097" y="94"/>
                  </a:lnTo>
                  <a:lnTo>
                    <a:pt x="1115" y="94"/>
                  </a:lnTo>
                  <a:lnTo>
                    <a:pt x="1133" y="94"/>
                  </a:lnTo>
                  <a:lnTo>
                    <a:pt x="1156" y="94"/>
                  </a:lnTo>
                  <a:lnTo>
                    <a:pt x="1165" y="94"/>
                  </a:lnTo>
                  <a:lnTo>
                    <a:pt x="1184" y="94"/>
                  </a:lnTo>
                  <a:lnTo>
                    <a:pt x="1202" y="94"/>
                  </a:lnTo>
                  <a:lnTo>
                    <a:pt x="1216" y="94"/>
                  </a:lnTo>
                  <a:lnTo>
                    <a:pt x="1229" y="94"/>
                  </a:lnTo>
                  <a:lnTo>
                    <a:pt x="1243" y="94"/>
                  </a:lnTo>
                  <a:lnTo>
                    <a:pt x="1252" y="94"/>
                  </a:lnTo>
                  <a:lnTo>
                    <a:pt x="1266" y="97"/>
                  </a:lnTo>
                  <a:lnTo>
                    <a:pt x="1280" y="97"/>
                  </a:lnTo>
                  <a:lnTo>
                    <a:pt x="1298" y="97"/>
                  </a:lnTo>
                  <a:lnTo>
                    <a:pt x="1302" y="97"/>
                  </a:lnTo>
                  <a:lnTo>
                    <a:pt x="1307" y="97"/>
                  </a:lnTo>
                  <a:lnTo>
                    <a:pt x="1293" y="396"/>
                  </a:lnTo>
                  <a:lnTo>
                    <a:pt x="1289" y="396"/>
                  </a:lnTo>
                  <a:lnTo>
                    <a:pt x="1284" y="396"/>
                  </a:lnTo>
                  <a:lnTo>
                    <a:pt x="1270" y="396"/>
                  </a:lnTo>
                  <a:lnTo>
                    <a:pt x="1257" y="396"/>
                  </a:lnTo>
                  <a:lnTo>
                    <a:pt x="1248" y="396"/>
                  </a:lnTo>
                  <a:lnTo>
                    <a:pt x="1234" y="396"/>
                  </a:lnTo>
                  <a:lnTo>
                    <a:pt x="1225" y="396"/>
                  </a:lnTo>
                  <a:lnTo>
                    <a:pt x="1216" y="396"/>
                  </a:lnTo>
                  <a:lnTo>
                    <a:pt x="1197" y="396"/>
                  </a:lnTo>
                  <a:lnTo>
                    <a:pt x="1184" y="396"/>
                  </a:lnTo>
                  <a:lnTo>
                    <a:pt x="1165" y="396"/>
                  </a:lnTo>
                  <a:lnTo>
                    <a:pt x="1156" y="396"/>
                  </a:lnTo>
                  <a:lnTo>
                    <a:pt x="1133" y="396"/>
                  </a:lnTo>
                  <a:lnTo>
                    <a:pt x="1115" y="396"/>
                  </a:lnTo>
                  <a:lnTo>
                    <a:pt x="1097" y="396"/>
                  </a:lnTo>
                  <a:lnTo>
                    <a:pt x="1074" y="396"/>
                  </a:lnTo>
                  <a:lnTo>
                    <a:pt x="1065" y="396"/>
                  </a:lnTo>
                  <a:lnTo>
                    <a:pt x="1056" y="396"/>
                  </a:lnTo>
                  <a:lnTo>
                    <a:pt x="1042" y="396"/>
                  </a:lnTo>
                  <a:lnTo>
                    <a:pt x="1033" y="396"/>
                  </a:lnTo>
                  <a:lnTo>
                    <a:pt x="1019" y="396"/>
                  </a:lnTo>
                  <a:lnTo>
                    <a:pt x="1010" y="396"/>
                  </a:lnTo>
                  <a:lnTo>
                    <a:pt x="996" y="396"/>
                  </a:lnTo>
                  <a:lnTo>
                    <a:pt x="987" y="396"/>
                  </a:lnTo>
                  <a:lnTo>
                    <a:pt x="969" y="393"/>
                  </a:lnTo>
                  <a:lnTo>
                    <a:pt x="960" y="393"/>
                  </a:lnTo>
                  <a:lnTo>
                    <a:pt x="946" y="393"/>
                  </a:lnTo>
                  <a:lnTo>
                    <a:pt x="932" y="393"/>
                  </a:lnTo>
                  <a:lnTo>
                    <a:pt x="919" y="390"/>
                  </a:lnTo>
                  <a:lnTo>
                    <a:pt x="905" y="390"/>
                  </a:lnTo>
                  <a:lnTo>
                    <a:pt x="891" y="387"/>
                  </a:lnTo>
                  <a:lnTo>
                    <a:pt x="877" y="387"/>
                  </a:lnTo>
                  <a:lnTo>
                    <a:pt x="864" y="387"/>
                  </a:lnTo>
                  <a:lnTo>
                    <a:pt x="845" y="387"/>
                  </a:lnTo>
                  <a:lnTo>
                    <a:pt x="836" y="387"/>
                  </a:lnTo>
                  <a:lnTo>
                    <a:pt x="823" y="387"/>
                  </a:lnTo>
                  <a:lnTo>
                    <a:pt x="804" y="387"/>
                  </a:lnTo>
                  <a:lnTo>
                    <a:pt x="786" y="387"/>
                  </a:lnTo>
                  <a:lnTo>
                    <a:pt x="772" y="384"/>
                  </a:lnTo>
                  <a:lnTo>
                    <a:pt x="759" y="384"/>
                  </a:lnTo>
                  <a:lnTo>
                    <a:pt x="740" y="381"/>
                  </a:lnTo>
                  <a:lnTo>
                    <a:pt x="722" y="381"/>
                  </a:lnTo>
                  <a:lnTo>
                    <a:pt x="708" y="381"/>
                  </a:lnTo>
                  <a:lnTo>
                    <a:pt x="695" y="378"/>
                  </a:lnTo>
                  <a:lnTo>
                    <a:pt x="676" y="376"/>
                  </a:lnTo>
                  <a:lnTo>
                    <a:pt x="658" y="376"/>
                  </a:lnTo>
                  <a:lnTo>
                    <a:pt x="640" y="376"/>
                  </a:lnTo>
                  <a:lnTo>
                    <a:pt x="622" y="376"/>
                  </a:lnTo>
                  <a:lnTo>
                    <a:pt x="608" y="370"/>
                  </a:lnTo>
                  <a:lnTo>
                    <a:pt x="590" y="370"/>
                  </a:lnTo>
                  <a:lnTo>
                    <a:pt x="571" y="370"/>
                  </a:lnTo>
                  <a:lnTo>
                    <a:pt x="558" y="370"/>
                  </a:lnTo>
                  <a:lnTo>
                    <a:pt x="539" y="367"/>
                  </a:lnTo>
                  <a:lnTo>
                    <a:pt x="526" y="367"/>
                  </a:lnTo>
                  <a:lnTo>
                    <a:pt x="507" y="364"/>
                  </a:lnTo>
                  <a:lnTo>
                    <a:pt x="489" y="364"/>
                  </a:lnTo>
                  <a:lnTo>
                    <a:pt x="475" y="361"/>
                  </a:lnTo>
                  <a:lnTo>
                    <a:pt x="457" y="359"/>
                  </a:lnTo>
                  <a:lnTo>
                    <a:pt x="439" y="359"/>
                  </a:lnTo>
                  <a:lnTo>
                    <a:pt x="425" y="359"/>
                  </a:lnTo>
                  <a:lnTo>
                    <a:pt x="407" y="356"/>
                  </a:lnTo>
                  <a:lnTo>
                    <a:pt x="393" y="356"/>
                  </a:lnTo>
                  <a:lnTo>
                    <a:pt x="379" y="353"/>
                  </a:lnTo>
                  <a:lnTo>
                    <a:pt x="366" y="353"/>
                  </a:lnTo>
                  <a:lnTo>
                    <a:pt x="347" y="353"/>
                  </a:lnTo>
                  <a:lnTo>
                    <a:pt x="334" y="350"/>
                  </a:lnTo>
                  <a:lnTo>
                    <a:pt x="315" y="350"/>
                  </a:lnTo>
                  <a:lnTo>
                    <a:pt x="302" y="347"/>
                  </a:lnTo>
                  <a:lnTo>
                    <a:pt x="288" y="344"/>
                  </a:lnTo>
                  <a:lnTo>
                    <a:pt x="274" y="344"/>
                  </a:lnTo>
                  <a:lnTo>
                    <a:pt x="256" y="341"/>
                  </a:lnTo>
                  <a:lnTo>
                    <a:pt x="247" y="341"/>
                  </a:lnTo>
                  <a:lnTo>
                    <a:pt x="233" y="341"/>
                  </a:lnTo>
                  <a:lnTo>
                    <a:pt x="219" y="339"/>
                  </a:lnTo>
                  <a:lnTo>
                    <a:pt x="201" y="339"/>
                  </a:lnTo>
                  <a:lnTo>
                    <a:pt x="192" y="339"/>
                  </a:lnTo>
                  <a:lnTo>
                    <a:pt x="183" y="336"/>
                  </a:lnTo>
                  <a:lnTo>
                    <a:pt x="169" y="336"/>
                  </a:lnTo>
                  <a:lnTo>
                    <a:pt x="160" y="333"/>
                  </a:lnTo>
                  <a:lnTo>
                    <a:pt x="146" y="333"/>
                  </a:lnTo>
                  <a:lnTo>
                    <a:pt x="133" y="330"/>
                  </a:lnTo>
                  <a:lnTo>
                    <a:pt x="123" y="330"/>
                  </a:lnTo>
                  <a:lnTo>
                    <a:pt x="114" y="327"/>
                  </a:lnTo>
                  <a:lnTo>
                    <a:pt x="101" y="327"/>
                  </a:lnTo>
                  <a:lnTo>
                    <a:pt x="82" y="327"/>
                  </a:lnTo>
                  <a:lnTo>
                    <a:pt x="69" y="324"/>
                  </a:lnTo>
                  <a:lnTo>
                    <a:pt x="50" y="321"/>
                  </a:lnTo>
                  <a:lnTo>
                    <a:pt x="37" y="321"/>
                  </a:lnTo>
                  <a:lnTo>
                    <a:pt x="23" y="319"/>
                  </a:lnTo>
                  <a:lnTo>
                    <a:pt x="18" y="319"/>
                  </a:lnTo>
                  <a:lnTo>
                    <a:pt x="5" y="319"/>
                  </a:lnTo>
                  <a:lnTo>
                    <a:pt x="0" y="319"/>
                  </a:lnTo>
                  <a:lnTo>
                    <a:pt x="18"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40" name="Freeform 151"/>
            <p:cNvSpPr>
              <a:spLocks/>
            </p:cNvSpPr>
            <p:nvPr>
              <p:custDataLst>
                <p:tags r:id="rId139"/>
              </p:custDataLst>
            </p:nvPr>
          </p:nvSpPr>
          <p:spPr bwMode="gray">
            <a:xfrm>
              <a:off x="3527" y="2060"/>
              <a:ext cx="1022" cy="403"/>
            </a:xfrm>
            <a:custGeom>
              <a:avLst/>
              <a:gdLst>
                <a:gd name="T0" fmla="*/ 84 w 997"/>
                <a:gd name="T1" fmla="*/ 5 h 441"/>
                <a:gd name="T2" fmla="*/ 210 w 997"/>
                <a:gd name="T3" fmla="*/ 5 h 441"/>
                <a:gd name="T4" fmla="*/ 340 w 997"/>
                <a:gd name="T5" fmla="*/ 5 h 441"/>
                <a:gd name="T6" fmla="*/ 463 w 997"/>
                <a:gd name="T7" fmla="*/ 5 h 441"/>
                <a:gd name="T8" fmla="*/ 585 w 997"/>
                <a:gd name="T9" fmla="*/ 5 h 441"/>
                <a:gd name="T10" fmla="*/ 696 w 997"/>
                <a:gd name="T11" fmla="*/ 5 h 441"/>
                <a:gd name="T12" fmla="*/ 820 w 997"/>
                <a:gd name="T13" fmla="*/ 5 h 441"/>
                <a:gd name="T14" fmla="*/ 922 w 997"/>
                <a:gd name="T15" fmla="*/ 5 h 441"/>
                <a:gd name="T16" fmla="*/ 1034 w 997"/>
                <a:gd name="T17" fmla="*/ 5 h 441"/>
                <a:gd name="T18" fmla="*/ 1140 w 997"/>
                <a:gd name="T19" fmla="*/ 5 h 441"/>
                <a:gd name="T20" fmla="*/ 1234 w 997"/>
                <a:gd name="T21" fmla="*/ 5 h 441"/>
                <a:gd name="T22" fmla="*/ 1323 w 997"/>
                <a:gd name="T23" fmla="*/ 5 h 441"/>
                <a:gd name="T24" fmla="*/ 1398 w 997"/>
                <a:gd name="T25" fmla="*/ 5 h 441"/>
                <a:gd name="T26" fmla="*/ 1478 w 997"/>
                <a:gd name="T27" fmla="*/ 5 h 441"/>
                <a:gd name="T28" fmla="*/ 1550 w 997"/>
                <a:gd name="T29" fmla="*/ 5 h 441"/>
                <a:gd name="T30" fmla="*/ 1612 w 997"/>
                <a:gd name="T31" fmla="*/ 5 h 441"/>
                <a:gd name="T32" fmla="*/ 1686 w 997"/>
                <a:gd name="T33" fmla="*/ 5 h 441"/>
                <a:gd name="T34" fmla="*/ 1765 w 997"/>
                <a:gd name="T35" fmla="*/ 0 h 441"/>
                <a:gd name="T36" fmla="*/ 1774 w 997"/>
                <a:gd name="T37" fmla="*/ 5 h 441"/>
                <a:gd name="T38" fmla="*/ 1795 w 997"/>
                <a:gd name="T39" fmla="*/ 5 h 441"/>
                <a:gd name="T40" fmla="*/ 1802 w 997"/>
                <a:gd name="T41" fmla="*/ 5 h 441"/>
                <a:gd name="T42" fmla="*/ 1809 w 997"/>
                <a:gd name="T43" fmla="*/ 6 h 441"/>
                <a:gd name="T44" fmla="*/ 1832 w 997"/>
                <a:gd name="T45" fmla="*/ 9 h 441"/>
                <a:gd name="T46" fmla="*/ 1838 w 997"/>
                <a:gd name="T47" fmla="*/ 11 h 441"/>
                <a:gd name="T48" fmla="*/ 1838 w 997"/>
                <a:gd name="T49" fmla="*/ 14 h 441"/>
                <a:gd name="T50" fmla="*/ 1853 w 997"/>
                <a:gd name="T51" fmla="*/ 15 h 441"/>
                <a:gd name="T52" fmla="*/ 1859 w 997"/>
                <a:gd name="T53" fmla="*/ 18 h 441"/>
                <a:gd name="T54" fmla="*/ 1877 w 997"/>
                <a:gd name="T55" fmla="*/ 20 h 441"/>
                <a:gd name="T56" fmla="*/ 1881 w 997"/>
                <a:gd name="T57" fmla="*/ 23 h 441"/>
                <a:gd name="T58" fmla="*/ 1897 w 997"/>
                <a:gd name="T59" fmla="*/ 25 h 441"/>
                <a:gd name="T60" fmla="*/ 1897 w 997"/>
                <a:gd name="T61" fmla="*/ 27 h 441"/>
                <a:gd name="T62" fmla="*/ 1897 w 997"/>
                <a:gd name="T63" fmla="*/ 28 h 441"/>
                <a:gd name="T64" fmla="*/ 1897 w 997"/>
                <a:gd name="T65" fmla="*/ 31 h 441"/>
                <a:gd name="T66" fmla="*/ 1890 w 997"/>
                <a:gd name="T67" fmla="*/ 34 h 441"/>
                <a:gd name="T68" fmla="*/ 1859 w 997"/>
                <a:gd name="T69" fmla="*/ 34 h 441"/>
                <a:gd name="T70" fmla="*/ 1774 w 997"/>
                <a:gd name="T71" fmla="*/ 34 h 441"/>
                <a:gd name="T72" fmla="*/ 1716 w 997"/>
                <a:gd name="T73" fmla="*/ 34 h 441"/>
                <a:gd name="T74" fmla="*/ 1644 w 997"/>
                <a:gd name="T75" fmla="*/ 34 h 441"/>
                <a:gd name="T76" fmla="*/ 1559 w 997"/>
                <a:gd name="T77" fmla="*/ 34 h 441"/>
                <a:gd name="T78" fmla="*/ 1469 w 997"/>
                <a:gd name="T79" fmla="*/ 36 h 441"/>
                <a:gd name="T80" fmla="*/ 1378 w 997"/>
                <a:gd name="T81" fmla="*/ 37 h 441"/>
                <a:gd name="T82" fmla="*/ 1273 w 997"/>
                <a:gd name="T83" fmla="*/ 37 h 441"/>
                <a:gd name="T84" fmla="*/ 1159 w 997"/>
                <a:gd name="T85" fmla="*/ 37 h 441"/>
                <a:gd name="T86" fmla="*/ 1045 w 997"/>
                <a:gd name="T87" fmla="*/ 37 h 441"/>
                <a:gd name="T88" fmla="*/ 922 w 997"/>
                <a:gd name="T89" fmla="*/ 37 h 441"/>
                <a:gd name="T90" fmla="*/ 820 w 997"/>
                <a:gd name="T91" fmla="*/ 39 h 441"/>
                <a:gd name="T92" fmla="*/ 696 w 997"/>
                <a:gd name="T93" fmla="*/ 40 h 441"/>
                <a:gd name="T94" fmla="*/ 594 w 997"/>
                <a:gd name="T95" fmla="*/ 40 h 441"/>
                <a:gd name="T96" fmla="*/ 488 w 997"/>
                <a:gd name="T97" fmla="*/ 40 h 441"/>
                <a:gd name="T98" fmla="*/ 391 w 997"/>
                <a:gd name="T99" fmla="*/ 40 h 441"/>
                <a:gd name="T100" fmla="*/ 297 w 997"/>
                <a:gd name="T101" fmla="*/ 40 h 441"/>
                <a:gd name="T102" fmla="*/ 226 w 997"/>
                <a:gd name="T103" fmla="*/ 40 h 441"/>
                <a:gd name="T104" fmla="*/ 146 w 997"/>
                <a:gd name="T105" fmla="*/ 41 h 441"/>
                <a:gd name="T106" fmla="*/ 58 w 997"/>
                <a:gd name="T107" fmla="*/ 43 h 44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97"/>
                <a:gd name="T163" fmla="*/ 0 h 441"/>
                <a:gd name="T164" fmla="*/ 997 w 997"/>
                <a:gd name="T165" fmla="*/ 441 h 44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97" h="441">
                  <a:moveTo>
                    <a:pt x="0" y="57"/>
                  </a:moveTo>
                  <a:lnTo>
                    <a:pt x="23" y="57"/>
                  </a:lnTo>
                  <a:lnTo>
                    <a:pt x="46" y="57"/>
                  </a:lnTo>
                  <a:lnTo>
                    <a:pt x="69" y="57"/>
                  </a:lnTo>
                  <a:lnTo>
                    <a:pt x="87" y="57"/>
                  </a:lnTo>
                  <a:lnTo>
                    <a:pt x="110" y="57"/>
                  </a:lnTo>
                  <a:lnTo>
                    <a:pt x="137" y="57"/>
                  </a:lnTo>
                  <a:lnTo>
                    <a:pt x="156" y="57"/>
                  </a:lnTo>
                  <a:lnTo>
                    <a:pt x="179" y="57"/>
                  </a:lnTo>
                  <a:lnTo>
                    <a:pt x="201" y="57"/>
                  </a:lnTo>
                  <a:lnTo>
                    <a:pt x="224" y="54"/>
                  </a:lnTo>
                  <a:lnTo>
                    <a:pt x="243" y="54"/>
                  </a:lnTo>
                  <a:lnTo>
                    <a:pt x="265" y="54"/>
                  </a:lnTo>
                  <a:lnTo>
                    <a:pt x="288" y="51"/>
                  </a:lnTo>
                  <a:lnTo>
                    <a:pt x="307" y="51"/>
                  </a:lnTo>
                  <a:lnTo>
                    <a:pt x="325" y="51"/>
                  </a:lnTo>
                  <a:lnTo>
                    <a:pt x="348" y="51"/>
                  </a:lnTo>
                  <a:lnTo>
                    <a:pt x="366" y="48"/>
                  </a:lnTo>
                  <a:lnTo>
                    <a:pt x="389" y="48"/>
                  </a:lnTo>
                  <a:lnTo>
                    <a:pt x="412" y="45"/>
                  </a:lnTo>
                  <a:lnTo>
                    <a:pt x="430" y="45"/>
                  </a:lnTo>
                  <a:lnTo>
                    <a:pt x="448" y="45"/>
                  </a:lnTo>
                  <a:lnTo>
                    <a:pt x="466" y="45"/>
                  </a:lnTo>
                  <a:lnTo>
                    <a:pt x="485" y="43"/>
                  </a:lnTo>
                  <a:lnTo>
                    <a:pt x="508" y="43"/>
                  </a:lnTo>
                  <a:lnTo>
                    <a:pt x="521" y="40"/>
                  </a:lnTo>
                  <a:lnTo>
                    <a:pt x="544" y="37"/>
                  </a:lnTo>
                  <a:lnTo>
                    <a:pt x="562" y="37"/>
                  </a:lnTo>
                  <a:lnTo>
                    <a:pt x="581" y="34"/>
                  </a:lnTo>
                  <a:lnTo>
                    <a:pt x="599" y="34"/>
                  </a:lnTo>
                  <a:lnTo>
                    <a:pt x="613" y="34"/>
                  </a:lnTo>
                  <a:lnTo>
                    <a:pt x="631" y="31"/>
                  </a:lnTo>
                  <a:lnTo>
                    <a:pt x="649" y="31"/>
                  </a:lnTo>
                  <a:lnTo>
                    <a:pt x="668" y="28"/>
                  </a:lnTo>
                  <a:lnTo>
                    <a:pt x="677" y="28"/>
                  </a:lnTo>
                  <a:lnTo>
                    <a:pt x="695" y="25"/>
                  </a:lnTo>
                  <a:lnTo>
                    <a:pt x="709" y="23"/>
                  </a:lnTo>
                  <a:lnTo>
                    <a:pt x="722" y="23"/>
                  </a:lnTo>
                  <a:lnTo>
                    <a:pt x="736" y="23"/>
                  </a:lnTo>
                  <a:lnTo>
                    <a:pt x="750" y="20"/>
                  </a:lnTo>
                  <a:lnTo>
                    <a:pt x="768" y="20"/>
                  </a:lnTo>
                  <a:lnTo>
                    <a:pt x="777" y="17"/>
                  </a:lnTo>
                  <a:lnTo>
                    <a:pt x="791" y="14"/>
                  </a:lnTo>
                  <a:lnTo>
                    <a:pt x="800" y="14"/>
                  </a:lnTo>
                  <a:lnTo>
                    <a:pt x="814" y="14"/>
                  </a:lnTo>
                  <a:lnTo>
                    <a:pt x="823" y="11"/>
                  </a:lnTo>
                  <a:lnTo>
                    <a:pt x="832" y="11"/>
                  </a:lnTo>
                  <a:lnTo>
                    <a:pt x="846" y="11"/>
                  </a:lnTo>
                  <a:lnTo>
                    <a:pt x="855" y="11"/>
                  </a:lnTo>
                  <a:lnTo>
                    <a:pt x="869" y="8"/>
                  </a:lnTo>
                  <a:lnTo>
                    <a:pt x="887" y="5"/>
                  </a:lnTo>
                  <a:lnTo>
                    <a:pt x="901" y="3"/>
                  </a:lnTo>
                  <a:lnTo>
                    <a:pt x="910" y="3"/>
                  </a:lnTo>
                  <a:lnTo>
                    <a:pt x="928" y="0"/>
                  </a:lnTo>
                  <a:lnTo>
                    <a:pt x="933" y="0"/>
                  </a:lnTo>
                  <a:lnTo>
                    <a:pt x="933" y="5"/>
                  </a:lnTo>
                  <a:lnTo>
                    <a:pt x="933" y="8"/>
                  </a:lnTo>
                  <a:lnTo>
                    <a:pt x="937" y="14"/>
                  </a:lnTo>
                  <a:lnTo>
                    <a:pt x="937" y="23"/>
                  </a:lnTo>
                  <a:lnTo>
                    <a:pt x="942" y="34"/>
                  </a:lnTo>
                  <a:lnTo>
                    <a:pt x="942" y="37"/>
                  </a:lnTo>
                  <a:lnTo>
                    <a:pt x="942" y="43"/>
                  </a:lnTo>
                  <a:lnTo>
                    <a:pt x="946" y="48"/>
                  </a:lnTo>
                  <a:lnTo>
                    <a:pt x="946" y="57"/>
                  </a:lnTo>
                  <a:lnTo>
                    <a:pt x="946" y="62"/>
                  </a:lnTo>
                  <a:lnTo>
                    <a:pt x="951" y="68"/>
                  </a:lnTo>
                  <a:lnTo>
                    <a:pt x="951" y="77"/>
                  </a:lnTo>
                  <a:lnTo>
                    <a:pt x="955" y="82"/>
                  </a:lnTo>
                  <a:lnTo>
                    <a:pt x="960" y="91"/>
                  </a:lnTo>
                  <a:lnTo>
                    <a:pt x="960" y="97"/>
                  </a:lnTo>
                  <a:lnTo>
                    <a:pt x="960" y="105"/>
                  </a:lnTo>
                  <a:lnTo>
                    <a:pt x="965" y="111"/>
                  </a:lnTo>
                  <a:lnTo>
                    <a:pt x="965" y="119"/>
                  </a:lnTo>
                  <a:lnTo>
                    <a:pt x="965" y="128"/>
                  </a:lnTo>
                  <a:lnTo>
                    <a:pt x="965" y="136"/>
                  </a:lnTo>
                  <a:lnTo>
                    <a:pt x="969" y="145"/>
                  </a:lnTo>
                  <a:lnTo>
                    <a:pt x="969" y="154"/>
                  </a:lnTo>
                  <a:lnTo>
                    <a:pt x="974" y="162"/>
                  </a:lnTo>
                  <a:lnTo>
                    <a:pt x="978" y="171"/>
                  </a:lnTo>
                  <a:lnTo>
                    <a:pt x="978" y="179"/>
                  </a:lnTo>
                  <a:lnTo>
                    <a:pt x="978" y="188"/>
                  </a:lnTo>
                  <a:lnTo>
                    <a:pt x="978" y="196"/>
                  </a:lnTo>
                  <a:lnTo>
                    <a:pt x="983" y="202"/>
                  </a:lnTo>
                  <a:lnTo>
                    <a:pt x="983" y="211"/>
                  </a:lnTo>
                  <a:lnTo>
                    <a:pt x="983" y="219"/>
                  </a:lnTo>
                  <a:lnTo>
                    <a:pt x="987" y="228"/>
                  </a:lnTo>
                  <a:lnTo>
                    <a:pt x="987" y="236"/>
                  </a:lnTo>
                  <a:lnTo>
                    <a:pt x="992" y="245"/>
                  </a:lnTo>
                  <a:lnTo>
                    <a:pt x="992" y="250"/>
                  </a:lnTo>
                  <a:lnTo>
                    <a:pt x="997" y="259"/>
                  </a:lnTo>
                  <a:lnTo>
                    <a:pt x="997" y="265"/>
                  </a:lnTo>
                  <a:lnTo>
                    <a:pt x="997" y="273"/>
                  </a:lnTo>
                  <a:lnTo>
                    <a:pt x="997" y="282"/>
                  </a:lnTo>
                  <a:lnTo>
                    <a:pt x="997" y="287"/>
                  </a:lnTo>
                  <a:lnTo>
                    <a:pt x="997" y="293"/>
                  </a:lnTo>
                  <a:lnTo>
                    <a:pt x="997" y="302"/>
                  </a:lnTo>
                  <a:lnTo>
                    <a:pt x="997" y="310"/>
                  </a:lnTo>
                  <a:lnTo>
                    <a:pt x="997" y="322"/>
                  </a:lnTo>
                  <a:lnTo>
                    <a:pt x="997" y="330"/>
                  </a:lnTo>
                  <a:lnTo>
                    <a:pt x="997" y="339"/>
                  </a:lnTo>
                  <a:lnTo>
                    <a:pt x="997" y="344"/>
                  </a:lnTo>
                  <a:lnTo>
                    <a:pt x="992" y="350"/>
                  </a:lnTo>
                  <a:lnTo>
                    <a:pt x="987" y="353"/>
                  </a:lnTo>
                  <a:lnTo>
                    <a:pt x="978" y="353"/>
                  </a:lnTo>
                  <a:lnTo>
                    <a:pt x="965" y="353"/>
                  </a:lnTo>
                  <a:lnTo>
                    <a:pt x="951" y="353"/>
                  </a:lnTo>
                  <a:lnTo>
                    <a:pt x="933" y="356"/>
                  </a:lnTo>
                  <a:lnTo>
                    <a:pt x="923" y="356"/>
                  </a:lnTo>
                  <a:lnTo>
                    <a:pt x="910" y="356"/>
                  </a:lnTo>
                  <a:lnTo>
                    <a:pt x="901" y="359"/>
                  </a:lnTo>
                  <a:lnTo>
                    <a:pt x="891" y="359"/>
                  </a:lnTo>
                  <a:lnTo>
                    <a:pt x="878" y="359"/>
                  </a:lnTo>
                  <a:lnTo>
                    <a:pt x="864" y="361"/>
                  </a:lnTo>
                  <a:lnTo>
                    <a:pt x="850" y="361"/>
                  </a:lnTo>
                  <a:lnTo>
                    <a:pt x="837" y="364"/>
                  </a:lnTo>
                  <a:lnTo>
                    <a:pt x="818" y="364"/>
                  </a:lnTo>
                  <a:lnTo>
                    <a:pt x="805" y="367"/>
                  </a:lnTo>
                  <a:lnTo>
                    <a:pt x="791" y="367"/>
                  </a:lnTo>
                  <a:lnTo>
                    <a:pt x="773" y="370"/>
                  </a:lnTo>
                  <a:lnTo>
                    <a:pt x="754" y="370"/>
                  </a:lnTo>
                  <a:lnTo>
                    <a:pt x="736" y="373"/>
                  </a:lnTo>
                  <a:lnTo>
                    <a:pt x="722" y="376"/>
                  </a:lnTo>
                  <a:lnTo>
                    <a:pt x="704" y="379"/>
                  </a:lnTo>
                  <a:lnTo>
                    <a:pt x="681" y="379"/>
                  </a:lnTo>
                  <a:lnTo>
                    <a:pt x="668" y="379"/>
                  </a:lnTo>
                  <a:lnTo>
                    <a:pt x="645" y="381"/>
                  </a:lnTo>
                  <a:lnTo>
                    <a:pt x="626" y="384"/>
                  </a:lnTo>
                  <a:lnTo>
                    <a:pt x="608" y="387"/>
                  </a:lnTo>
                  <a:lnTo>
                    <a:pt x="590" y="390"/>
                  </a:lnTo>
                  <a:lnTo>
                    <a:pt x="567" y="390"/>
                  </a:lnTo>
                  <a:lnTo>
                    <a:pt x="549" y="393"/>
                  </a:lnTo>
                  <a:lnTo>
                    <a:pt x="526" y="396"/>
                  </a:lnTo>
                  <a:lnTo>
                    <a:pt x="508" y="398"/>
                  </a:lnTo>
                  <a:lnTo>
                    <a:pt x="485" y="398"/>
                  </a:lnTo>
                  <a:lnTo>
                    <a:pt x="466" y="401"/>
                  </a:lnTo>
                  <a:lnTo>
                    <a:pt x="448" y="401"/>
                  </a:lnTo>
                  <a:lnTo>
                    <a:pt x="430" y="404"/>
                  </a:lnTo>
                  <a:lnTo>
                    <a:pt x="412" y="407"/>
                  </a:lnTo>
                  <a:lnTo>
                    <a:pt x="389" y="410"/>
                  </a:lnTo>
                  <a:lnTo>
                    <a:pt x="366" y="413"/>
                  </a:lnTo>
                  <a:lnTo>
                    <a:pt x="348" y="413"/>
                  </a:lnTo>
                  <a:lnTo>
                    <a:pt x="329" y="413"/>
                  </a:lnTo>
                  <a:lnTo>
                    <a:pt x="311" y="416"/>
                  </a:lnTo>
                  <a:lnTo>
                    <a:pt x="293" y="418"/>
                  </a:lnTo>
                  <a:lnTo>
                    <a:pt x="275" y="418"/>
                  </a:lnTo>
                  <a:lnTo>
                    <a:pt x="256" y="421"/>
                  </a:lnTo>
                  <a:lnTo>
                    <a:pt x="243" y="424"/>
                  </a:lnTo>
                  <a:lnTo>
                    <a:pt x="224" y="424"/>
                  </a:lnTo>
                  <a:lnTo>
                    <a:pt x="206" y="424"/>
                  </a:lnTo>
                  <a:lnTo>
                    <a:pt x="188" y="427"/>
                  </a:lnTo>
                  <a:lnTo>
                    <a:pt x="174" y="430"/>
                  </a:lnTo>
                  <a:lnTo>
                    <a:pt x="156" y="430"/>
                  </a:lnTo>
                  <a:lnTo>
                    <a:pt x="142" y="433"/>
                  </a:lnTo>
                  <a:lnTo>
                    <a:pt x="128" y="433"/>
                  </a:lnTo>
                  <a:lnTo>
                    <a:pt x="119" y="433"/>
                  </a:lnTo>
                  <a:lnTo>
                    <a:pt x="101" y="433"/>
                  </a:lnTo>
                  <a:lnTo>
                    <a:pt x="87" y="435"/>
                  </a:lnTo>
                  <a:lnTo>
                    <a:pt x="78" y="435"/>
                  </a:lnTo>
                  <a:lnTo>
                    <a:pt x="69" y="435"/>
                  </a:lnTo>
                  <a:lnTo>
                    <a:pt x="46" y="438"/>
                  </a:lnTo>
                  <a:lnTo>
                    <a:pt x="32" y="441"/>
                  </a:lnTo>
                  <a:lnTo>
                    <a:pt x="0" y="57"/>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41" name="Freeform 152"/>
            <p:cNvSpPr>
              <a:spLocks/>
            </p:cNvSpPr>
            <p:nvPr>
              <p:custDataLst>
                <p:tags r:id="rId140"/>
              </p:custDataLst>
            </p:nvPr>
          </p:nvSpPr>
          <p:spPr bwMode="gray">
            <a:xfrm>
              <a:off x="1134" y="1621"/>
              <a:ext cx="3424" cy="421"/>
            </a:xfrm>
            <a:custGeom>
              <a:avLst/>
              <a:gdLst>
                <a:gd name="T0" fmla="*/ 0 w 3341"/>
                <a:gd name="T1" fmla="*/ 5 h 461"/>
                <a:gd name="T2" fmla="*/ 9 w 3341"/>
                <a:gd name="T3" fmla="*/ 11 h 461"/>
                <a:gd name="T4" fmla="*/ 14 w 3341"/>
                <a:gd name="T5" fmla="*/ 16 h 461"/>
                <a:gd name="T6" fmla="*/ 18 w 3341"/>
                <a:gd name="T7" fmla="*/ 22 h 461"/>
                <a:gd name="T8" fmla="*/ 18 w 3341"/>
                <a:gd name="T9" fmla="*/ 26 h 461"/>
                <a:gd name="T10" fmla="*/ 49 w 3341"/>
                <a:gd name="T11" fmla="*/ 31 h 461"/>
                <a:gd name="T12" fmla="*/ 49 w 3341"/>
                <a:gd name="T13" fmla="*/ 37 h 461"/>
                <a:gd name="T14" fmla="*/ 145 w 3341"/>
                <a:gd name="T15" fmla="*/ 37 h 461"/>
                <a:gd name="T16" fmla="*/ 347 w 3341"/>
                <a:gd name="T17" fmla="*/ 37 h 461"/>
                <a:gd name="T18" fmla="*/ 614 w 3341"/>
                <a:gd name="T19" fmla="*/ 38 h 461"/>
                <a:gd name="T20" fmla="*/ 937 w 3341"/>
                <a:gd name="T21" fmla="*/ 40 h 461"/>
                <a:gd name="T22" fmla="*/ 1263 w 3341"/>
                <a:gd name="T23" fmla="*/ 40 h 461"/>
                <a:gd name="T24" fmla="*/ 1583 w 3341"/>
                <a:gd name="T25" fmla="*/ 42 h 461"/>
                <a:gd name="T26" fmla="*/ 1867 w 3341"/>
                <a:gd name="T27" fmla="*/ 42 h 461"/>
                <a:gd name="T28" fmla="*/ 2095 w 3341"/>
                <a:gd name="T29" fmla="*/ 43 h 461"/>
                <a:gd name="T30" fmla="*/ 2230 w 3341"/>
                <a:gd name="T31" fmla="*/ 43 h 461"/>
                <a:gd name="T32" fmla="*/ 2370 w 3341"/>
                <a:gd name="T33" fmla="*/ 43 h 461"/>
                <a:gd name="T34" fmla="*/ 2540 w 3341"/>
                <a:gd name="T35" fmla="*/ 43 h 461"/>
                <a:gd name="T36" fmla="*/ 2584 w 3341"/>
                <a:gd name="T37" fmla="*/ 40 h 461"/>
                <a:gd name="T38" fmla="*/ 2714 w 3341"/>
                <a:gd name="T39" fmla="*/ 35 h 461"/>
                <a:gd name="T40" fmla="*/ 2921 w 3341"/>
                <a:gd name="T41" fmla="*/ 31 h 461"/>
                <a:gd name="T42" fmla="*/ 3078 w 3341"/>
                <a:gd name="T43" fmla="*/ 28 h 461"/>
                <a:gd name="T44" fmla="*/ 3247 w 3341"/>
                <a:gd name="T45" fmla="*/ 27 h 461"/>
                <a:gd name="T46" fmla="*/ 3390 w 3341"/>
                <a:gd name="T47" fmla="*/ 26 h 461"/>
                <a:gd name="T48" fmla="*/ 3596 w 3341"/>
                <a:gd name="T49" fmla="*/ 26 h 461"/>
                <a:gd name="T50" fmla="*/ 3814 w 3341"/>
                <a:gd name="T51" fmla="*/ 28 h 461"/>
                <a:gd name="T52" fmla="*/ 3978 w 3341"/>
                <a:gd name="T53" fmla="*/ 31 h 461"/>
                <a:gd name="T54" fmla="*/ 4168 w 3341"/>
                <a:gd name="T55" fmla="*/ 36 h 461"/>
                <a:gd name="T56" fmla="*/ 4316 w 3341"/>
                <a:gd name="T57" fmla="*/ 41 h 461"/>
                <a:gd name="T58" fmla="*/ 4396 w 3341"/>
                <a:gd name="T59" fmla="*/ 44 h 461"/>
                <a:gd name="T60" fmla="*/ 4579 w 3341"/>
                <a:gd name="T61" fmla="*/ 43 h 461"/>
                <a:gd name="T62" fmla="*/ 4817 w 3341"/>
                <a:gd name="T63" fmla="*/ 42 h 461"/>
                <a:gd name="T64" fmla="*/ 5108 w 3341"/>
                <a:gd name="T65" fmla="*/ 40 h 461"/>
                <a:gd name="T66" fmla="*/ 5406 w 3341"/>
                <a:gd name="T67" fmla="*/ 40 h 461"/>
                <a:gd name="T68" fmla="*/ 5720 w 3341"/>
                <a:gd name="T69" fmla="*/ 39 h 461"/>
                <a:gd name="T70" fmla="*/ 5988 w 3341"/>
                <a:gd name="T71" fmla="*/ 38 h 461"/>
                <a:gd name="T72" fmla="*/ 6188 w 3341"/>
                <a:gd name="T73" fmla="*/ 37 h 461"/>
                <a:gd name="T74" fmla="*/ 6264 w 3341"/>
                <a:gd name="T75" fmla="*/ 0 h 461"/>
                <a:gd name="T76" fmla="*/ 6107 w 3341"/>
                <a:gd name="T77" fmla="*/ 5 h 461"/>
                <a:gd name="T78" fmla="*/ 5881 w 3341"/>
                <a:gd name="T79" fmla="*/ 5 h 461"/>
                <a:gd name="T80" fmla="*/ 5552 w 3341"/>
                <a:gd name="T81" fmla="*/ 5 h 461"/>
                <a:gd name="T82" fmla="*/ 5175 w 3341"/>
                <a:gd name="T83" fmla="*/ 5 h 461"/>
                <a:gd name="T84" fmla="*/ 4704 w 3341"/>
                <a:gd name="T85" fmla="*/ 7 h 461"/>
                <a:gd name="T86" fmla="*/ 4205 w 3341"/>
                <a:gd name="T87" fmla="*/ 9 h 461"/>
                <a:gd name="T88" fmla="*/ 3656 w 3341"/>
                <a:gd name="T89" fmla="*/ 11 h 461"/>
                <a:gd name="T90" fmla="*/ 3105 w 3341"/>
                <a:gd name="T91" fmla="*/ 12 h 461"/>
                <a:gd name="T92" fmla="*/ 2546 w 3341"/>
                <a:gd name="T93" fmla="*/ 12 h 461"/>
                <a:gd name="T94" fmla="*/ 2023 w 3341"/>
                <a:gd name="T95" fmla="*/ 11 h 461"/>
                <a:gd name="T96" fmla="*/ 1557 w 3341"/>
                <a:gd name="T97" fmla="*/ 10 h 461"/>
                <a:gd name="T98" fmla="*/ 1149 w 3341"/>
                <a:gd name="T99" fmla="*/ 8 h 461"/>
                <a:gd name="T100" fmla="*/ 794 w 3341"/>
                <a:gd name="T101" fmla="*/ 6 h 461"/>
                <a:gd name="T102" fmla="*/ 492 w 3341"/>
                <a:gd name="T103" fmla="*/ 5 h 461"/>
                <a:gd name="T104" fmla="*/ 271 w 3341"/>
                <a:gd name="T105" fmla="*/ 5 h 461"/>
                <a:gd name="T106" fmla="*/ 101 w 3341"/>
                <a:gd name="T107" fmla="*/ 5 h 46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41"/>
                <a:gd name="T163" fmla="*/ 0 h 461"/>
                <a:gd name="T164" fmla="*/ 3341 w 3341"/>
                <a:gd name="T165" fmla="*/ 461 h 46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41" h="461">
                  <a:moveTo>
                    <a:pt x="0" y="14"/>
                  </a:moveTo>
                  <a:lnTo>
                    <a:pt x="0" y="22"/>
                  </a:lnTo>
                  <a:lnTo>
                    <a:pt x="0" y="31"/>
                  </a:lnTo>
                  <a:lnTo>
                    <a:pt x="0" y="42"/>
                  </a:lnTo>
                  <a:lnTo>
                    <a:pt x="0" y="54"/>
                  </a:lnTo>
                  <a:lnTo>
                    <a:pt x="0" y="57"/>
                  </a:lnTo>
                  <a:lnTo>
                    <a:pt x="0" y="65"/>
                  </a:lnTo>
                  <a:lnTo>
                    <a:pt x="0" y="71"/>
                  </a:lnTo>
                  <a:lnTo>
                    <a:pt x="5" y="76"/>
                  </a:lnTo>
                  <a:lnTo>
                    <a:pt x="5" y="82"/>
                  </a:lnTo>
                  <a:lnTo>
                    <a:pt x="5" y="88"/>
                  </a:lnTo>
                  <a:lnTo>
                    <a:pt x="5" y="96"/>
                  </a:lnTo>
                  <a:lnTo>
                    <a:pt x="9" y="105"/>
                  </a:lnTo>
                  <a:lnTo>
                    <a:pt x="9" y="113"/>
                  </a:lnTo>
                  <a:lnTo>
                    <a:pt x="9" y="119"/>
                  </a:lnTo>
                  <a:lnTo>
                    <a:pt x="9" y="128"/>
                  </a:lnTo>
                  <a:lnTo>
                    <a:pt x="14" y="136"/>
                  </a:lnTo>
                  <a:lnTo>
                    <a:pt x="14" y="142"/>
                  </a:lnTo>
                  <a:lnTo>
                    <a:pt x="14" y="153"/>
                  </a:lnTo>
                  <a:lnTo>
                    <a:pt x="14" y="159"/>
                  </a:lnTo>
                  <a:lnTo>
                    <a:pt x="14" y="168"/>
                  </a:lnTo>
                  <a:lnTo>
                    <a:pt x="14" y="173"/>
                  </a:lnTo>
                  <a:lnTo>
                    <a:pt x="14" y="182"/>
                  </a:lnTo>
                  <a:lnTo>
                    <a:pt x="14" y="190"/>
                  </a:lnTo>
                  <a:lnTo>
                    <a:pt x="18" y="199"/>
                  </a:lnTo>
                  <a:lnTo>
                    <a:pt x="18" y="205"/>
                  </a:lnTo>
                  <a:lnTo>
                    <a:pt x="18" y="216"/>
                  </a:lnTo>
                  <a:lnTo>
                    <a:pt x="18" y="225"/>
                  </a:lnTo>
                  <a:lnTo>
                    <a:pt x="18" y="230"/>
                  </a:lnTo>
                  <a:lnTo>
                    <a:pt x="18" y="239"/>
                  </a:lnTo>
                  <a:lnTo>
                    <a:pt x="18" y="244"/>
                  </a:lnTo>
                  <a:lnTo>
                    <a:pt x="18" y="253"/>
                  </a:lnTo>
                  <a:lnTo>
                    <a:pt x="18" y="262"/>
                  </a:lnTo>
                  <a:lnTo>
                    <a:pt x="18" y="267"/>
                  </a:lnTo>
                  <a:lnTo>
                    <a:pt x="18" y="273"/>
                  </a:lnTo>
                  <a:lnTo>
                    <a:pt x="18" y="281"/>
                  </a:lnTo>
                  <a:lnTo>
                    <a:pt x="23" y="290"/>
                  </a:lnTo>
                  <a:lnTo>
                    <a:pt x="23" y="296"/>
                  </a:lnTo>
                  <a:lnTo>
                    <a:pt x="23" y="304"/>
                  </a:lnTo>
                  <a:lnTo>
                    <a:pt x="23" y="310"/>
                  </a:lnTo>
                  <a:lnTo>
                    <a:pt x="23" y="316"/>
                  </a:lnTo>
                  <a:lnTo>
                    <a:pt x="23" y="327"/>
                  </a:lnTo>
                  <a:lnTo>
                    <a:pt x="23" y="341"/>
                  </a:lnTo>
                  <a:lnTo>
                    <a:pt x="23" y="350"/>
                  </a:lnTo>
                  <a:lnTo>
                    <a:pt x="23" y="361"/>
                  </a:lnTo>
                  <a:lnTo>
                    <a:pt x="23" y="367"/>
                  </a:lnTo>
                  <a:lnTo>
                    <a:pt x="23" y="375"/>
                  </a:lnTo>
                  <a:lnTo>
                    <a:pt x="23" y="381"/>
                  </a:lnTo>
                  <a:lnTo>
                    <a:pt x="23" y="387"/>
                  </a:lnTo>
                  <a:lnTo>
                    <a:pt x="23" y="390"/>
                  </a:lnTo>
                  <a:lnTo>
                    <a:pt x="27" y="390"/>
                  </a:lnTo>
                  <a:lnTo>
                    <a:pt x="37" y="390"/>
                  </a:lnTo>
                  <a:lnTo>
                    <a:pt x="50" y="390"/>
                  </a:lnTo>
                  <a:lnTo>
                    <a:pt x="69" y="390"/>
                  </a:lnTo>
                  <a:lnTo>
                    <a:pt x="78" y="390"/>
                  </a:lnTo>
                  <a:lnTo>
                    <a:pt x="91" y="390"/>
                  </a:lnTo>
                  <a:lnTo>
                    <a:pt x="101" y="393"/>
                  </a:lnTo>
                  <a:lnTo>
                    <a:pt x="114" y="393"/>
                  </a:lnTo>
                  <a:lnTo>
                    <a:pt x="133" y="395"/>
                  </a:lnTo>
                  <a:lnTo>
                    <a:pt x="146" y="398"/>
                  </a:lnTo>
                  <a:lnTo>
                    <a:pt x="164" y="398"/>
                  </a:lnTo>
                  <a:lnTo>
                    <a:pt x="183" y="398"/>
                  </a:lnTo>
                  <a:lnTo>
                    <a:pt x="201" y="398"/>
                  </a:lnTo>
                  <a:lnTo>
                    <a:pt x="219" y="401"/>
                  </a:lnTo>
                  <a:lnTo>
                    <a:pt x="238" y="401"/>
                  </a:lnTo>
                  <a:lnTo>
                    <a:pt x="260" y="404"/>
                  </a:lnTo>
                  <a:lnTo>
                    <a:pt x="279" y="404"/>
                  </a:lnTo>
                  <a:lnTo>
                    <a:pt x="306" y="407"/>
                  </a:lnTo>
                  <a:lnTo>
                    <a:pt x="324" y="410"/>
                  </a:lnTo>
                  <a:lnTo>
                    <a:pt x="352" y="410"/>
                  </a:lnTo>
                  <a:lnTo>
                    <a:pt x="375" y="412"/>
                  </a:lnTo>
                  <a:lnTo>
                    <a:pt x="398" y="412"/>
                  </a:lnTo>
                  <a:lnTo>
                    <a:pt x="420" y="415"/>
                  </a:lnTo>
                  <a:lnTo>
                    <a:pt x="443" y="418"/>
                  </a:lnTo>
                  <a:lnTo>
                    <a:pt x="466" y="421"/>
                  </a:lnTo>
                  <a:lnTo>
                    <a:pt x="494" y="421"/>
                  </a:lnTo>
                  <a:lnTo>
                    <a:pt x="521" y="421"/>
                  </a:lnTo>
                  <a:lnTo>
                    <a:pt x="544" y="424"/>
                  </a:lnTo>
                  <a:lnTo>
                    <a:pt x="567" y="424"/>
                  </a:lnTo>
                  <a:lnTo>
                    <a:pt x="594" y="427"/>
                  </a:lnTo>
                  <a:lnTo>
                    <a:pt x="617" y="427"/>
                  </a:lnTo>
                  <a:lnTo>
                    <a:pt x="644" y="432"/>
                  </a:lnTo>
                  <a:lnTo>
                    <a:pt x="667" y="432"/>
                  </a:lnTo>
                  <a:lnTo>
                    <a:pt x="695" y="432"/>
                  </a:lnTo>
                  <a:lnTo>
                    <a:pt x="717" y="432"/>
                  </a:lnTo>
                  <a:lnTo>
                    <a:pt x="745" y="435"/>
                  </a:lnTo>
                  <a:lnTo>
                    <a:pt x="768" y="435"/>
                  </a:lnTo>
                  <a:lnTo>
                    <a:pt x="791" y="438"/>
                  </a:lnTo>
                  <a:lnTo>
                    <a:pt x="813" y="438"/>
                  </a:lnTo>
                  <a:lnTo>
                    <a:pt x="836" y="441"/>
                  </a:lnTo>
                  <a:lnTo>
                    <a:pt x="859" y="441"/>
                  </a:lnTo>
                  <a:lnTo>
                    <a:pt x="882" y="444"/>
                  </a:lnTo>
                  <a:lnTo>
                    <a:pt x="905" y="444"/>
                  </a:lnTo>
                  <a:lnTo>
                    <a:pt x="928" y="444"/>
                  </a:lnTo>
                  <a:lnTo>
                    <a:pt x="946" y="444"/>
                  </a:lnTo>
                  <a:lnTo>
                    <a:pt x="969" y="444"/>
                  </a:lnTo>
                  <a:lnTo>
                    <a:pt x="987" y="444"/>
                  </a:lnTo>
                  <a:lnTo>
                    <a:pt x="1005" y="447"/>
                  </a:lnTo>
                  <a:lnTo>
                    <a:pt x="1024" y="447"/>
                  </a:lnTo>
                  <a:lnTo>
                    <a:pt x="1042" y="449"/>
                  </a:lnTo>
                  <a:lnTo>
                    <a:pt x="1060" y="449"/>
                  </a:lnTo>
                  <a:lnTo>
                    <a:pt x="1074" y="452"/>
                  </a:lnTo>
                  <a:lnTo>
                    <a:pt x="1092" y="452"/>
                  </a:lnTo>
                  <a:lnTo>
                    <a:pt x="1106" y="452"/>
                  </a:lnTo>
                  <a:lnTo>
                    <a:pt x="1115" y="452"/>
                  </a:lnTo>
                  <a:lnTo>
                    <a:pt x="1129" y="452"/>
                  </a:lnTo>
                  <a:lnTo>
                    <a:pt x="1138" y="452"/>
                  </a:lnTo>
                  <a:lnTo>
                    <a:pt x="1147" y="452"/>
                  </a:lnTo>
                  <a:lnTo>
                    <a:pt x="1156" y="452"/>
                  </a:lnTo>
                  <a:lnTo>
                    <a:pt x="1165" y="452"/>
                  </a:lnTo>
                  <a:lnTo>
                    <a:pt x="1179" y="452"/>
                  </a:lnTo>
                  <a:lnTo>
                    <a:pt x="1188" y="452"/>
                  </a:lnTo>
                  <a:lnTo>
                    <a:pt x="1202" y="452"/>
                  </a:lnTo>
                  <a:lnTo>
                    <a:pt x="1211" y="452"/>
                  </a:lnTo>
                  <a:lnTo>
                    <a:pt x="1220" y="452"/>
                  </a:lnTo>
                  <a:lnTo>
                    <a:pt x="1234" y="452"/>
                  </a:lnTo>
                  <a:lnTo>
                    <a:pt x="1238" y="452"/>
                  </a:lnTo>
                  <a:lnTo>
                    <a:pt x="1252" y="452"/>
                  </a:lnTo>
                  <a:lnTo>
                    <a:pt x="1266" y="452"/>
                  </a:lnTo>
                  <a:lnTo>
                    <a:pt x="1280" y="452"/>
                  </a:lnTo>
                  <a:lnTo>
                    <a:pt x="1289" y="452"/>
                  </a:lnTo>
                  <a:lnTo>
                    <a:pt x="1302" y="452"/>
                  </a:lnTo>
                  <a:lnTo>
                    <a:pt x="1321" y="455"/>
                  </a:lnTo>
                  <a:lnTo>
                    <a:pt x="1334" y="455"/>
                  </a:lnTo>
                  <a:lnTo>
                    <a:pt x="1339" y="455"/>
                  </a:lnTo>
                  <a:lnTo>
                    <a:pt x="1344" y="458"/>
                  </a:lnTo>
                  <a:lnTo>
                    <a:pt x="1344" y="455"/>
                  </a:lnTo>
                  <a:lnTo>
                    <a:pt x="1344" y="452"/>
                  </a:lnTo>
                  <a:lnTo>
                    <a:pt x="1348" y="449"/>
                  </a:lnTo>
                  <a:lnTo>
                    <a:pt x="1353" y="444"/>
                  </a:lnTo>
                  <a:lnTo>
                    <a:pt x="1353" y="432"/>
                  </a:lnTo>
                  <a:lnTo>
                    <a:pt x="1366" y="424"/>
                  </a:lnTo>
                  <a:lnTo>
                    <a:pt x="1371" y="415"/>
                  </a:lnTo>
                  <a:lnTo>
                    <a:pt x="1389" y="404"/>
                  </a:lnTo>
                  <a:lnTo>
                    <a:pt x="1394" y="398"/>
                  </a:lnTo>
                  <a:lnTo>
                    <a:pt x="1403" y="393"/>
                  </a:lnTo>
                  <a:lnTo>
                    <a:pt x="1412" y="387"/>
                  </a:lnTo>
                  <a:lnTo>
                    <a:pt x="1421" y="381"/>
                  </a:lnTo>
                  <a:lnTo>
                    <a:pt x="1435" y="375"/>
                  </a:lnTo>
                  <a:lnTo>
                    <a:pt x="1449" y="367"/>
                  </a:lnTo>
                  <a:lnTo>
                    <a:pt x="1458" y="361"/>
                  </a:lnTo>
                  <a:lnTo>
                    <a:pt x="1476" y="356"/>
                  </a:lnTo>
                  <a:lnTo>
                    <a:pt x="1490" y="350"/>
                  </a:lnTo>
                  <a:lnTo>
                    <a:pt x="1508" y="341"/>
                  </a:lnTo>
                  <a:lnTo>
                    <a:pt x="1526" y="336"/>
                  </a:lnTo>
                  <a:lnTo>
                    <a:pt x="1545" y="327"/>
                  </a:lnTo>
                  <a:lnTo>
                    <a:pt x="1554" y="324"/>
                  </a:lnTo>
                  <a:lnTo>
                    <a:pt x="1568" y="321"/>
                  </a:lnTo>
                  <a:lnTo>
                    <a:pt x="1577" y="318"/>
                  </a:lnTo>
                  <a:lnTo>
                    <a:pt x="1590" y="316"/>
                  </a:lnTo>
                  <a:lnTo>
                    <a:pt x="1600" y="313"/>
                  </a:lnTo>
                  <a:lnTo>
                    <a:pt x="1613" y="310"/>
                  </a:lnTo>
                  <a:lnTo>
                    <a:pt x="1627" y="304"/>
                  </a:lnTo>
                  <a:lnTo>
                    <a:pt x="1641" y="304"/>
                  </a:lnTo>
                  <a:lnTo>
                    <a:pt x="1650" y="301"/>
                  </a:lnTo>
                  <a:lnTo>
                    <a:pt x="1663" y="296"/>
                  </a:lnTo>
                  <a:lnTo>
                    <a:pt x="1677" y="293"/>
                  </a:lnTo>
                  <a:lnTo>
                    <a:pt x="1686" y="293"/>
                  </a:lnTo>
                  <a:lnTo>
                    <a:pt x="1700" y="290"/>
                  </a:lnTo>
                  <a:lnTo>
                    <a:pt x="1714" y="287"/>
                  </a:lnTo>
                  <a:lnTo>
                    <a:pt x="1723" y="284"/>
                  </a:lnTo>
                  <a:lnTo>
                    <a:pt x="1732" y="284"/>
                  </a:lnTo>
                  <a:lnTo>
                    <a:pt x="1746" y="284"/>
                  </a:lnTo>
                  <a:lnTo>
                    <a:pt x="1755" y="281"/>
                  </a:lnTo>
                  <a:lnTo>
                    <a:pt x="1769" y="279"/>
                  </a:lnTo>
                  <a:lnTo>
                    <a:pt x="1782" y="279"/>
                  </a:lnTo>
                  <a:lnTo>
                    <a:pt x="1791" y="279"/>
                  </a:lnTo>
                  <a:lnTo>
                    <a:pt x="1801" y="279"/>
                  </a:lnTo>
                  <a:lnTo>
                    <a:pt x="1814" y="279"/>
                  </a:lnTo>
                  <a:lnTo>
                    <a:pt x="1823" y="279"/>
                  </a:lnTo>
                  <a:lnTo>
                    <a:pt x="1842" y="279"/>
                  </a:lnTo>
                  <a:lnTo>
                    <a:pt x="1860" y="279"/>
                  </a:lnTo>
                  <a:lnTo>
                    <a:pt x="1878" y="279"/>
                  </a:lnTo>
                  <a:lnTo>
                    <a:pt x="1901" y="281"/>
                  </a:lnTo>
                  <a:lnTo>
                    <a:pt x="1915" y="281"/>
                  </a:lnTo>
                  <a:lnTo>
                    <a:pt x="1933" y="284"/>
                  </a:lnTo>
                  <a:lnTo>
                    <a:pt x="1951" y="284"/>
                  </a:lnTo>
                  <a:lnTo>
                    <a:pt x="1970" y="290"/>
                  </a:lnTo>
                  <a:lnTo>
                    <a:pt x="1988" y="293"/>
                  </a:lnTo>
                  <a:lnTo>
                    <a:pt x="2002" y="296"/>
                  </a:lnTo>
                  <a:lnTo>
                    <a:pt x="2015" y="301"/>
                  </a:lnTo>
                  <a:lnTo>
                    <a:pt x="2034" y="304"/>
                  </a:lnTo>
                  <a:lnTo>
                    <a:pt x="2043" y="307"/>
                  </a:lnTo>
                  <a:lnTo>
                    <a:pt x="2057" y="313"/>
                  </a:lnTo>
                  <a:lnTo>
                    <a:pt x="2070" y="316"/>
                  </a:lnTo>
                  <a:lnTo>
                    <a:pt x="2084" y="321"/>
                  </a:lnTo>
                  <a:lnTo>
                    <a:pt x="2093" y="324"/>
                  </a:lnTo>
                  <a:lnTo>
                    <a:pt x="2102" y="330"/>
                  </a:lnTo>
                  <a:lnTo>
                    <a:pt x="2111" y="336"/>
                  </a:lnTo>
                  <a:lnTo>
                    <a:pt x="2125" y="338"/>
                  </a:lnTo>
                  <a:lnTo>
                    <a:pt x="2148" y="347"/>
                  </a:lnTo>
                  <a:lnTo>
                    <a:pt x="2162" y="356"/>
                  </a:lnTo>
                  <a:lnTo>
                    <a:pt x="2180" y="364"/>
                  </a:lnTo>
                  <a:lnTo>
                    <a:pt x="2189" y="373"/>
                  </a:lnTo>
                  <a:lnTo>
                    <a:pt x="2203" y="378"/>
                  </a:lnTo>
                  <a:lnTo>
                    <a:pt x="2216" y="390"/>
                  </a:lnTo>
                  <a:lnTo>
                    <a:pt x="2230" y="398"/>
                  </a:lnTo>
                  <a:lnTo>
                    <a:pt x="2239" y="404"/>
                  </a:lnTo>
                  <a:lnTo>
                    <a:pt x="2253" y="412"/>
                  </a:lnTo>
                  <a:lnTo>
                    <a:pt x="2262" y="424"/>
                  </a:lnTo>
                  <a:lnTo>
                    <a:pt x="2271" y="432"/>
                  </a:lnTo>
                  <a:lnTo>
                    <a:pt x="2280" y="438"/>
                  </a:lnTo>
                  <a:lnTo>
                    <a:pt x="2285" y="444"/>
                  </a:lnTo>
                  <a:lnTo>
                    <a:pt x="2290" y="449"/>
                  </a:lnTo>
                  <a:lnTo>
                    <a:pt x="2299" y="458"/>
                  </a:lnTo>
                  <a:lnTo>
                    <a:pt x="2299" y="461"/>
                  </a:lnTo>
                  <a:lnTo>
                    <a:pt x="2303" y="461"/>
                  </a:lnTo>
                  <a:lnTo>
                    <a:pt x="2312" y="461"/>
                  </a:lnTo>
                  <a:lnTo>
                    <a:pt x="2322" y="461"/>
                  </a:lnTo>
                  <a:lnTo>
                    <a:pt x="2340" y="458"/>
                  </a:lnTo>
                  <a:lnTo>
                    <a:pt x="2349" y="455"/>
                  </a:lnTo>
                  <a:lnTo>
                    <a:pt x="2363" y="455"/>
                  </a:lnTo>
                  <a:lnTo>
                    <a:pt x="2372" y="455"/>
                  </a:lnTo>
                  <a:lnTo>
                    <a:pt x="2386" y="455"/>
                  </a:lnTo>
                  <a:lnTo>
                    <a:pt x="2404" y="452"/>
                  </a:lnTo>
                  <a:lnTo>
                    <a:pt x="2418" y="452"/>
                  </a:lnTo>
                  <a:lnTo>
                    <a:pt x="2436" y="452"/>
                  </a:lnTo>
                  <a:lnTo>
                    <a:pt x="2454" y="452"/>
                  </a:lnTo>
                  <a:lnTo>
                    <a:pt x="2472" y="449"/>
                  </a:lnTo>
                  <a:lnTo>
                    <a:pt x="2486" y="447"/>
                  </a:lnTo>
                  <a:lnTo>
                    <a:pt x="2504" y="444"/>
                  </a:lnTo>
                  <a:lnTo>
                    <a:pt x="2523" y="444"/>
                  </a:lnTo>
                  <a:lnTo>
                    <a:pt x="2546" y="444"/>
                  </a:lnTo>
                  <a:lnTo>
                    <a:pt x="2564" y="444"/>
                  </a:lnTo>
                  <a:lnTo>
                    <a:pt x="2587" y="441"/>
                  </a:lnTo>
                  <a:lnTo>
                    <a:pt x="2610" y="441"/>
                  </a:lnTo>
                  <a:lnTo>
                    <a:pt x="2628" y="438"/>
                  </a:lnTo>
                  <a:lnTo>
                    <a:pt x="2651" y="438"/>
                  </a:lnTo>
                  <a:lnTo>
                    <a:pt x="2678" y="432"/>
                  </a:lnTo>
                  <a:lnTo>
                    <a:pt x="2696" y="432"/>
                  </a:lnTo>
                  <a:lnTo>
                    <a:pt x="2719" y="432"/>
                  </a:lnTo>
                  <a:lnTo>
                    <a:pt x="2747" y="432"/>
                  </a:lnTo>
                  <a:lnTo>
                    <a:pt x="2765" y="430"/>
                  </a:lnTo>
                  <a:lnTo>
                    <a:pt x="2792" y="430"/>
                  </a:lnTo>
                  <a:lnTo>
                    <a:pt x="2815" y="427"/>
                  </a:lnTo>
                  <a:lnTo>
                    <a:pt x="2838" y="424"/>
                  </a:lnTo>
                  <a:lnTo>
                    <a:pt x="2856" y="424"/>
                  </a:lnTo>
                  <a:lnTo>
                    <a:pt x="2884" y="421"/>
                  </a:lnTo>
                  <a:lnTo>
                    <a:pt x="2907" y="421"/>
                  </a:lnTo>
                  <a:lnTo>
                    <a:pt x="2929" y="421"/>
                  </a:lnTo>
                  <a:lnTo>
                    <a:pt x="2952" y="418"/>
                  </a:lnTo>
                  <a:lnTo>
                    <a:pt x="2980" y="415"/>
                  </a:lnTo>
                  <a:lnTo>
                    <a:pt x="2998" y="412"/>
                  </a:lnTo>
                  <a:lnTo>
                    <a:pt x="3021" y="412"/>
                  </a:lnTo>
                  <a:lnTo>
                    <a:pt x="3039" y="412"/>
                  </a:lnTo>
                  <a:lnTo>
                    <a:pt x="3062" y="410"/>
                  </a:lnTo>
                  <a:lnTo>
                    <a:pt x="3085" y="410"/>
                  </a:lnTo>
                  <a:lnTo>
                    <a:pt x="3103" y="410"/>
                  </a:lnTo>
                  <a:lnTo>
                    <a:pt x="3126" y="404"/>
                  </a:lnTo>
                  <a:lnTo>
                    <a:pt x="3144" y="404"/>
                  </a:lnTo>
                  <a:lnTo>
                    <a:pt x="3162" y="404"/>
                  </a:lnTo>
                  <a:lnTo>
                    <a:pt x="3181" y="401"/>
                  </a:lnTo>
                  <a:lnTo>
                    <a:pt x="3199" y="401"/>
                  </a:lnTo>
                  <a:lnTo>
                    <a:pt x="3213" y="401"/>
                  </a:lnTo>
                  <a:lnTo>
                    <a:pt x="3231" y="398"/>
                  </a:lnTo>
                  <a:lnTo>
                    <a:pt x="3245" y="398"/>
                  </a:lnTo>
                  <a:lnTo>
                    <a:pt x="3258" y="398"/>
                  </a:lnTo>
                  <a:lnTo>
                    <a:pt x="3272" y="398"/>
                  </a:lnTo>
                  <a:lnTo>
                    <a:pt x="3281" y="398"/>
                  </a:lnTo>
                  <a:lnTo>
                    <a:pt x="3295" y="398"/>
                  </a:lnTo>
                  <a:lnTo>
                    <a:pt x="3304" y="398"/>
                  </a:lnTo>
                  <a:lnTo>
                    <a:pt x="3313" y="398"/>
                  </a:lnTo>
                  <a:lnTo>
                    <a:pt x="3332" y="398"/>
                  </a:lnTo>
                  <a:lnTo>
                    <a:pt x="3341" y="398"/>
                  </a:lnTo>
                  <a:lnTo>
                    <a:pt x="3309" y="0"/>
                  </a:lnTo>
                  <a:lnTo>
                    <a:pt x="3304" y="0"/>
                  </a:lnTo>
                  <a:lnTo>
                    <a:pt x="3295" y="0"/>
                  </a:lnTo>
                  <a:lnTo>
                    <a:pt x="3281" y="0"/>
                  </a:lnTo>
                  <a:lnTo>
                    <a:pt x="3263" y="2"/>
                  </a:lnTo>
                  <a:lnTo>
                    <a:pt x="3254" y="2"/>
                  </a:lnTo>
                  <a:lnTo>
                    <a:pt x="3245" y="5"/>
                  </a:lnTo>
                  <a:lnTo>
                    <a:pt x="3226" y="8"/>
                  </a:lnTo>
                  <a:lnTo>
                    <a:pt x="3213" y="8"/>
                  </a:lnTo>
                  <a:lnTo>
                    <a:pt x="3199" y="11"/>
                  </a:lnTo>
                  <a:lnTo>
                    <a:pt x="3181" y="14"/>
                  </a:lnTo>
                  <a:lnTo>
                    <a:pt x="3162" y="14"/>
                  </a:lnTo>
                  <a:lnTo>
                    <a:pt x="3144" y="17"/>
                  </a:lnTo>
                  <a:lnTo>
                    <a:pt x="3126" y="19"/>
                  </a:lnTo>
                  <a:lnTo>
                    <a:pt x="3108" y="19"/>
                  </a:lnTo>
                  <a:lnTo>
                    <a:pt x="3085" y="22"/>
                  </a:lnTo>
                  <a:lnTo>
                    <a:pt x="3062" y="25"/>
                  </a:lnTo>
                  <a:lnTo>
                    <a:pt x="3039" y="25"/>
                  </a:lnTo>
                  <a:lnTo>
                    <a:pt x="3012" y="31"/>
                  </a:lnTo>
                  <a:lnTo>
                    <a:pt x="2989" y="34"/>
                  </a:lnTo>
                  <a:lnTo>
                    <a:pt x="2966" y="34"/>
                  </a:lnTo>
                  <a:lnTo>
                    <a:pt x="2934" y="37"/>
                  </a:lnTo>
                  <a:lnTo>
                    <a:pt x="2907" y="42"/>
                  </a:lnTo>
                  <a:lnTo>
                    <a:pt x="2879" y="45"/>
                  </a:lnTo>
                  <a:lnTo>
                    <a:pt x="2852" y="48"/>
                  </a:lnTo>
                  <a:lnTo>
                    <a:pt x="2820" y="48"/>
                  </a:lnTo>
                  <a:lnTo>
                    <a:pt x="2792" y="54"/>
                  </a:lnTo>
                  <a:lnTo>
                    <a:pt x="2760" y="57"/>
                  </a:lnTo>
                  <a:lnTo>
                    <a:pt x="2733" y="59"/>
                  </a:lnTo>
                  <a:lnTo>
                    <a:pt x="2696" y="62"/>
                  </a:lnTo>
                  <a:lnTo>
                    <a:pt x="2660" y="65"/>
                  </a:lnTo>
                  <a:lnTo>
                    <a:pt x="2628" y="68"/>
                  </a:lnTo>
                  <a:lnTo>
                    <a:pt x="2591" y="68"/>
                  </a:lnTo>
                  <a:lnTo>
                    <a:pt x="2559" y="71"/>
                  </a:lnTo>
                  <a:lnTo>
                    <a:pt x="2523" y="76"/>
                  </a:lnTo>
                  <a:lnTo>
                    <a:pt x="2486" y="76"/>
                  </a:lnTo>
                  <a:lnTo>
                    <a:pt x="2450" y="79"/>
                  </a:lnTo>
                  <a:lnTo>
                    <a:pt x="2413" y="79"/>
                  </a:lnTo>
                  <a:lnTo>
                    <a:pt x="2376" y="85"/>
                  </a:lnTo>
                  <a:lnTo>
                    <a:pt x="2335" y="85"/>
                  </a:lnTo>
                  <a:lnTo>
                    <a:pt x="2299" y="88"/>
                  </a:lnTo>
                  <a:lnTo>
                    <a:pt x="2258" y="88"/>
                  </a:lnTo>
                  <a:lnTo>
                    <a:pt x="2221" y="94"/>
                  </a:lnTo>
                  <a:lnTo>
                    <a:pt x="2180" y="96"/>
                  </a:lnTo>
                  <a:lnTo>
                    <a:pt x="2143" y="99"/>
                  </a:lnTo>
                  <a:lnTo>
                    <a:pt x="2098" y="99"/>
                  </a:lnTo>
                  <a:lnTo>
                    <a:pt x="2057" y="102"/>
                  </a:lnTo>
                  <a:lnTo>
                    <a:pt x="2015" y="102"/>
                  </a:lnTo>
                  <a:lnTo>
                    <a:pt x="1979" y="105"/>
                  </a:lnTo>
                  <a:lnTo>
                    <a:pt x="1933" y="108"/>
                  </a:lnTo>
                  <a:lnTo>
                    <a:pt x="1892" y="111"/>
                  </a:lnTo>
                  <a:lnTo>
                    <a:pt x="1855" y="111"/>
                  </a:lnTo>
                  <a:lnTo>
                    <a:pt x="1810" y="113"/>
                  </a:lnTo>
                  <a:lnTo>
                    <a:pt x="1769" y="113"/>
                  </a:lnTo>
                  <a:lnTo>
                    <a:pt x="1723" y="113"/>
                  </a:lnTo>
                  <a:lnTo>
                    <a:pt x="1682" y="113"/>
                  </a:lnTo>
                  <a:lnTo>
                    <a:pt x="1641" y="116"/>
                  </a:lnTo>
                  <a:lnTo>
                    <a:pt x="1595" y="116"/>
                  </a:lnTo>
                  <a:lnTo>
                    <a:pt x="1558" y="119"/>
                  </a:lnTo>
                  <a:lnTo>
                    <a:pt x="1513" y="119"/>
                  </a:lnTo>
                  <a:lnTo>
                    <a:pt x="1472" y="119"/>
                  </a:lnTo>
                  <a:lnTo>
                    <a:pt x="1426" y="119"/>
                  </a:lnTo>
                  <a:lnTo>
                    <a:pt x="1389" y="119"/>
                  </a:lnTo>
                  <a:lnTo>
                    <a:pt x="1344" y="116"/>
                  </a:lnTo>
                  <a:lnTo>
                    <a:pt x="1302" y="116"/>
                  </a:lnTo>
                  <a:lnTo>
                    <a:pt x="1266" y="113"/>
                  </a:lnTo>
                  <a:lnTo>
                    <a:pt x="1225" y="113"/>
                  </a:lnTo>
                  <a:lnTo>
                    <a:pt x="1184" y="113"/>
                  </a:lnTo>
                  <a:lnTo>
                    <a:pt x="1147" y="113"/>
                  </a:lnTo>
                  <a:lnTo>
                    <a:pt x="1111" y="111"/>
                  </a:lnTo>
                  <a:lnTo>
                    <a:pt x="1069" y="111"/>
                  </a:lnTo>
                  <a:lnTo>
                    <a:pt x="1033" y="108"/>
                  </a:lnTo>
                  <a:lnTo>
                    <a:pt x="996" y="108"/>
                  </a:lnTo>
                  <a:lnTo>
                    <a:pt x="964" y="102"/>
                  </a:lnTo>
                  <a:lnTo>
                    <a:pt x="928" y="102"/>
                  </a:lnTo>
                  <a:lnTo>
                    <a:pt x="891" y="102"/>
                  </a:lnTo>
                  <a:lnTo>
                    <a:pt x="855" y="102"/>
                  </a:lnTo>
                  <a:lnTo>
                    <a:pt x="823" y="99"/>
                  </a:lnTo>
                  <a:lnTo>
                    <a:pt x="791" y="96"/>
                  </a:lnTo>
                  <a:lnTo>
                    <a:pt x="759" y="94"/>
                  </a:lnTo>
                  <a:lnTo>
                    <a:pt x="727" y="91"/>
                  </a:lnTo>
                  <a:lnTo>
                    <a:pt x="695" y="88"/>
                  </a:lnTo>
                  <a:lnTo>
                    <a:pt x="667" y="88"/>
                  </a:lnTo>
                  <a:lnTo>
                    <a:pt x="635" y="85"/>
                  </a:lnTo>
                  <a:lnTo>
                    <a:pt x="608" y="85"/>
                  </a:lnTo>
                  <a:lnTo>
                    <a:pt x="580" y="79"/>
                  </a:lnTo>
                  <a:lnTo>
                    <a:pt x="544" y="76"/>
                  </a:lnTo>
                  <a:lnTo>
                    <a:pt x="521" y="76"/>
                  </a:lnTo>
                  <a:lnTo>
                    <a:pt x="494" y="76"/>
                  </a:lnTo>
                  <a:lnTo>
                    <a:pt x="466" y="71"/>
                  </a:lnTo>
                  <a:lnTo>
                    <a:pt x="443" y="68"/>
                  </a:lnTo>
                  <a:lnTo>
                    <a:pt x="420" y="68"/>
                  </a:lnTo>
                  <a:lnTo>
                    <a:pt x="398" y="68"/>
                  </a:lnTo>
                  <a:lnTo>
                    <a:pt x="366" y="65"/>
                  </a:lnTo>
                  <a:lnTo>
                    <a:pt x="347" y="59"/>
                  </a:lnTo>
                  <a:lnTo>
                    <a:pt x="324" y="57"/>
                  </a:lnTo>
                  <a:lnTo>
                    <a:pt x="306" y="57"/>
                  </a:lnTo>
                  <a:lnTo>
                    <a:pt x="279" y="54"/>
                  </a:lnTo>
                  <a:lnTo>
                    <a:pt x="260" y="51"/>
                  </a:lnTo>
                  <a:lnTo>
                    <a:pt x="238" y="48"/>
                  </a:lnTo>
                  <a:lnTo>
                    <a:pt x="224" y="45"/>
                  </a:lnTo>
                  <a:lnTo>
                    <a:pt x="201" y="42"/>
                  </a:lnTo>
                  <a:lnTo>
                    <a:pt x="187" y="42"/>
                  </a:lnTo>
                  <a:lnTo>
                    <a:pt x="169" y="37"/>
                  </a:lnTo>
                  <a:lnTo>
                    <a:pt x="160" y="37"/>
                  </a:lnTo>
                  <a:lnTo>
                    <a:pt x="142" y="34"/>
                  </a:lnTo>
                  <a:lnTo>
                    <a:pt x="128" y="34"/>
                  </a:lnTo>
                  <a:lnTo>
                    <a:pt x="114" y="31"/>
                  </a:lnTo>
                  <a:lnTo>
                    <a:pt x="101" y="31"/>
                  </a:lnTo>
                  <a:lnTo>
                    <a:pt x="87" y="25"/>
                  </a:lnTo>
                  <a:lnTo>
                    <a:pt x="78" y="25"/>
                  </a:lnTo>
                  <a:lnTo>
                    <a:pt x="64" y="25"/>
                  </a:lnTo>
                  <a:lnTo>
                    <a:pt x="55" y="22"/>
                  </a:lnTo>
                  <a:lnTo>
                    <a:pt x="37" y="19"/>
                  </a:lnTo>
                  <a:lnTo>
                    <a:pt x="23" y="19"/>
                  </a:lnTo>
                  <a:lnTo>
                    <a:pt x="14" y="14"/>
                  </a:lnTo>
                  <a:lnTo>
                    <a:pt x="0" y="1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42" name="Freeform 153"/>
            <p:cNvSpPr>
              <a:spLocks/>
            </p:cNvSpPr>
            <p:nvPr>
              <p:custDataLst>
                <p:tags r:id="rId141"/>
              </p:custDataLst>
            </p:nvPr>
          </p:nvSpPr>
          <p:spPr bwMode="gray">
            <a:xfrm>
              <a:off x="904" y="576"/>
              <a:ext cx="3795" cy="815"/>
            </a:xfrm>
            <a:custGeom>
              <a:avLst/>
              <a:gdLst>
                <a:gd name="T0" fmla="*/ 2847 w 3702"/>
                <a:gd name="T1" fmla="*/ 7 h 892"/>
                <a:gd name="T2" fmla="*/ 2498 w 3702"/>
                <a:gd name="T3" fmla="*/ 14 h 892"/>
                <a:gd name="T4" fmla="*/ 2150 w 3702"/>
                <a:gd name="T5" fmla="*/ 22 h 892"/>
                <a:gd name="T6" fmla="*/ 1810 w 3702"/>
                <a:gd name="T7" fmla="*/ 29 h 892"/>
                <a:gd name="T8" fmla="*/ 1483 w 3702"/>
                <a:gd name="T9" fmla="*/ 37 h 892"/>
                <a:gd name="T10" fmla="*/ 1167 w 3702"/>
                <a:gd name="T11" fmla="*/ 44 h 892"/>
                <a:gd name="T12" fmla="*/ 883 w 3702"/>
                <a:gd name="T13" fmla="*/ 53 h 892"/>
                <a:gd name="T14" fmla="*/ 618 w 3702"/>
                <a:gd name="T15" fmla="*/ 58 h 892"/>
                <a:gd name="T16" fmla="*/ 391 w 3702"/>
                <a:gd name="T17" fmla="*/ 65 h 892"/>
                <a:gd name="T18" fmla="*/ 216 w 3702"/>
                <a:gd name="T19" fmla="*/ 70 h 892"/>
                <a:gd name="T20" fmla="*/ 84 w 3702"/>
                <a:gd name="T21" fmla="*/ 77 h 892"/>
                <a:gd name="T22" fmla="*/ 0 w 3702"/>
                <a:gd name="T23" fmla="*/ 79 h 892"/>
                <a:gd name="T24" fmla="*/ 74 w 3702"/>
                <a:gd name="T25" fmla="*/ 80 h 892"/>
                <a:gd name="T26" fmla="*/ 201 w 3702"/>
                <a:gd name="T27" fmla="*/ 80 h 892"/>
                <a:gd name="T28" fmla="*/ 391 w 3702"/>
                <a:gd name="T29" fmla="*/ 82 h 892"/>
                <a:gd name="T30" fmla="*/ 618 w 3702"/>
                <a:gd name="T31" fmla="*/ 82 h 892"/>
                <a:gd name="T32" fmla="*/ 883 w 3702"/>
                <a:gd name="T33" fmla="*/ 84 h 892"/>
                <a:gd name="T34" fmla="*/ 1195 w 3702"/>
                <a:gd name="T35" fmla="*/ 84 h 892"/>
                <a:gd name="T36" fmla="*/ 1525 w 3702"/>
                <a:gd name="T37" fmla="*/ 84 h 892"/>
                <a:gd name="T38" fmla="*/ 1882 w 3702"/>
                <a:gd name="T39" fmla="*/ 84 h 892"/>
                <a:gd name="T40" fmla="*/ 2255 w 3702"/>
                <a:gd name="T41" fmla="*/ 84 h 892"/>
                <a:gd name="T42" fmla="*/ 2640 w 3702"/>
                <a:gd name="T43" fmla="*/ 84 h 892"/>
                <a:gd name="T44" fmla="*/ 3030 w 3702"/>
                <a:gd name="T45" fmla="*/ 84 h 892"/>
                <a:gd name="T46" fmla="*/ 3417 w 3702"/>
                <a:gd name="T47" fmla="*/ 84 h 892"/>
                <a:gd name="T48" fmla="*/ 3798 w 3702"/>
                <a:gd name="T49" fmla="*/ 84 h 892"/>
                <a:gd name="T50" fmla="*/ 4189 w 3702"/>
                <a:gd name="T51" fmla="*/ 82 h 892"/>
                <a:gd name="T52" fmla="*/ 4579 w 3702"/>
                <a:gd name="T53" fmla="*/ 81 h 892"/>
                <a:gd name="T54" fmla="*/ 4965 w 3702"/>
                <a:gd name="T55" fmla="*/ 79 h 892"/>
                <a:gd name="T56" fmla="*/ 5320 w 3702"/>
                <a:gd name="T57" fmla="*/ 77 h 892"/>
                <a:gd name="T58" fmla="*/ 5681 w 3702"/>
                <a:gd name="T59" fmla="*/ 77 h 892"/>
                <a:gd name="T60" fmla="*/ 6009 w 3702"/>
                <a:gd name="T61" fmla="*/ 77 h 892"/>
                <a:gd name="T62" fmla="*/ 6297 w 3702"/>
                <a:gd name="T63" fmla="*/ 73 h 892"/>
                <a:gd name="T64" fmla="*/ 6551 w 3702"/>
                <a:gd name="T65" fmla="*/ 72 h 892"/>
                <a:gd name="T66" fmla="*/ 6759 w 3702"/>
                <a:gd name="T67" fmla="*/ 70 h 892"/>
                <a:gd name="T68" fmla="*/ 6915 w 3702"/>
                <a:gd name="T69" fmla="*/ 70 h 892"/>
                <a:gd name="T70" fmla="*/ 7030 w 3702"/>
                <a:gd name="T71" fmla="*/ 70 h 892"/>
                <a:gd name="T72" fmla="*/ 6993 w 3702"/>
                <a:gd name="T73" fmla="*/ 67 h 892"/>
                <a:gd name="T74" fmla="*/ 6863 w 3702"/>
                <a:gd name="T75" fmla="*/ 64 h 892"/>
                <a:gd name="T76" fmla="*/ 6674 w 3702"/>
                <a:gd name="T77" fmla="*/ 60 h 892"/>
                <a:gd name="T78" fmla="*/ 6435 w 3702"/>
                <a:gd name="T79" fmla="*/ 56 h 892"/>
                <a:gd name="T80" fmla="*/ 6166 w 3702"/>
                <a:gd name="T81" fmla="*/ 49 h 892"/>
                <a:gd name="T82" fmla="*/ 5862 w 3702"/>
                <a:gd name="T83" fmla="*/ 44 h 892"/>
                <a:gd name="T84" fmla="*/ 5558 w 3702"/>
                <a:gd name="T85" fmla="*/ 37 h 892"/>
                <a:gd name="T86" fmla="*/ 5235 w 3702"/>
                <a:gd name="T87" fmla="*/ 31 h 892"/>
                <a:gd name="T88" fmla="*/ 4937 w 3702"/>
                <a:gd name="T89" fmla="*/ 25 h 892"/>
                <a:gd name="T90" fmla="*/ 4654 w 3702"/>
                <a:gd name="T91" fmla="*/ 18 h 892"/>
                <a:gd name="T92" fmla="*/ 4398 w 3702"/>
                <a:gd name="T93" fmla="*/ 14 h 892"/>
                <a:gd name="T94" fmla="*/ 4199 w 3702"/>
                <a:gd name="T95" fmla="*/ 10 h 892"/>
                <a:gd name="T96" fmla="*/ 4050 w 3702"/>
                <a:gd name="T97" fmla="*/ 5 h 892"/>
                <a:gd name="T98" fmla="*/ 3928 w 3702"/>
                <a:gd name="T99" fmla="*/ 5 h 892"/>
                <a:gd name="T100" fmla="*/ 3824 w 3702"/>
                <a:gd name="T101" fmla="*/ 5 h 892"/>
                <a:gd name="T102" fmla="*/ 3711 w 3702"/>
                <a:gd name="T103" fmla="*/ 5 h 892"/>
                <a:gd name="T104" fmla="*/ 3607 w 3702"/>
                <a:gd name="T105" fmla="*/ 5 h 892"/>
                <a:gd name="T106" fmla="*/ 3422 w 3702"/>
                <a:gd name="T107" fmla="*/ 0 h 892"/>
                <a:gd name="T108" fmla="*/ 3273 w 3702"/>
                <a:gd name="T109" fmla="*/ 5 h 892"/>
                <a:gd name="T110" fmla="*/ 3154 w 3702"/>
                <a:gd name="T111" fmla="*/ 5 h 8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702"/>
                <a:gd name="T169" fmla="*/ 0 h 892"/>
                <a:gd name="T170" fmla="*/ 3702 w 3702"/>
                <a:gd name="T171" fmla="*/ 892 h 8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702" h="892">
                  <a:moveTo>
                    <a:pt x="1632" y="26"/>
                  </a:moveTo>
                  <a:lnTo>
                    <a:pt x="1595" y="35"/>
                  </a:lnTo>
                  <a:lnTo>
                    <a:pt x="1563" y="49"/>
                  </a:lnTo>
                  <a:lnTo>
                    <a:pt x="1526" y="63"/>
                  </a:lnTo>
                  <a:lnTo>
                    <a:pt x="1494" y="77"/>
                  </a:lnTo>
                  <a:lnTo>
                    <a:pt x="1453" y="89"/>
                  </a:lnTo>
                  <a:lnTo>
                    <a:pt x="1421" y="103"/>
                  </a:lnTo>
                  <a:lnTo>
                    <a:pt x="1380" y="117"/>
                  </a:lnTo>
                  <a:lnTo>
                    <a:pt x="1348" y="131"/>
                  </a:lnTo>
                  <a:lnTo>
                    <a:pt x="1312" y="149"/>
                  </a:lnTo>
                  <a:lnTo>
                    <a:pt x="1275" y="160"/>
                  </a:lnTo>
                  <a:lnTo>
                    <a:pt x="1239" y="174"/>
                  </a:lnTo>
                  <a:lnTo>
                    <a:pt x="1202" y="191"/>
                  </a:lnTo>
                  <a:lnTo>
                    <a:pt x="1165" y="208"/>
                  </a:lnTo>
                  <a:lnTo>
                    <a:pt x="1129" y="225"/>
                  </a:lnTo>
                  <a:lnTo>
                    <a:pt x="1097" y="240"/>
                  </a:lnTo>
                  <a:lnTo>
                    <a:pt x="1060" y="257"/>
                  </a:lnTo>
                  <a:lnTo>
                    <a:pt x="1024" y="274"/>
                  </a:lnTo>
                  <a:lnTo>
                    <a:pt x="987" y="288"/>
                  </a:lnTo>
                  <a:lnTo>
                    <a:pt x="951" y="305"/>
                  </a:lnTo>
                  <a:lnTo>
                    <a:pt x="919" y="322"/>
                  </a:lnTo>
                  <a:lnTo>
                    <a:pt x="877" y="339"/>
                  </a:lnTo>
                  <a:lnTo>
                    <a:pt x="846" y="354"/>
                  </a:lnTo>
                  <a:lnTo>
                    <a:pt x="814" y="371"/>
                  </a:lnTo>
                  <a:lnTo>
                    <a:pt x="777" y="388"/>
                  </a:lnTo>
                  <a:lnTo>
                    <a:pt x="745" y="408"/>
                  </a:lnTo>
                  <a:lnTo>
                    <a:pt x="713" y="422"/>
                  </a:lnTo>
                  <a:lnTo>
                    <a:pt x="681" y="439"/>
                  </a:lnTo>
                  <a:lnTo>
                    <a:pt x="644" y="456"/>
                  </a:lnTo>
                  <a:lnTo>
                    <a:pt x="612" y="470"/>
                  </a:lnTo>
                  <a:lnTo>
                    <a:pt x="580" y="487"/>
                  </a:lnTo>
                  <a:lnTo>
                    <a:pt x="548" y="504"/>
                  </a:lnTo>
                  <a:lnTo>
                    <a:pt x="526" y="519"/>
                  </a:lnTo>
                  <a:lnTo>
                    <a:pt x="494" y="536"/>
                  </a:lnTo>
                  <a:lnTo>
                    <a:pt x="462" y="550"/>
                  </a:lnTo>
                  <a:lnTo>
                    <a:pt x="434" y="564"/>
                  </a:lnTo>
                  <a:lnTo>
                    <a:pt x="407" y="579"/>
                  </a:lnTo>
                  <a:lnTo>
                    <a:pt x="379" y="593"/>
                  </a:lnTo>
                  <a:lnTo>
                    <a:pt x="352" y="607"/>
                  </a:lnTo>
                  <a:lnTo>
                    <a:pt x="325" y="621"/>
                  </a:lnTo>
                  <a:lnTo>
                    <a:pt x="302" y="638"/>
                  </a:lnTo>
                  <a:lnTo>
                    <a:pt x="274" y="650"/>
                  </a:lnTo>
                  <a:lnTo>
                    <a:pt x="251" y="664"/>
                  </a:lnTo>
                  <a:lnTo>
                    <a:pt x="229" y="675"/>
                  </a:lnTo>
                  <a:lnTo>
                    <a:pt x="206" y="687"/>
                  </a:lnTo>
                  <a:lnTo>
                    <a:pt x="187" y="701"/>
                  </a:lnTo>
                  <a:lnTo>
                    <a:pt x="169" y="712"/>
                  </a:lnTo>
                  <a:lnTo>
                    <a:pt x="146" y="724"/>
                  </a:lnTo>
                  <a:lnTo>
                    <a:pt x="133" y="735"/>
                  </a:lnTo>
                  <a:lnTo>
                    <a:pt x="114" y="744"/>
                  </a:lnTo>
                  <a:lnTo>
                    <a:pt x="101" y="755"/>
                  </a:lnTo>
                  <a:lnTo>
                    <a:pt x="82" y="764"/>
                  </a:lnTo>
                  <a:lnTo>
                    <a:pt x="69" y="772"/>
                  </a:lnTo>
                  <a:lnTo>
                    <a:pt x="59" y="781"/>
                  </a:lnTo>
                  <a:lnTo>
                    <a:pt x="46" y="789"/>
                  </a:lnTo>
                  <a:lnTo>
                    <a:pt x="37" y="798"/>
                  </a:lnTo>
                  <a:lnTo>
                    <a:pt x="27" y="803"/>
                  </a:lnTo>
                  <a:lnTo>
                    <a:pt x="14" y="815"/>
                  </a:lnTo>
                  <a:lnTo>
                    <a:pt x="5" y="826"/>
                  </a:lnTo>
                  <a:lnTo>
                    <a:pt x="0" y="829"/>
                  </a:lnTo>
                  <a:lnTo>
                    <a:pt x="5" y="832"/>
                  </a:lnTo>
                  <a:lnTo>
                    <a:pt x="9" y="832"/>
                  </a:lnTo>
                  <a:lnTo>
                    <a:pt x="23" y="835"/>
                  </a:lnTo>
                  <a:lnTo>
                    <a:pt x="32" y="835"/>
                  </a:lnTo>
                  <a:lnTo>
                    <a:pt x="41" y="835"/>
                  </a:lnTo>
                  <a:lnTo>
                    <a:pt x="55" y="838"/>
                  </a:lnTo>
                  <a:lnTo>
                    <a:pt x="64" y="838"/>
                  </a:lnTo>
                  <a:lnTo>
                    <a:pt x="78" y="838"/>
                  </a:lnTo>
                  <a:lnTo>
                    <a:pt x="91" y="841"/>
                  </a:lnTo>
                  <a:lnTo>
                    <a:pt x="105" y="841"/>
                  </a:lnTo>
                  <a:lnTo>
                    <a:pt x="123" y="846"/>
                  </a:lnTo>
                  <a:lnTo>
                    <a:pt x="142" y="846"/>
                  </a:lnTo>
                  <a:lnTo>
                    <a:pt x="160" y="846"/>
                  </a:lnTo>
                  <a:lnTo>
                    <a:pt x="183" y="849"/>
                  </a:lnTo>
                  <a:lnTo>
                    <a:pt x="206" y="852"/>
                  </a:lnTo>
                  <a:lnTo>
                    <a:pt x="224" y="852"/>
                  </a:lnTo>
                  <a:lnTo>
                    <a:pt x="247" y="852"/>
                  </a:lnTo>
                  <a:lnTo>
                    <a:pt x="270" y="855"/>
                  </a:lnTo>
                  <a:lnTo>
                    <a:pt x="297" y="858"/>
                  </a:lnTo>
                  <a:lnTo>
                    <a:pt x="325" y="858"/>
                  </a:lnTo>
                  <a:lnTo>
                    <a:pt x="347" y="860"/>
                  </a:lnTo>
                  <a:lnTo>
                    <a:pt x="375" y="860"/>
                  </a:lnTo>
                  <a:lnTo>
                    <a:pt x="407" y="863"/>
                  </a:lnTo>
                  <a:lnTo>
                    <a:pt x="434" y="863"/>
                  </a:lnTo>
                  <a:lnTo>
                    <a:pt x="462" y="866"/>
                  </a:lnTo>
                  <a:lnTo>
                    <a:pt x="494" y="866"/>
                  </a:lnTo>
                  <a:lnTo>
                    <a:pt x="530" y="869"/>
                  </a:lnTo>
                  <a:lnTo>
                    <a:pt x="558" y="869"/>
                  </a:lnTo>
                  <a:lnTo>
                    <a:pt x="590" y="875"/>
                  </a:lnTo>
                  <a:lnTo>
                    <a:pt x="626" y="875"/>
                  </a:lnTo>
                  <a:lnTo>
                    <a:pt x="663" y="878"/>
                  </a:lnTo>
                  <a:lnTo>
                    <a:pt x="695" y="878"/>
                  </a:lnTo>
                  <a:lnTo>
                    <a:pt x="727" y="880"/>
                  </a:lnTo>
                  <a:lnTo>
                    <a:pt x="763" y="880"/>
                  </a:lnTo>
                  <a:lnTo>
                    <a:pt x="800" y="880"/>
                  </a:lnTo>
                  <a:lnTo>
                    <a:pt x="836" y="880"/>
                  </a:lnTo>
                  <a:lnTo>
                    <a:pt x="873" y="883"/>
                  </a:lnTo>
                  <a:lnTo>
                    <a:pt x="909" y="883"/>
                  </a:lnTo>
                  <a:lnTo>
                    <a:pt x="946" y="886"/>
                  </a:lnTo>
                  <a:lnTo>
                    <a:pt x="987" y="886"/>
                  </a:lnTo>
                  <a:lnTo>
                    <a:pt x="1028" y="889"/>
                  </a:lnTo>
                  <a:lnTo>
                    <a:pt x="1065" y="889"/>
                  </a:lnTo>
                  <a:lnTo>
                    <a:pt x="1106" y="889"/>
                  </a:lnTo>
                  <a:lnTo>
                    <a:pt x="1143" y="889"/>
                  </a:lnTo>
                  <a:lnTo>
                    <a:pt x="1184" y="892"/>
                  </a:lnTo>
                  <a:lnTo>
                    <a:pt x="1225" y="892"/>
                  </a:lnTo>
                  <a:lnTo>
                    <a:pt x="1266" y="892"/>
                  </a:lnTo>
                  <a:lnTo>
                    <a:pt x="1303" y="892"/>
                  </a:lnTo>
                  <a:lnTo>
                    <a:pt x="1344" y="892"/>
                  </a:lnTo>
                  <a:lnTo>
                    <a:pt x="1385" y="892"/>
                  </a:lnTo>
                  <a:lnTo>
                    <a:pt x="1426" y="892"/>
                  </a:lnTo>
                  <a:lnTo>
                    <a:pt x="1462" y="889"/>
                  </a:lnTo>
                  <a:lnTo>
                    <a:pt x="1508" y="889"/>
                  </a:lnTo>
                  <a:lnTo>
                    <a:pt x="1549" y="889"/>
                  </a:lnTo>
                  <a:lnTo>
                    <a:pt x="1590" y="889"/>
                  </a:lnTo>
                  <a:lnTo>
                    <a:pt x="1627" y="889"/>
                  </a:lnTo>
                  <a:lnTo>
                    <a:pt x="1673" y="889"/>
                  </a:lnTo>
                  <a:lnTo>
                    <a:pt x="1714" y="886"/>
                  </a:lnTo>
                  <a:lnTo>
                    <a:pt x="1755" y="886"/>
                  </a:lnTo>
                  <a:lnTo>
                    <a:pt x="1792" y="880"/>
                  </a:lnTo>
                  <a:lnTo>
                    <a:pt x="1837" y="880"/>
                  </a:lnTo>
                  <a:lnTo>
                    <a:pt x="1874" y="880"/>
                  </a:lnTo>
                  <a:lnTo>
                    <a:pt x="1919" y="878"/>
                  </a:lnTo>
                  <a:lnTo>
                    <a:pt x="1956" y="875"/>
                  </a:lnTo>
                  <a:lnTo>
                    <a:pt x="1993" y="872"/>
                  </a:lnTo>
                  <a:lnTo>
                    <a:pt x="2038" y="869"/>
                  </a:lnTo>
                  <a:lnTo>
                    <a:pt x="2079" y="866"/>
                  </a:lnTo>
                  <a:lnTo>
                    <a:pt x="2116" y="866"/>
                  </a:lnTo>
                  <a:lnTo>
                    <a:pt x="2157" y="863"/>
                  </a:lnTo>
                  <a:lnTo>
                    <a:pt x="2198" y="860"/>
                  </a:lnTo>
                  <a:lnTo>
                    <a:pt x="2239" y="858"/>
                  </a:lnTo>
                  <a:lnTo>
                    <a:pt x="2281" y="855"/>
                  </a:lnTo>
                  <a:lnTo>
                    <a:pt x="2317" y="852"/>
                  </a:lnTo>
                  <a:lnTo>
                    <a:pt x="2363" y="849"/>
                  </a:lnTo>
                  <a:lnTo>
                    <a:pt x="2404" y="846"/>
                  </a:lnTo>
                  <a:lnTo>
                    <a:pt x="2440" y="843"/>
                  </a:lnTo>
                  <a:lnTo>
                    <a:pt x="2482" y="841"/>
                  </a:lnTo>
                  <a:lnTo>
                    <a:pt x="2523" y="838"/>
                  </a:lnTo>
                  <a:lnTo>
                    <a:pt x="2564" y="835"/>
                  </a:lnTo>
                  <a:lnTo>
                    <a:pt x="2605" y="832"/>
                  </a:lnTo>
                  <a:lnTo>
                    <a:pt x="2642" y="829"/>
                  </a:lnTo>
                  <a:lnTo>
                    <a:pt x="2683" y="826"/>
                  </a:lnTo>
                  <a:lnTo>
                    <a:pt x="2719" y="826"/>
                  </a:lnTo>
                  <a:lnTo>
                    <a:pt x="2760" y="821"/>
                  </a:lnTo>
                  <a:lnTo>
                    <a:pt x="2792" y="818"/>
                  </a:lnTo>
                  <a:lnTo>
                    <a:pt x="2834" y="815"/>
                  </a:lnTo>
                  <a:lnTo>
                    <a:pt x="2870" y="812"/>
                  </a:lnTo>
                  <a:lnTo>
                    <a:pt x="2907" y="809"/>
                  </a:lnTo>
                  <a:lnTo>
                    <a:pt x="2948" y="803"/>
                  </a:lnTo>
                  <a:lnTo>
                    <a:pt x="2980" y="803"/>
                  </a:lnTo>
                  <a:lnTo>
                    <a:pt x="3016" y="801"/>
                  </a:lnTo>
                  <a:lnTo>
                    <a:pt x="3048" y="798"/>
                  </a:lnTo>
                  <a:lnTo>
                    <a:pt x="3085" y="792"/>
                  </a:lnTo>
                  <a:lnTo>
                    <a:pt x="3117" y="789"/>
                  </a:lnTo>
                  <a:lnTo>
                    <a:pt x="3153" y="789"/>
                  </a:lnTo>
                  <a:lnTo>
                    <a:pt x="3185" y="784"/>
                  </a:lnTo>
                  <a:lnTo>
                    <a:pt x="3213" y="781"/>
                  </a:lnTo>
                  <a:lnTo>
                    <a:pt x="3245" y="778"/>
                  </a:lnTo>
                  <a:lnTo>
                    <a:pt x="3281" y="775"/>
                  </a:lnTo>
                  <a:lnTo>
                    <a:pt x="3304" y="772"/>
                  </a:lnTo>
                  <a:lnTo>
                    <a:pt x="3332" y="769"/>
                  </a:lnTo>
                  <a:lnTo>
                    <a:pt x="3359" y="766"/>
                  </a:lnTo>
                  <a:lnTo>
                    <a:pt x="3391" y="764"/>
                  </a:lnTo>
                  <a:lnTo>
                    <a:pt x="3414" y="761"/>
                  </a:lnTo>
                  <a:lnTo>
                    <a:pt x="3437" y="758"/>
                  </a:lnTo>
                  <a:lnTo>
                    <a:pt x="3464" y="755"/>
                  </a:lnTo>
                  <a:lnTo>
                    <a:pt x="3487" y="752"/>
                  </a:lnTo>
                  <a:lnTo>
                    <a:pt x="3505" y="749"/>
                  </a:lnTo>
                  <a:lnTo>
                    <a:pt x="3528" y="749"/>
                  </a:lnTo>
                  <a:lnTo>
                    <a:pt x="3546" y="744"/>
                  </a:lnTo>
                  <a:lnTo>
                    <a:pt x="3574" y="744"/>
                  </a:lnTo>
                  <a:lnTo>
                    <a:pt x="3588" y="741"/>
                  </a:lnTo>
                  <a:lnTo>
                    <a:pt x="3606" y="738"/>
                  </a:lnTo>
                  <a:lnTo>
                    <a:pt x="3615" y="735"/>
                  </a:lnTo>
                  <a:lnTo>
                    <a:pt x="3629" y="732"/>
                  </a:lnTo>
                  <a:lnTo>
                    <a:pt x="3642" y="732"/>
                  </a:lnTo>
                  <a:lnTo>
                    <a:pt x="3656" y="729"/>
                  </a:lnTo>
                  <a:lnTo>
                    <a:pt x="3665" y="727"/>
                  </a:lnTo>
                  <a:lnTo>
                    <a:pt x="3674" y="727"/>
                  </a:lnTo>
                  <a:lnTo>
                    <a:pt x="3688" y="721"/>
                  </a:lnTo>
                  <a:lnTo>
                    <a:pt x="3697" y="721"/>
                  </a:lnTo>
                  <a:lnTo>
                    <a:pt x="3702" y="718"/>
                  </a:lnTo>
                  <a:lnTo>
                    <a:pt x="3697" y="715"/>
                  </a:lnTo>
                  <a:lnTo>
                    <a:pt x="3688" y="712"/>
                  </a:lnTo>
                  <a:lnTo>
                    <a:pt x="3670" y="704"/>
                  </a:lnTo>
                  <a:lnTo>
                    <a:pt x="3661" y="698"/>
                  </a:lnTo>
                  <a:lnTo>
                    <a:pt x="3647" y="695"/>
                  </a:lnTo>
                  <a:lnTo>
                    <a:pt x="3633" y="687"/>
                  </a:lnTo>
                  <a:lnTo>
                    <a:pt x="3620" y="687"/>
                  </a:lnTo>
                  <a:lnTo>
                    <a:pt x="3601" y="675"/>
                  </a:lnTo>
                  <a:lnTo>
                    <a:pt x="3583" y="670"/>
                  </a:lnTo>
                  <a:lnTo>
                    <a:pt x="3565" y="661"/>
                  </a:lnTo>
                  <a:lnTo>
                    <a:pt x="3546" y="653"/>
                  </a:lnTo>
                  <a:lnTo>
                    <a:pt x="3524" y="644"/>
                  </a:lnTo>
                  <a:lnTo>
                    <a:pt x="3501" y="635"/>
                  </a:lnTo>
                  <a:lnTo>
                    <a:pt x="3482" y="627"/>
                  </a:lnTo>
                  <a:lnTo>
                    <a:pt x="3455" y="618"/>
                  </a:lnTo>
                  <a:lnTo>
                    <a:pt x="3432" y="607"/>
                  </a:lnTo>
                  <a:lnTo>
                    <a:pt x="3405" y="596"/>
                  </a:lnTo>
                  <a:lnTo>
                    <a:pt x="3377" y="584"/>
                  </a:lnTo>
                  <a:lnTo>
                    <a:pt x="3350" y="573"/>
                  </a:lnTo>
                  <a:lnTo>
                    <a:pt x="3323" y="561"/>
                  </a:lnTo>
                  <a:lnTo>
                    <a:pt x="3295" y="550"/>
                  </a:lnTo>
                  <a:lnTo>
                    <a:pt x="3263" y="539"/>
                  </a:lnTo>
                  <a:lnTo>
                    <a:pt x="3236" y="524"/>
                  </a:lnTo>
                  <a:lnTo>
                    <a:pt x="3204" y="513"/>
                  </a:lnTo>
                  <a:lnTo>
                    <a:pt x="3172" y="502"/>
                  </a:lnTo>
                  <a:lnTo>
                    <a:pt x="3140" y="487"/>
                  </a:lnTo>
                  <a:lnTo>
                    <a:pt x="3112" y="473"/>
                  </a:lnTo>
                  <a:lnTo>
                    <a:pt x="3076" y="462"/>
                  </a:lnTo>
                  <a:lnTo>
                    <a:pt x="3044" y="448"/>
                  </a:lnTo>
                  <a:lnTo>
                    <a:pt x="3016" y="433"/>
                  </a:lnTo>
                  <a:lnTo>
                    <a:pt x="2980" y="422"/>
                  </a:lnTo>
                  <a:lnTo>
                    <a:pt x="2948" y="408"/>
                  </a:lnTo>
                  <a:lnTo>
                    <a:pt x="2916" y="393"/>
                  </a:lnTo>
                  <a:lnTo>
                    <a:pt x="2884" y="379"/>
                  </a:lnTo>
                  <a:lnTo>
                    <a:pt x="2847" y="365"/>
                  </a:lnTo>
                  <a:lnTo>
                    <a:pt x="2815" y="351"/>
                  </a:lnTo>
                  <a:lnTo>
                    <a:pt x="2783" y="336"/>
                  </a:lnTo>
                  <a:lnTo>
                    <a:pt x="2747" y="325"/>
                  </a:lnTo>
                  <a:lnTo>
                    <a:pt x="2715" y="311"/>
                  </a:lnTo>
                  <a:lnTo>
                    <a:pt x="2683" y="297"/>
                  </a:lnTo>
                  <a:lnTo>
                    <a:pt x="2651" y="285"/>
                  </a:lnTo>
                  <a:lnTo>
                    <a:pt x="2619" y="271"/>
                  </a:lnTo>
                  <a:lnTo>
                    <a:pt x="2591" y="260"/>
                  </a:lnTo>
                  <a:lnTo>
                    <a:pt x="2559" y="245"/>
                  </a:lnTo>
                  <a:lnTo>
                    <a:pt x="2527" y="231"/>
                  </a:lnTo>
                  <a:lnTo>
                    <a:pt x="2500" y="220"/>
                  </a:lnTo>
                  <a:lnTo>
                    <a:pt x="2472" y="208"/>
                  </a:lnTo>
                  <a:lnTo>
                    <a:pt x="2440" y="194"/>
                  </a:lnTo>
                  <a:lnTo>
                    <a:pt x="2413" y="183"/>
                  </a:lnTo>
                  <a:lnTo>
                    <a:pt x="2386" y="171"/>
                  </a:lnTo>
                  <a:lnTo>
                    <a:pt x="2363" y="160"/>
                  </a:lnTo>
                  <a:lnTo>
                    <a:pt x="2335" y="151"/>
                  </a:lnTo>
                  <a:lnTo>
                    <a:pt x="2308" y="140"/>
                  </a:lnTo>
                  <a:lnTo>
                    <a:pt x="2285" y="131"/>
                  </a:lnTo>
                  <a:lnTo>
                    <a:pt x="2262" y="123"/>
                  </a:lnTo>
                  <a:lnTo>
                    <a:pt x="2244" y="112"/>
                  </a:lnTo>
                  <a:lnTo>
                    <a:pt x="2221" y="106"/>
                  </a:lnTo>
                  <a:lnTo>
                    <a:pt x="2203" y="97"/>
                  </a:lnTo>
                  <a:lnTo>
                    <a:pt x="2185" y="89"/>
                  </a:lnTo>
                  <a:lnTo>
                    <a:pt x="2166" y="83"/>
                  </a:lnTo>
                  <a:lnTo>
                    <a:pt x="2153" y="74"/>
                  </a:lnTo>
                  <a:lnTo>
                    <a:pt x="2134" y="69"/>
                  </a:lnTo>
                  <a:lnTo>
                    <a:pt x="2125" y="66"/>
                  </a:lnTo>
                  <a:lnTo>
                    <a:pt x="2116" y="60"/>
                  </a:lnTo>
                  <a:lnTo>
                    <a:pt x="2098" y="55"/>
                  </a:lnTo>
                  <a:lnTo>
                    <a:pt x="2089" y="49"/>
                  </a:lnTo>
                  <a:lnTo>
                    <a:pt x="2079" y="46"/>
                  </a:lnTo>
                  <a:lnTo>
                    <a:pt x="2061" y="43"/>
                  </a:lnTo>
                  <a:lnTo>
                    <a:pt x="2052" y="37"/>
                  </a:lnTo>
                  <a:lnTo>
                    <a:pt x="2043" y="35"/>
                  </a:lnTo>
                  <a:lnTo>
                    <a:pt x="2025" y="32"/>
                  </a:lnTo>
                  <a:lnTo>
                    <a:pt x="2015" y="26"/>
                  </a:lnTo>
                  <a:lnTo>
                    <a:pt x="2006" y="23"/>
                  </a:lnTo>
                  <a:lnTo>
                    <a:pt x="1993" y="20"/>
                  </a:lnTo>
                  <a:lnTo>
                    <a:pt x="1979" y="20"/>
                  </a:lnTo>
                  <a:lnTo>
                    <a:pt x="1970" y="15"/>
                  </a:lnTo>
                  <a:lnTo>
                    <a:pt x="1956" y="15"/>
                  </a:lnTo>
                  <a:lnTo>
                    <a:pt x="1947" y="12"/>
                  </a:lnTo>
                  <a:lnTo>
                    <a:pt x="1938" y="12"/>
                  </a:lnTo>
                  <a:lnTo>
                    <a:pt x="1924" y="9"/>
                  </a:lnTo>
                  <a:lnTo>
                    <a:pt x="1915" y="9"/>
                  </a:lnTo>
                  <a:lnTo>
                    <a:pt x="1901" y="6"/>
                  </a:lnTo>
                  <a:lnTo>
                    <a:pt x="1892" y="6"/>
                  </a:lnTo>
                  <a:lnTo>
                    <a:pt x="1869" y="0"/>
                  </a:lnTo>
                  <a:lnTo>
                    <a:pt x="1856" y="0"/>
                  </a:lnTo>
                  <a:lnTo>
                    <a:pt x="1833" y="0"/>
                  </a:lnTo>
                  <a:lnTo>
                    <a:pt x="1814" y="0"/>
                  </a:lnTo>
                  <a:lnTo>
                    <a:pt x="1796" y="0"/>
                  </a:lnTo>
                  <a:lnTo>
                    <a:pt x="1782" y="3"/>
                  </a:lnTo>
                  <a:lnTo>
                    <a:pt x="1764" y="3"/>
                  </a:lnTo>
                  <a:lnTo>
                    <a:pt x="1750" y="6"/>
                  </a:lnTo>
                  <a:lnTo>
                    <a:pt x="1732" y="6"/>
                  </a:lnTo>
                  <a:lnTo>
                    <a:pt x="1718" y="9"/>
                  </a:lnTo>
                  <a:lnTo>
                    <a:pt x="1700" y="9"/>
                  </a:lnTo>
                  <a:lnTo>
                    <a:pt x="1696" y="9"/>
                  </a:lnTo>
                  <a:lnTo>
                    <a:pt x="1682" y="12"/>
                  </a:lnTo>
                  <a:lnTo>
                    <a:pt x="1673" y="15"/>
                  </a:lnTo>
                  <a:lnTo>
                    <a:pt x="1654" y="20"/>
                  </a:lnTo>
                  <a:lnTo>
                    <a:pt x="1641" y="20"/>
                  </a:lnTo>
                  <a:lnTo>
                    <a:pt x="1636" y="23"/>
                  </a:lnTo>
                  <a:lnTo>
                    <a:pt x="1632" y="26"/>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43" name="Freeform 154"/>
            <p:cNvSpPr>
              <a:spLocks/>
            </p:cNvSpPr>
            <p:nvPr>
              <p:custDataLst>
                <p:tags r:id="rId142"/>
              </p:custDataLst>
            </p:nvPr>
          </p:nvSpPr>
          <p:spPr bwMode="gray">
            <a:xfrm>
              <a:off x="1358" y="666"/>
              <a:ext cx="1270" cy="535"/>
            </a:xfrm>
            <a:custGeom>
              <a:avLst/>
              <a:gdLst>
                <a:gd name="T0" fmla="*/ 2081 w 1239"/>
                <a:gd name="T1" fmla="*/ 5 h 587"/>
                <a:gd name="T2" fmla="*/ 1955 w 1239"/>
                <a:gd name="T3" fmla="*/ 5 h 587"/>
                <a:gd name="T4" fmla="*/ 1837 w 1239"/>
                <a:gd name="T5" fmla="*/ 6 h 587"/>
                <a:gd name="T6" fmla="*/ 1715 w 1239"/>
                <a:gd name="T7" fmla="*/ 9 h 587"/>
                <a:gd name="T8" fmla="*/ 1599 w 1239"/>
                <a:gd name="T9" fmla="*/ 12 h 587"/>
                <a:gd name="T10" fmla="*/ 1488 w 1239"/>
                <a:gd name="T11" fmla="*/ 14 h 587"/>
                <a:gd name="T12" fmla="*/ 1373 w 1239"/>
                <a:gd name="T13" fmla="*/ 16 h 587"/>
                <a:gd name="T14" fmla="*/ 1268 w 1239"/>
                <a:gd name="T15" fmla="*/ 18 h 587"/>
                <a:gd name="T16" fmla="*/ 1156 w 1239"/>
                <a:gd name="T17" fmla="*/ 21 h 587"/>
                <a:gd name="T18" fmla="*/ 1053 w 1239"/>
                <a:gd name="T19" fmla="*/ 24 h 587"/>
                <a:gd name="T20" fmla="*/ 944 w 1239"/>
                <a:gd name="T21" fmla="*/ 26 h 587"/>
                <a:gd name="T22" fmla="*/ 850 w 1239"/>
                <a:gd name="T23" fmla="*/ 29 h 587"/>
                <a:gd name="T24" fmla="*/ 767 w 1239"/>
                <a:gd name="T25" fmla="*/ 31 h 587"/>
                <a:gd name="T26" fmla="*/ 668 w 1239"/>
                <a:gd name="T27" fmla="*/ 33 h 587"/>
                <a:gd name="T28" fmla="*/ 590 w 1239"/>
                <a:gd name="T29" fmla="*/ 35 h 587"/>
                <a:gd name="T30" fmla="*/ 514 w 1239"/>
                <a:gd name="T31" fmla="*/ 37 h 587"/>
                <a:gd name="T32" fmla="*/ 427 w 1239"/>
                <a:gd name="T33" fmla="*/ 39 h 587"/>
                <a:gd name="T34" fmla="*/ 364 w 1239"/>
                <a:gd name="T35" fmla="*/ 42 h 587"/>
                <a:gd name="T36" fmla="*/ 304 w 1239"/>
                <a:gd name="T37" fmla="*/ 43 h 587"/>
                <a:gd name="T38" fmla="*/ 244 w 1239"/>
                <a:gd name="T39" fmla="*/ 46 h 587"/>
                <a:gd name="T40" fmla="*/ 182 w 1239"/>
                <a:gd name="T41" fmla="*/ 46 h 587"/>
                <a:gd name="T42" fmla="*/ 137 w 1239"/>
                <a:gd name="T43" fmla="*/ 47 h 587"/>
                <a:gd name="T44" fmla="*/ 94 w 1239"/>
                <a:gd name="T45" fmla="*/ 50 h 587"/>
                <a:gd name="T46" fmla="*/ 58 w 1239"/>
                <a:gd name="T47" fmla="*/ 51 h 587"/>
                <a:gd name="T48" fmla="*/ 14 w 1239"/>
                <a:gd name="T49" fmla="*/ 51 h 587"/>
                <a:gd name="T50" fmla="*/ 0 w 1239"/>
                <a:gd name="T51" fmla="*/ 52 h 587"/>
                <a:gd name="T52" fmla="*/ 0 w 1239"/>
                <a:gd name="T53" fmla="*/ 52 h 587"/>
                <a:gd name="T54" fmla="*/ 49 w 1239"/>
                <a:gd name="T55" fmla="*/ 51 h 587"/>
                <a:gd name="T56" fmla="*/ 94 w 1239"/>
                <a:gd name="T57" fmla="*/ 51 h 587"/>
                <a:gd name="T58" fmla="*/ 137 w 1239"/>
                <a:gd name="T59" fmla="*/ 48 h 587"/>
                <a:gd name="T60" fmla="*/ 201 w 1239"/>
                <a:gd name="T61" fmla="*/ 46 h 587"/>
                <a:gd name="T62" fmla="*/ 262 w 1239"/>
                <a:gd name="T63" fmla="*/ 46 h 587"/>
                <a:gd name="T64" fmla="*/ 330 w 1239"/>
                <a:gd name="T65" fmla="*/ 43 h 587"/>
                <a:gd name="T66" fmla="*/ 401 w 1239"/>
                <a:gd name="T67" fmla="*/ 42 h 587"/>
                <a:gd name="T68" fmla="*/ 488 w 1239"/>
                <a:gd name="T69" fmla="*/ 40 h 587"/>
                <a:gd name="T70" fmla="*/ 575 w 1239"/>
                <a:gd name="T71" fmla="*/ 38 h 587"/>
                <a:gd name="T72" fmla="*/ 652 w 1239"/>
                <a:gd name="T73" fmla="*/ 36 h 587"/>
                <a:gd name="T74" fmla="*/ 748 w 1239"/>
                <a:gd name="T75" fmla="*/ 35 h 587"/>
                <a:gd name="T76" fmla="*/ 850 w 1239"/>
                <a:gd name="T77" fmla="*/ 32 h 587"/>
                <a:gd name="T78" fmla="*/ 938 w 1239"/>
                <a:gd name="T79" fmla="*/ 30 h 587"/>
                <a:gd name="T80" fmla="*/ 1042 w 1239"/>
                <a:gd name="T81" fmla="*/ 27 h 587"/>
                <a:gd name="T82" fmla="*/ 1147 w 1239"/>
                <a:gd name="T83" fmla="*/ 26 h 587"/>
                <a:gd name="T84" fmla="*/ 1243 w 1239"/>
                <a:gd name="T85" fmla="*/ 24 h 587"/>
                <a:gd name="T86" fmla="*/ 1349 w 1239"/>
                <a:gd name="T87" fmla="*/ 22 h 587"/>
                <a:gd name="T88" fmla="*/ 1442 w 1239"/>
                <a:gd name="T89" fmla="*/ 19 h 587"/>
                <a:gd name="T90" fmla="*/ 1546 w 1239"/>
                <a:gd name="T91" fmla="*/ 16 h 587"/>
                <a:gd name="T92" fmla="*/ 1642 w 1239"/>
                <a:gd name="T93" fmla="*/ 15 h 587"/>
                <a:gd name="T94" fmla="*/ 1729 w 1239"/>
                <a:gd name="T95" fmla="*/ 13 h 587"/>
                <a:gd name="T96" fmla="*/ 1826 w 1239"/>
                <a:gd name="T97" fmla="*/ 11 h 587"/>
                <a:gd name="T98" fmla="*/ 1909 w 1239"/>
                <a:gd name="T99" fmla="*/ 10 h 587"/>
                <a:gd name="T100" fmla="*/ 1997 w 1239"/>
                <a:gd name="T101" fmla="*/ 7 h 587"/>
                <a:gd name="T102" fmla="*/ 2070 w 1239"/>
                <a:gd name="T103" fmla="*/ 5 h 587"/>
                <a:gd name="T104" fmla="*/ 2145 w 1239"/>
                <a:gd name="T105" fmla="*/ 5 h 587"/>
                <a:gd name="T106" fmla="*/ 2199 w 1239"/>
                <a:gd name="T107" fmla="*/ 5 h 587"/>
                <a:gd name="T108" fmla="*/ 2259 w 1239"/>
                <a:gd name="T109" fmla="*/ 5 h 587"/>
                <a:gd name="T110" fmla="*/ 2310 w 1239"/>
                <a:gd name="T111" fmla="*/ 5 h 587"/>
                <a:gd name="T112" fmla="*/ 2358 w 1239"/>
                <a:gd name="T113" fmla="*/ 0 h 587"/>
                <a:gd name="T114" fmla="*/ 2145 w 1239"/>
                <a:gd name="T115" fmla="*/ 5 h 58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39"/>
                <a:gd name="T175" fmla="*/ 0 h 587"/>
                <a:gd name="T176" fmla="*/ 1239 w 1239"/>
                <a:gd name="T177" fmla="*/ 587 h 58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39" h="587">
                  <a:moveTo>
                    <a:pt x="1129" y="14"/>
                  </a:moveTo>
                  <a:lnTo>
                    <a:pt x="1093" y="26"/>
                  </a:lnTo>
                  <a:lnTo>
                    <a:pt x="1061" y="34"/>
                  </a:lnTo>
                  <a:lnTo>
                    <a:pt x="1029" y="46"/>
                  </a:lnTo>
                  <a:lnTo>
                    <a:pt x="997" y="60"/>
                  </a:lnTo>
                  <a:lnTo>
                    <a:pt x="965" y="74"/>
                  </a:lnTo>
                  <a:lnTo>
                    <a:pt x="933" y="86"/>
                  </a:lnTo>
                  <a:lnTo>
                    <a:pt x="901" y="100"/>
                  </a:lnTo>
                  <a:lnTo>
                    <a:pt x="873" y="114"/>
                  </a:lnTo>
                  <a:lnTo>
                    <a:pt x="841" y="125"/>
                  </a:lnTo>
                  <a:lnTo>
                    <a:pt x="814" y="140"/>
                  </a:lnTo>
                  <a:lnTo>
                    <a:pt x="782" y="151"/>
                  </a:lnTo>
                  <a:lnTo>
                    <a:pt x="750" y="165"/>
                  </a:lnTo>
                  <a:lnTo>
                    <a:pt x="722" y="179"/>
                  </a:lnTo>
                  <a:lnTo>
                    <a:pt x="690" y="194"/>
                  </a:lnTo>
                  <a:lnTo>
                    <a:pt x="668" y="208"/>
                  </a:lnTo>
                  <a:lnTo>
                    <a:pt x="636" y="219"/>
                  </a:lnTo>
                  <a:lnTo>
                    <a:pt x="608" y="234"/>
                  </a:lnTo>
                  <a:lnTo>
                    <a:pt x="585" y="251"/>
                  </a:lnTo>
                  <a:lnTo>
                    <a:pt x="553" y="262"/>
                  </a:lnTo>
                  <a:lnTo>
                    <a:pt x="530" y="276"/>
                  </a:lnTo>
                  <a:lnTo>
                    <a:pt x="498" y="288"/>
                  </a:lnTo>
                  <a:lnTo>
                    <a:pt x="476" y="302"/>
                  </a:lnTo>
                  <a:lnTo>
                    <a:pt x="448" y="316"/>
                  </a:lnTo>
                  <a:lnTo>
                    <a:pt x="430" y="330"/>
                  </a:lnTo>
                  <a:lnTo>
                    <a:pt x="403" y="342"/>
                  </a:lnTo>
                  <a:lnTo>
                    <a:pt x="380" y="356"/>
                  </a:lnTo>
                  <a:lnTo>
                    <a:pt x="352" y="367"/>
                  </a:lnTo>
                  <a:lnTo>
                    <a:pt x="329" y="382"/>
                  </a:lnTo>
                  <a:lnTo>
                    <a:pt x="311" y="393"/>
                  </a:lnTo>
                  <a:lnTo>
                    <a:pt x="288" y="404"/>
                  </a:lnTo>
                  <a:lnTo>
                    <a:pt x="270" y="416"/>
                  </a:lnTo>
                  <a:lnTo>
                    <a:pt x="247" y="430"/>
                  </a:lnTo>
                  <a:lnTo>
                    <a:pt x="224" y="441"/>
                  </a:lnTo>
                  <a:lnTo>
                    <a:pt x="206" y="450"/>
                  </a:lnTo>
                  <a:lnTo>
                    <a:pt x="192" y="461"/>
                  </a:lnTo>
                  <a:lnTo>
                    <a:pt x="174" y="473"/>
                  </a:lnTo>
                  <a:lnTo>
                    <a:pt x="160" y="484"/>
                  </a:lnTo>
                  <a:lnTo>
                    <a:pt x="142" y="493"/>
                  </a:lnTo>
                  <a:lnTo>
                    <a:pt x="128" y="504"/>
                  </a:lnTo>
                  <a:lnTo>
                    <a:pt x="115" y="513"/>
                  </a:lnTo>
                  <a:lnTo>
                    <a:pt x="96" y="518"/>
                  </a:lnTo>
                  <a:lnTo>
                    <a:pt x="87" y="530"/>
                  </a:lnTo>
                  <a:lnTo>
                    <a:pt x="73" y="535"/>
                  </a:lnTo>
                  <a:lnTo>
                    <a:pt x="60" y="541"/>
                  </a:lnTo>
                  <a:lnTo>
                    <a:pt x="51" y="550"/>
                  </a:lnTo>
                  <a:lnTo>
                    <a:pt x="41" y="555"/>
                  </a:lnTo>
                  <a:lnTo>
                    <a:pt x="32" y="561"/>
                  </a:lnTo>
                  <a:lnTo>
                    <a:pt x="23" y="567"/>
                  </a:lnTo>
                  <a:lnTo>
                    <a:pt x="14" y="575"/>
                  </a:lnTo>
                  <a:lnTo>
                    <a:pt x="5" y="581"/>
                  </a:lnTo>
                  <a:lnTo>
                    <a:pt x="0" y="584"/>
                  </a:lnTo>
                  <a:lnTo>
                    <a:pt x="0" y="587"/>
                  </a:lnTo>
                  <a:lnTo>
                    <a:pt x="0" y="584"/>
                  </a:lnTo>
                  <a:lnTo>
                    <a:pt x="14" y="581"/>
                  </a:lnTo>
                  <a:lnTo>
                    <a:pt x="23" y="575"/>
                  </a:lnTo>
                  <a:lnTo>
                    <a:pt x="41" y="564"/>
                  </a:lnTo>
                  <a:lnTo>
                    <a:pt x="51" y="555"/>
                  </a:lnTo>
                  <a:lnTo>
                    <a:pt x="64" y="550"/>
                  </a:lnTo>
                  <a:lnTo>
                    <a:pt x="73" y="541"/>
                  </a:lnTo>
                  <a:lnTo>
                    <a:pt x="92" y="535"/>
                  </a:lnTo>
                  <a:lnTo>
                    <a:pt x="105" y="524"/>
                  </a:lnTo>
                  <a:lnTo>
                    <a:pt x="119" y="518"/>
                  </a:lnTo>
                  <a:lnTo>
                    <a:pt x="137" y="507"/>
                  </a:lnTo>
                  <a:lnTo>
                    <a:pt x="156" y="498"/>
                  </a:lnTo>
                  <a:lnTo>
                    <a:pt x="174" y="490"/>
                  </a:lnTo>
                  <a:lnTo>
                    <a:pt x="192" y="481"/>
                  </a:lnTo>
                  <a:lnTo>
                    <a:pt x="211" y="470"/>
                  </a:lnTo>
                  <a:lnTo>
                    <a:pt x="238" y="461"/>
                  </a:lnTo>
                  <a:lnTo>
                    <a:pt x="256" y="450"/>
                  </a:lnTo>
                  <a:lnTo>
                    <a:pt x="275" y="439"/>
                  </a:lnTo>
                  <a:lnTo>
                    <a:pt x="302" y="427"/>
                  </a:lnTo>
                  <a:lnTo>
                    <a:pt x="325" y="416"/>
                  </a:lnTo>
                  <a:lnTo>
                    <a:pt x="343" y="404"/>
                  </a:lnTo>
                  <a:lnTo>
                    <a:pt x="371" y="393"/>
                  </a:lnTo>
                  <a:lnTo>
                    <a:pt x="393" y="382"/>
                  </a:lnTo>
                  <a:lnTo>
                    <a:pt x="421" y="370"/>
                  </a:lnTo>
                  <a:lnTo>
                    <a:pt x="448" y="356"/>
                  </a:lnTo>
                  <a:lnTo>
                    <a:pt x="476" y="347"/>
                  </a:lnTo>
                  <a:lnTo>
                    <a:pt x="494" y="333"/>
                  </a:lnTo>
                  <a:lnTo>
                    <a:pt x="526" y="322"/>
                  </a:lnTo>
                  <a:lnTo>
                    <a:pt x="549" y="310"/>
                  </a:lnTo>
                  <a:lnTo>
                    <a:pt x="576" y="299"/>
                  </a:lnTo>
                  <a:lnTo>
                    <a:pt x="604" y="285"/>
                  </a:lnTo>
                  <a:lnTo>
                    <a:pt x="631" y="273"/>
                  </a:lnTo>
                  <a:lnTo>
                    <a:pt x="654" y="262"/>
                  </a:lnTo>
                  <a:lnTo>
                    <a:pt x="681" y="251"/>
                  </a:lnTo>
                  <a:lnTo>
                    <a:pt x="709" y="236"/>
                  </a:lnTo>
                  <a:lnTo>
                    <a:pt x="741" y="228"/>
                  </a:lnTo>
                  <a:lnTo>
                    <a:pt x="759" y="214"/>
                  </a:lnTo>
                  <a:lnTo>
                    <a:pt x="786" y="202"/>
                  </a:lnTo>
                  <a:lnTo>
                    <a:pt x="814" y="188"/>
                  </a:lnTo>
                  <a:lnTo>
                    <a:pt x="841" y="179"/>
                  </a:lnTo>
                  <a:lnTo>
                    <a:pt x="864" y="165"/>
                  </a:lnTo>
                  <a:lnTo>
                    <a:pt x="892" y="154"/>
                  </a:lnTo>
                  <a:lnTo>
                    <a:pt x="910" y="142"/>
                  </a:lnTo>
                  <a:lnTo>
                    <a:pt x="937" y="134"/>
                  </a:lnTo>
                  <a:lnTo>
                    <a:pt x="960" y="123"/>
                  </a:lnTo>
                  <a:lnTo>
                    <a:pt x="983" y="111"/>
                  </a:lnTo>
                  <a:lnTo>
                    <a:pt x="1006" y="103"/>
                  </a:lnTo>
                  <a:lnTo>
                    <a:pt x="1029" y="91"/>
                  </a:lnTo>
                  <a:lnTo>
                    <a:pt x="1051" y="83"/>
                  </a:lnTo>
                  <a:lnTo>
                    <a:pt x="1070" y="74"/>
                  </a:lnTo>
                  <a:lnTo>
                    <a:pt x="1088" y="66"/>
                  </a:lnTo>
                  <a:lnTo>
                    <a:pt x="1111" y="57"/>
                  </a:lnTo>
                  <a:lnTo>
                    <a:pt x="1129" y="48"/>
                  </a:lnTo>
                  <a:lnTo>
                    <a:pt x="1143" y="40"/>
                  </a:lnTo>
                  <a:lnTo>
                    <a:pt x="1157" y="34"/>
                  </a:lnTo>
                  <a:lnTo>
                    <a:pt x="1175" y="26"/>
                  </a:lnTo>
                  <a:lnTo>
                    <a:pt x="1189" y="20"/>
                  </a:lnTo>
                  <a:lnTo>
                    <a:pt x="1202" y="14"/>
                  </a:lnTo>
                  <a:lnTo>
                    <a:pt x="1216" y="9"/>
                  </a:lnTo>
                  <a:lnTo>
                    <a:pt x="1230" y="3"/>
                  </a:lnTo>
                  <a:lnTo>
                    <a:pt x="1239" y="0"/>
                  </a:lnTo>
                  <a:lnTo>
                    <a:pt x="1129" y="1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44" name="Freeform 155"/>
            <p:cNvSpPr>
              <a:spLocks/>
            </p:cNvSpPr>
            <p:nvPr>
              <p:custDataLst>
                <p:tags r:id="rId143"/>
              </p:custDataLst>
            </p:nvPr>
          </p:nvSpPr>
          <p:spPr bwMode="gray">
            <a:xfrm>
              <a:off x="1799" y="813"/>
              <a:ext cx="740" cy="393"/>
            </a:xfrm>
            <a:custGeom>
              <a:avLst/>
              <a:gdLst>
                <a:gd name="T0" fmla="*/ 1112 w 722"/>
                <a:gd name="T1" fmla="*/ 5 h 430"/>
                <a:gd name="T2" fmla="*/ 1034 w 722"/>
                <a:gd name="T3" fmla="*/ 5 h 430"/>
                <a:gd name="T4" fmla="*/ 962 w 722"/>
                <a:gd name="T5" fmla="*/ 7 h 430"/>
                <a:gd name="T6" fmla="*/ 894 w 722"/>
                <a:gd name="T7" fmla="*/ 10 h 430"/>
                <a:gd name="T8" fmla="*/ 831 w 722"/>
                <a:gd name="T9" fmla="*/ 12 h 430"/>
                <a:gd name="T10" fmla="*/ 764 w 722"/>
                <a:gd name="T11" fmla="*/ 14 h 430"/>
                <a:gd name="T12" fmla="*/ 700 w 722"/>
                <a:gd name="T13" fmla="*/ 15 h 430"/>
                <a:gd name="T14" fmla="*/ 643 w 722"/>
                <a:gd name="T15" fmla="*/ 16 h 430"/>
                <a:gd name="T16" fmla="*/ 582 w 722"/>
                <a:gd name="T17" fmla="*/ 19 h 430"/>
                <a:gd name="T18" fmla="*/ 520 w 722"/>
                <a:gd name="T19" fmla="*/ 21 h 430"/>
                <a:gd name="T20" fmla="*/ 459 w 722"/>
                <a:gd name="T21" fmla="*/ 23 h 430"/>
                <a:gd name="T22" fmla="*/ 416 w 722"/>
                <a:gd name="T23" fmla="*/ 24 h 430"/>
                <a:gd name="T24" fmla="*/ 364 w 722"/>
                <a:gd name="T25" fmla="*/ 26 h 430"/>
                <a:gd name="T26" fmla="*/ 321 w 722"/>
                <a:gd name="T27" fmla="*/ 28 h 430"/>
                <a:gd name="T28" fmla="*/ 271 w 722"/>
                <a:gd name="T29" fmla="*/ 29 h 430"/>
                <a:gd name="T30" fmla="*/ 223 w 722"/>
                <a:gd name="T31" fmla="*/ 31 h 430"/>
                <a:gd name="T32" fmla="*/ 191 w 722"/>
                <a:gd name="T33" fmla="*/ 33 h 430"/>
                <a:gd name="T34" fmla="*/ 153 w 722"/>
                <a:gd name="T35" fmla="*/ 34 h 430"/>
                <a:gd name="T36" fmla="*/ 123 w 722"/>
                <a:gd name="T37" fmla="*/ 34 h 430"/>
                <a:gd name="T38" fmla="*/ 91 w 722"/>
                <a:gd name="T39" fmla="*/ 37 h 430"/>
                <a:gd name="T40" fmla="*/ 58 w 722"/>
                <a:gd name="T41" fmla="*/ 37 h 430"/>
                <a:gd name="T42" fmla="*/ 14 w 722"/>
                <a:gd name="T43" fmla="*/ 40 h 430"/>
                <a:gd name="T44" fmla="*/ 0 w 722"/>
                <a:gd name="T45" fmla="*/ 40 h 430"/>
                <a:gd name="T46" fmla="*/ 4 w 722"/>
                <a:gd name="T47" fmla="*/ 41 h 430"/>
                <a:gd name="T48" fmla="*/ 18 w 722"/>
                <a:gd name="T49" fmla="*/ 40 h 430"/>
                <a:gd name="T50" fmla="*/ 83 w 722"/>
                <a:gd name="T51" fmla="*/ 39 h 430"/>
                <a:gd name="T52" fmla="*/ 137 w 722"/>
                <a:gd name="T53" fmla="*/ 37 h 430"/>
                <a:gd name="T54" fmla="*/ 171 w 722"/>
                <a:gd name="T55" fmla="*/ 37 h 430"/>
                <a:gd name="T56" fmla="*/ 223 w 722"/>
                <a:gd name="T57" fmla="*/ 36 h 430"/>
                <a:gd name="T58" fmla="*/ 259 w 722"/>
                <a:gd name="T59" fmla="*/ 34 h 430"/>
                <a:gd name="T60" fmla="*/ 301 w 722"/>
                <a:gd name="T61" fmla="*/ 33 h 430"/>
                <a:gd name="T62" fmla="*/ 355 w 722"/>
                <a:gd name="T63" fmla="*/ 31 h 430"/>
                <a:gd name="T64" fmla="*/ 416 w 722"/>
                <a:gd name="T65" fmla="*/ 28 h 430"/>
                <a:gd name="T66" fmla="*/ 459 w 722"/>
                <a:gd name="T67" fmla="*/ 28 h 430"/>
                <a:gd name="T68" fmla="*/ 520 w 722"/>
                <a:gd name="T69" fmla="*/ 26 h 430"/>
                <a:gd name="T70" fmla="*/ 582 w 722"/>
                <a:gd name="T71" fmla="*/ 24 h 430"/>
                <a:gd name="T72" fmla="*/ 643 w 722"/>
                <a:gd name="T73" fmla="*/ 22 h 430"/>
                <a:gd name="T74" fmla="*/ 696 w 722"/>
                <a:gd name="T75" fmla="*/ 20 h 430"/>
                <a:gd name="T76" fmla="*/ 753 w 722"/>
                <a:gd name="T77" fmla="*/ 18 h 430"/>
                <a:gd name="T78" fmla="*/ 816 w 722"/>
                <a:gd name="T79" fmla="*/ 16 h 430"/>
                <a:gd name="T80" fmla="*/ 876 w 722"/>
                <a:gd name="T81" fmla="*/ 15 h 430"/>
                <a:gd name="T82" fmla="*/ 924 w 722"/>
                <a:gd name="T83" fmla="*/ 14 h 430"/>
                <a:gd name="T84" fmla="*/ 981 w 722"/>
                <a:gd name="T85" fmla="*/ 12 h 430"/>
                <a:gd name="T86" fmla="*/ 1038 w 722"/>
                <a:gd name="T87" fmla="*/ 10 h 430"/>
                <a:gd name="T88" fmla="*/ 1091 w 722"/>
                <a:gd name="T89" fmla="*/ 8 h 430"/>
                <a:gd name="T90" fmla="*/ 1143 w 722"/>
                <a:gd name="T91" fmla="*/ 6 h 430"/>
                <a:gd name="T92" fmla="*/ 1187 w 722"/>
                <a:gd name="T93" fmla="*/ 5 h 430"/>
                <a:gd name="T94" fmla="*/ 1238 w 722"/>
                <a:gd name="T95" fmla="*/ 5 h 430"/>
                <a:gd name="T96" fmla="*/ 1284 w 722"/>
                <a:gd name="T97" fmla="*/ 5 h 430"/>
                <a:gd name="T98" fmla="*/ 1319 w 722"/>
                <a:gd name="T99" fmla="*/ 5 h 430"/>
                <a:gd name="T100" fmla="*/ 1367 w 722"/>
                <a:gd name="T101" fmla="*/ 0 h 430"/>
                <a:gd name="T102" fmla="*/ 1143 w 722"/>
                <a:gd name="T103" fmla="*/ 5 h 43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2"/>
                <a:gd name="T157" fmla="*/ 0 h 430"/>
                <a:gd name="T158" fmla="*/ 722 w 722"/>
                <a:gd name="T159" fmla="*/ 430 h 43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2" h="430">
                  <a:moveTo>
                    <a:pt x="603" y="29"/>
                  </a:moveTo>
                  <a:lnTo>
                    <a:pt x="585" y="37"/>
                  </a:lnTo>
                  <a:lnTo>
                    <a:pt x="567" y="46"/>
                  </a:lnTo>
                  <a:lnTo>
                    <a:pt x="544" y="57"/>
                  </a:lnTo>
                  <a:lnTo>
                    <a:pt x="525" y="66"/>
                  </a:lnTo>
                  <a:lnTo>
                    <a:pt x="507" y="77"/>
                  </a:lnTo>
                  <a:lnTo>
                    <a:pt x="489" y="89"/>
                  </a:lnTo>
                  <a:lnTo>
                    <a:pt x="471" y="97"/>
                  </a:lnTo>
                  <a:lnTo>
                    <a:pt x="457" y="109"/>
                  </a:lnTo>
                  <a:lnTo>
                    <a:pt x="439" y="117"/>
                  </a:lnTo>
                  <a:lnTo>
                    <a:pt x="420" y="129"/>
                  </a:lnTo>
                  <a:lnTo>
                    <a:pt x="402" y="137"/>
                  </a:lnTo>
                  <a:lnTo>
                    <a:pt x="388" y="148"/>
                  </a:lnTo>
                  <a:lnTo>
                    <a:pt x="370" y="157"/>
                  </a:lnTo>
                  <a:lnTo>
                    <a:pt x="352" y="168"/>
                  </a:lnTo>
                  <a:lnTo>
                    <a:pt x="338" y="177"/>
                  </a:lnTo>
                  <a:lnTo>
                    <a:pt x="320" y="188"/>
                  </a:lnTo>
                  <a:lnTo>
                    <a:pt x="306" y="197"/>
                  </a:lnTo>
                  <a:lnTo>
                    <a:pt x="288" y="205"/>
                  </a:lnTo>
                  <a:lnTo>
                    <a:pt x="274" y="217"/>
                  </a:lnTo>
                  <a:lnTo>
                    <a:pt x="260" y="225"/>
                  </a:lnTo>
                  <a:lnTo>
                    <a:pt x="242" y="234"/>
                  </a:lnTo>
                  <a:lnTo>
                    <a:pt x="233" y="242"/>
                  </a:lnTo>
                  <a:lnTo>
                    <a:pt x="219" y="254"/>
                  </a:lnTo>
                  <a:lnTo>
                    <a:pt x="206" y="262"/>
                  </a:lnTo>
                  <a:lnTo>
                    <a:pt x="192" y="271"/>
                  </a:lnTo>
                  <a:lnTo>
                    <a:pt x="178" y="279"/>
                  </a:lnTo>
                  <a:lnTo>
                    <a:pt x="169" y="288"/>
                  </a:lnTo>
                  <a:lnTo>
                    <a:pt x="155" y="297"/>
                  </a:lnTo>
                  <a:lnTo>
                    <a:pt x="142" y="305"/>
                  </a:lnTo>
                  <a:lnTo>
                    <a:pt x="132" y="314"/>
                  </a:lnTo>
                  <a:lnTo>
                    <a:pt x="119" y="322"/>
                  </a:lnTo>
                  <a:lnTo>
                    <a:pt x="114" y="331"/>
                  </a:lnTo>
                  <a:lnTo>
                    <a:pt x="100" y="336"/>
                  </a:lnTo>
                  <a:lnTo>
                    <a:pt x="91" y="345"/>
                  </a:lnTo>
                  <a:lnTo>
                    <a:pt x="82" y="351"/>
                  </a:lnTo>
                  <a:lnTo>
                    <a:pt x="73" y="356"/>
                  </a:lnTo>
                  <a:lnTo>
                    <a:pt x="64" y="362"/>
                  </a:lnTo>
                  <a:lnTo>
                    <a:pt x="55" y="368"/>
                  </a:lnTo>
                  <a:lnTo>
                    <a:pt x="50" y="376"/>
                  </a:lnTo>
                  <a:lnTo>
                    <a:pt x="46" y="382"/>
                  </a:lnTo>
                  <a:lnTo>
                    <a:pt x="32" y="391"/>
                  </a:lnTo>
                  <a:lnTo>
                    <a:pt x="18" y="402"/>
                  </a:lnTo>
                  <a:lnTo>
                    <a:pt x="14" y="408"/>
                  </a:lnTo>
                  <a:lnTo>
                    <a:pt x="4" y="416"/>
                  </a:lnTo>
                  <a:lnTo>
                    <a:pt x="0" y="425"/>
                  </a:lnTo>
                  <a:lnTo>
                    <a:pt x="0" y="430"/>
                  </a:lnTo>
                  <a:lnTo>
                    <a:pt x="4" y="428"/>
                  </a:lnTo>
                  <a:lnTo>
                    <a:pt x="14" y="425"/>
                  </a:lnTo>
                  <a:lnTo>
                    <a:pt x="18" y="419"/>
                  </a:lnTo>
                  <a:lnTo>
                    <a:pt x="36" y="413"/>
                  </a:lnTo>
                  <a:lnTo>
                    <a:pt x="46" y="405"/>
                  </a:lnTo>
                  <a:lnTo>
                    <a:pt x="64" y="396"/>
                  </a:lnTo>
                  <a:lnTo>
                    <a:pt x="73" y="391"/>
                  </a:lnTo>
                  <a:lnTo>
                    <a:pt x="82" y="385"/>
                  </a:lnTo>
                  <a:lnTo>
                    <a:pt x="91" y="379"/>
                  </a:lnTo>
                  <a:lnTo>
                    <a:pt x="105" y="373"/>
                  </a:lnTo>
                  <a:lnTo>
                    <a:pt x="119" y="368"/>
                  </a:lnTo>
                  <a:lnTo>
                    <a:pt x="128" y="356"/>
                  </a:lnTo>
                  <a:lnTo>
                    <a:pt x="137" y="353"/>
                  </a:lnTo>
                  <a:lnTo>
                    <a:pt x="151" y="345"/>
                  </a:lnTo>
                  <a:lnTo>
                    <a:pt x="160" y="336"/>
                  </a:lnTo>
                  <a:lnTo>
                    <a:pt x="174" y="328"/>
                  </a:lnTo>
                  <a:lnTo>
                    <a:pt x="187" y="319"/>
                  </a:lnTo>
                  <a:lnTo>
                    <a:pt x="206" y="314"/>
                  </a:lnTo>
                  <a:lnTo>
                    <a:pt x="219" y="302"/>
                  </a:lnTo>
                  <a:lnTo>
                    <a:pt x="233" y="297"/>
                  </a:lnTo>
                  <a:lnTo>
                    <a:pt x="242" y="285"/>
                  </a:lnTo>
                  <a:lnTo>
                    <a:pt x="260" y="277"/>
                  </a:lnTo>
                  <a:lnTo>
                    <a:pt x="274" y="268"/>
                  </a:lnTo>
                  <a:lnTo>
                    <a:pt x="292" y="260"/>
                  </a:lnTo>
                  <a:lnTo>
                    <a:pt x="306" y="248"/>
                  </a:lnTo>
                  <a:lnTo>
                    <a:pt x="320" y="240"/>
                  </a:lnTo>
                  <a:lnTo>
                    <a:pt x="338" y="228"/>
                  </a:lnTo>
                  <a:lnTo>
                    <a:pt x="352" y="220"/>
                  </a:lnTo>
                  <a:lnTo>
                    <a:pt x="366" y="211"/>
                  </a:lnTo>
                  <a:lnTo>
                    <a:pt x="384" y="205"/>
                  </a:lnTo>
                  <a:lnTo>
                    <a:pt x="398" y="194"/>
                  </a:lnTo>
                  <a:lnTo>
                    <a:pt x="416" y="185"/>
                  </a:lnTo>
                  <a:lnTo>
                    <a:pt x="430" y="174"/>
                  </a:lnTo>
                  <a:lnTo>
                    <a:pt x="448" y="166"/>
                  </a:lnTo>
                  <a:lnTo>
                    <a:pt x="462" y="154"/>
                  </a:lnTo>
                  <a:lnTo>
                    <a:pt x="480" y="146"/>
                  </a:lnTo>
                  <a:lnTo>
                    <a:pt x="489" y="137"/>
                  </a:lnTo>
                  <a:lnTo>
                    <a:pt x="507" y="129"/>
                  </a:lnTo>
                  <a:lnTo>
                    <a:pt x="516" y="117"/>
                  </a:lnTo>
                  <a:lnTo>
                    <a:pt x="535" y="109"/>
                  </a:lnTo>
                  <a:lnTo>
                    <a:pt x="548" y="100"/>
                  </a:lnTo>
                  <a:lnTo>
                    <a:pt x="567" y="94"/>
                  </a:lnTo>
                  <a:lnTo>
                    <a:pt x="576" y="83"/>
                  </a:lnTo>
                  <a:lnTo>
                    <a:pt x="589" y="77"/>
                  </a:lnTo>
                  <a:lnTo>
                    <a:pt x="603" y="69"/>
                  </a:lnTo>
                  <a:lnTo>
                    <a:pt x="617" y="60"/>
                  </a:lnTo>
                  <a:lnTo>
                    <a:pt x="626" y="54"/>
                  </a:lnTo>
                  <a:lnTo>
                    <a:pt x="640" y="46"/>
                  </a:lnTo>
                  <a:lnTo>
                    <a:pt x="653" y="40"/>
                  </a:lnTo>
                  <a:lnTo>
                    <a:pt x="663" y="35"/>
                  </a:lnTo>
                  <a:lnTo>
                    <a:pt x="676" y="26"/>
                  </a:lnTo>
                  <a:lnTo>
                    <a:pt x="685" y="20"/>
                  </a:lnTo>
                  <a:lnTo>
                    <a:pt x="695" y="12"/>
                  </a:lnTo>
                  <a:lnTo>
                    <a:pt x="704" y="9"/>
                  </a:lnTo>
                  <a:lnTo>
                    <a:pt x="722" y="0"/>
                  </a:lnTo>
                  <a:lnTo>
                    <a:pt x="603" y="2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45" name="Freeform 156"/>
            <p:cNvSpPr>
              <a:spLocks/>
            </p:cNvSpPr>
            <p:nvPr>
              <p:custDataLst>
                <p:tags r:id="rId144"/>
              </p:custDataLst>
            </p:nvPr>
          </p:nvSpPr>
          <p:spPr bwMode="gray">
            <a:xfrm>
              <a:off x="2900" y="679"/>
              <a:ext cx="1128" cy="487"/>
            </a:xfrm>
            <a:custGeom>
              <a:avLst/>
              <a:gdLst>
                <a:gd name="T0" fmla="*/ 317 w 1101"/>
                <a:gd name="T1" fmla="*/ 5 h 533"/>
                <a:gd name="T2" fmla="*/ 446 w 1101"/>
                <a:gd name="T3" fmla="*/ 8 h 533"/>
                <a:gd name="T4" fmla="*/ 584 w 1101"/>
                <a:gd name="T5" fmla="*/ 11 h 533"/>
                <a:gd name="T6" fmla="*/ 711 w 1101"/>
                <a:gd name="T7" fmla="*/ 14 h 533"/>
                <a:gd name="T8" fmla="*/ 848 w 1101"/>
                <a:gd name="T9" fmla="*/ 16 h 533"/>
                <a:gd name="T10" fmla="*/ 986 w 1101"/>
                <a:gd name="T11" fmla="*/ 20 h 533"/>
                <a:gd name="T12" fmla="*/ 1115 w 1101"/>
                <a:gd name="T13" fmla="*/ 24 h 533"/>
                <a:gd name="T14" fmla="*/ 1238 w 1101"/>
                <a:gd name="T15" fmla="*/ 26 h 533"/>
                <a:gd name="T16" fmla="*/ 1345 w 1101"/>
                <a:gd name="T17" fmla="*/ 30 h 533"/>
                <a:gd name="T18" fmla="*/ 1467 w 1101"/>
                <a:gd name="T19" fmla="*/ 34 h 533"/>
                <a:gd name="T20" fmla="*/ 1579 w 1101"/>
                <a:gd name="T21" fmla="*/ 37 h 533"/>
                <a:gd name="T22" fmla="*/ 1672 w 1101"/>
                <a:gd name="T23" fmla="*/ 38 h 533"/>
                <a:gd name="T24" fmla="*/ 1760 w 1101"/>
                <a:gd name="T25" fmla="*/ 40 h 533"/>
                <a:gd name="T26" fmla="*/ 1844 w 1101"/>
                <a:gd name="T27" fmla="*/ 44 h 533"/>
                <a:gd name="T28" fmla="*/ 1923 w 1101"/>
                <a:gd name="T29" fmla="*/ 45 h 533"/>
                <a:gd name="T30" fmla="*/ 1973 w 1101"/>
                <a:gd name="T31" fmla="*/ 48 h 533"/>
                <a:gd name="T32" fmla="*/ 2041 w 1101"/>
                <a:gd name="T33" fmla="*/ 48 h 533"/>
                <a:gd name="T34" fmla="*/ 2067 w 1101"/>
                <a:gd name="T35" fmla="*/ 51 h 533"/>
                <a:gd name="T36" fmla="*/ 2023 w 1101"/>
                <a:gd name="T37" fmla="*/ 49 h 533"/>
                <a:gd name="T38" fmla="*/ 1982 w 1101"/>
                <a:gd name="T39" fmla="*/ 48 h 533"/>
                <a:gd name="T40" fmla="*/ 1917 w 1101"/>
                <a:gd name="T41" fmla="*/ 48 h 533"/>
                <a:gd name="T42" fmla="*/ 1828 w 1101"/>
                <a:gd name="T43" fmla="*/ 44 h 533"/>
                <a:gd name="T44" fmla="*/ 1743 w 1101"/>
                <a:gd name="T45" fmla="*/ 44 h 533"/>
                <a:gd name="T46" fmla="*/ 1638 w 1101"/>
                <a:gd name="T47" fmla="*/ 40 h 533"/>
                <a:gd name="T48" fmla="*/ 1526 w 1101"/>
                <a:gd name="T49" fmla="*/ 37 h 533"/>
                <a:gd name="T50" fmla="*/ 1406 w 1101"/>
                <a:gd name="T51" fmla="*/ 34 h 533"/>
                <a:gd name="T52" fmla="*/ 1278 w 1101"/>
                <a:gd name="T53" fmla="*/ 31 h 533"/>
                <a:gd name="T54" fmla="*/ 1140 w 1101"/>
                <a:gd name="T55" fmla="*/ 28 h 533"/>
                <a:gd name="T56" fmla="*/ 1012 w 1101"/>
                <a:gd name="T57" fmla="*/ 26 h 533"/>
                <a:gd name="T58" fmla="*/ 875 w 1101"/>
                <a:gd name="T59" fmla="*/ 23 h 533"/>
                <a:gd name="T60" fmla="*/ 756 w 1101"/>
                <a:gd name="T61" fmla="*/ 20 h 533"/>
                <a:gd name="T62" fmla="*/ 626 w 1101"/>
                <a:gd name="T63" fmla="*/ 16 h 533"/>
                <a:gd name="T64" fmla="*/ 507 w 1101"/>
                <a:gd name="T65" fmla="*/ 14 h 533"/>
                <a:gd name="T66" fmla="*/ 394 w 1101"/>
                <a:gd name="T67" fmla="*/ 11 h 533"/>
                <a:gd name="T68" fmla="*/ 290 w 1101"/>
                <a:gd name="T69" fmla="*/ 9 h 533"/>
                <a:gd name="T70" fmla="*/ 199 w 1101"/>
                <a:gd name="T71" fmla="*/ 5 h 533"/>
                <a:gd name="T72" fmla="*/ 129 w 1101"/>
                <a:gd name="T73" fmla="*/ 5 h 533"/>
                <a:gd name="T74" fmla="*/ 58 w 1101"/>
                <a:gd name="T75" fmla="*/ 5 h 533"/>
                <a:gd name="T76" fmla="*/ 9 w 1101"/>
                <a:gd name="T77" fmla="*/ 5 h 533"/>
                <a:gd name="T78" fmla="*/ 0 w 1101"/>
                <a:gd name="T79" fmla="*/ 0 h 533"/>
                <a:gd name="T80" fmla="*/ 53 w 1101"/>
                <a:gd name="T81" fmla="*/ 3 h 533"/>
                <a:gd name="T82" fmla="*/ 129 w 1101"/>
                <a:gd name="T83" fmla="*/ 5 h 533"/>
                <a:gd name="T84" fmla="*/ 189 w 1101"/>
                <a:gd name="T85" fmla="*/ 5 h 533"/>
                <a:gd name="T86" fmla="*/ 229 w 1101"/>
                <a:gd name="T87" fmla="*/ 5 h 53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01"/>
                <a:gd name="T133" fmla="*/ 0 h 533"/>
                <a:gd name="T134" fmla="*/ 1101 w 1101"/>
                <a:gd name="T135" fmla="*/ 533 h 53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01" h="533">
                  <a:moveTo>
                    <a:pt x="128" y="37"/>
                  </a:moveTo>
                  <a:lnTo>
                    <a:pt x="151" y="46"/>
                  </a:lnTo>
                  <a:lnTo>
                    <a:pt x="169" y="54"/>
                  </a:lnTo>
                  <a:lnTo>
                    <a:pt x="192" y="63"/>
                  </a:lnTo>
                  <a:lnTo>
                    <a:pt x="215" y="74"/>
                  </a:lnTo>
                  <a:lnTo>
                    <a:pt x="238" y="83"/>
                  </a:lnTo>
                  <a:lnTo>
                    <a:pt x="265" y="91"/>
                  </a:lnTo>
                  <a:lnTo>
                    <a:pt x="283" y="103"/>
                  </a:lnTo>
                  <a:lnTo>
                    <a:pt x="311" y="114"/>
                  </a:lnTo>
                  <a:lnTo>
                    <a:pt x="334" y="126"/>
                  </a:lnTo>
                  <a:lnTo>
                    <a:pt x="352" y="137"/>
                  </a:lnTo>
                  <a:lnTo>
                    <a:pt x="379" y="146"/>
                  </a:lnTo>
                  <a:lnTo>
                    <a:pt x="407" y="157"/>
                  </a:lnTo>
                  <a:lnTo>
                    <a:pt x="425" y="165"/>
                  </a:lnTo>
                  <a:lnTo>
                    <a:pt x="452" y="180"/>
                  </a:lnTo>
                  <a:lnTo>
                    <a:pt x="475" y="191"/>
                  </a:lnTo>
                  <a:lnTo>
                    <a:pt x="503" y="202"/>
                  </a:lnTo>
                  <a:lnTo>
                    <a:pt x="525" y="214"/>
                  </a:lnTo>
                  <a:lnTo>
                    <a:pt x="548" y="222"/>
                  </a:lnTo>
                  <a:lnTo>
                    <a:pt x="571" y="237"/>
                  </a:lnTo>
                  <a:lnTo>
                    <a:pt x="594" y="245"/>
                  </a:lnTo>
                  <a:lnTo>
                    <a:pt x="612" y="257"/>
                  </a:lnTo>
                  <a:lnTo>
                    <a:pt x="635" y="268"/>
                  </a:lnTo>
                  <a:lnTo>
                    <a:pt x="658" y="279"/>
                  </a:lnTo>
                  <a:lnTo>
                    <a:pt x="681" y="291"/>
                  </a:lnTo>
                  <a:lnTo>
                    <a:pt x="699" y="299"/>
                  </a:lnTo>
                  <a:lnTo>
                    <a:pt x="717" y="311"/>
                  </a:lnTo>
                  <a:lnTo>
                    <a:pt x="740" y="322"/>
                  </a:lnTo>
                  <a:lnTo>
                    <a:pt x="763" y="333"/>
                  </a:lnTo>
                  <a:lnTo>
                    <a:pt x="781" y="345"/>
                  </a:lnTo>
                  <a:lnTo>
                    <a:pt x="800" y="353"/>
                  </a:lnTo>
                  <a:lnTo>
                    <a:pt x="823" y="365"/>
                  </a:lnTo>
                  <a:lnTo>
                    <a:pt x="841" y="376"/>
                  </a:lnTo>
                  <a:lnTo>
                    <a:pt x="859" y="385"/>
                  </a:lnTo>
                  <a:lnTo>
                    <a:pt x="877" y="393"/>
                  </a:lnTo>
                  <a:lnTo>
                    <a:pt x="891" y="405"/>
                  </a:lnTo>
                  <a:lnTo>
                    <a:pt x="909" y="413"/>
                  </a:lnTo>
                  <a:lnTo>
                    <a:pt x="923" y="422"/>
                  </a:lnTo>
                  <a:lnTo>
                    <a:pt x="937" y="430"/>
                  </a:lnTo>
                  <a:lnTo>
                    <a:pt x="955" y="439"/>
                  </a:lnTo>
                  <a:lnTo>
                    <a:pt x="969" y="450"/>
                  </a:lnTo>
                  <a:lnTo>
                    <a:pt x="982" y="456"/>
                  </a:lnTo>
                  <a:lnTo>
                    <a:pt x="996" y="464"/>
                  </a:lnTo>
                  <a:lnTo>
                    <a:pt x="1010" y="473"/>
                  </a:lnTo>
                  <a:lnTo>
                    <a:pt x="1024" y="479"/>
                  </a:lnTo>
                  <a:lnTo>
                    <a:pt x="1028" y="484"/>
                  </a:lnTo>
                  <a:lnTo>
                    <a:pt x="1042" y="493"/>
                  </a:lnTo>
                  <a:lnTo>
                    <a:pt x="1051" y="499"/>
                  </a:lnTo>
                  <a:lnTo>
                    <a:pt x="1060" y="504"/>
                  </a:lnTo>
                  <a:lnTo>
                    <a:pt x="1078" y="516"/>
                  </a:lnTo>
                  <a:lnTo>
                    <a:pt x="1088" y="521"/>
                  </a:lnTo>
                  <a:lnTo>
                    <a:pt x="1097" y="527"/>
                  </a:lnTo>
                  <a:lnTo>
                    <a:pt x="1101" y="530"/>
                  </a:lnTo>
                  <a:lnTo>
                    <a:pt x="1101" y="533"/>
                  </a:lnTo>
                  <a:lnTo>
                    <a:pt x="1097" y="533"/>
                  </a:lnTo>
                  <a:lnTo>
                    <a:pt x="1092" y="527"/>
                  </a:lnTo>
                  <a:lnTo>
                    <a:pt x="1078" y="524"/>
                  </a:lnTo>
                  <a:lnTo>
                    <a:pt x="1074" y="521"/>
                  </a:lnTo>
                  <a:lnTo>
                    <a:pt x="1065" y="516"/>
                  </a:lnTo>
                  <a:lnTo>
                    <a:pt x="1056" y="510"/>
                  </a:lnTo>
                  <a:lnTo>
                    <a:pt x="1042" y="504"/>
                  </a:lnTo>
                  <a:lnTo>
                    <a:pt x="1033" y="501"/>
                  </a:lnTo>
                  <a:lnTo>
                    <a:pt x="1019" y="493"/>
                  </a:lnTo>
                  <a:lnTo>
                    <a:pt x="1005" y="487"/>
                  </a:lnTo>
                  <a:lnTo>
                    <a:pt x="992" y="482"/>
                  </a:lnTo>
                  <a:lnTo>
                    <a:pt x="973" y="473"/>
                  </a:lnTo>
                  <a:lnTo>
                    <a:pt x="960" y="467"/>
                  </a:lnTo>
                  <a:lnTo>
                    <a:pt x="941" y="459"/>
                  </a:lnTo>
                  <a:lnTo>
                    <a:pt x="928" y="450"/>
                  </a:lnTo>
                  <a:lnTo>
                    <a:pt x="909" y="442"/>
                  </a:lnTo>
                  <a:lnTo>
                    <a:pt x="891" y="433"/>
                  </a:lnTo>
                  <a:lnTo>
                    <a:pt x="873" y="425"/>
                  </a:lnTo>
                  <a:lnTo>
                    <a:pt x="855" y="416"/>
                  </a:lnTo>
                  <a:lnTo>
                    <a:pt x="832" y="405"/>
                  </a:lnTo>
                  <a:lnTo>
                    <a:pt x="813" y="393"/>
                  </a:lnTo>
                  <a:lnTo>
                    <a:pt x="791" y="385"/>
                  </a:lnTo>
                  <a:lnTo>
                    <a:pt x="768" y="376"/>
                  </a:lnTo>
                  <a:lnTo>
                    <a:pt x="749" y="365"/>
                  </a:lnTo>
                  <a:lnTo>
                    <a:pt x="722" y="353"/>
                  </a:lnTo>
                  <a:lnTo>
                    <a:pt x="699" y="342"/>
                  </a:lnTo>
                  <a:lnTo>
                    <a:pt x="681" y="333"/>
                  </a:lnTo>
                  <a:lnTo>
                    <a:pt x="658" y="322"/>
                  </a:lnTo>
                  <a:lnTo>
                    <a:pt x="631" y="311"/>
                  </a:lnTo>
                  <a:lnTo>
                    <a:pt x="608" y="299"/>
                  </a:lnTo>
                  <a:lnTo>
                    <a:pt x="589" y="291"/>
                  </a:lnTo>
                  <a:lnTo>
                    <a:pt x="562" y="279"/>
                  </a:lnTo>
                  <a:lnTo>
                    <a:pt x="539" y="268"/>
                  </a:lnTo>
                  <a:lnTo>
                    <a:pt x="516" y="257"/>
                  </a:lnTo>
                  <a:lnTo>
                    <a:pt x="493" y="248"/>
                  </a:lnTo>
                  <a:lnTo>
                    <a:pt x="466" y="237"/>
                  </a:lnTo>
                  <a:lnTo>
                    <a:pt x="443" y="225"/>
                  </a:lnTo>
                  <a:lnTo>
                    <a:pt x="425" y="214"/>
                  </a:lnTo>
                  <a:lnTo>
                    <a:pt x="402" y="202"/>
                  </a:lnTo>
                  <a:lnTo>
                    <a:pt x="375" y="194"/>
                  </a:lnTo>
                  <a:lnTo>
                    <a:pt x="352" y="183"/>
                  </a:lnTo>
                  <a:lnTo>
                    <a:pt x="334" y="171"/>
                  </a:lnTo>
                  <a:lnTo>
                    <a:pt x="315" y="160"/>
                  </a:lnTo>
                  <a:lnTo>
                    <a:pt x="292" y="151"/>
                  </a:lnTo>
                  <a:lnTo>
                    <a:pt x="270" y="140"/>
                  </a:lnTo>
                  <a:lnTo>
                    <a:pt x="247" y="128"/>
                  </a:lnTo>
                  <a:lnTo>
                    <a:pt x="228" y="123"/>
                  </a:lnTo>
                  <a:lnTo>
                    <a:pt x="210" y="111"/>
                  </a:lnTo>
                  <a:lnTo>
                    <a:pt x="187" y="103"/>
                  </a:lnTo>
                  <a:lnTo>
                    <a:pt x="174" y="94"/>
                  </a:lnTo>
                  <a:lnTo>
                    <a:pt x="155" y="89"/>
                  </a:lnTo>
                  <a:lnTo>
                    <a:pt x="142" y="77"/>
                  </a:lnTo>
                  <a:lnTo>
                    <a:pt x="123" y="69"/>
                  </a:lnTo>
                  <a:lnTo>
                    <a:pt x="105" y="63"/>
                  </a:lnTo>
                  <a:lnTo>
                    <a:pt x="96" y="54"/>
                  </a:lnTo>
                  <a:lnTo>
                    <a:pt x="78" y="49"/>
                  </a:lnTo>
                  <a:lnTo>
                    <a:pt x="68" y="43"/>
                  </a:lnTo>
                  <a:lnTo>
                    <a:pt x="59" y="34"/>
                  </a:lnTo>
                  <a:lnTo>
                    <a:pt x="46" y="32"/>
                  </a:lnTo>
                  <a:lnTo>
                    <a:pt x="32" y="23"/>
                  </a:lnTo>
                  <a:lnTo>
                    <a:pt x="27" y="20"/>
                  </a:lnTo>
                  <a:lnTo>
                    <a:pt x="18" y="17"/>
                  </a:lnTo>
                  <a:lnTo>
                    <a:pt x="9" y="12"/>
                  </a:lnTo>
                  <a:lnTo>
                    <a:pt x="4" y="9"/>
                  </a:lnTo>
                  <a:lnTo>
                    <a:pt x="0" y="3"/>
                  </a:lnTo>
                  <a:lnTo>
                    <a:pt x="0" y="0"/>
                  </a:lnTo>
                  <a:lnTo>
                    <a:pt x="9" y="0"/>
                  </a:lnTo>
                  <a:lnTo>
                    <a:pt x="18" y="0"/>
                  </a:lnTo>
                  <a:lnTo>
                    <a:pt x="27" y="3"/>
                  </a:lnTo>
                  <a:lnTo>
                    <a:pt x="46" y="6"/>
                  </a:lnTo>
                  <a:lnTo>
                    <a:pt x="59" y="12"/>
                  </a:lnTo>
                  <a:lnTo>
                    <a:pt x="68" y="15"/>
                  </a:lnTo>
                  <a:lnTo>
                    <a:pt x="78" y="20"/>
                  </a:lnTo>
                  <a:lnTo>
                    <a:pt x="91" y="23"/>
                  </a:lnTo>
                  <a:lnTo>
                    <a:pt x="100" y="29"/>
                  </a:lnTo>
                  <a:lnTo>
                    <a:pt x="114" y="32"/>
                  </a:lnTo>
                  <a:lnTo>
                    <a:pt x="119" y="34"/>
                  </a:lnTo>
                  <a:lnTo>
                    <a:pt x="123" y="37"/>
                  </a:lnTo>
                  <a:lnTo>
                    <a:pt x="128" y="37"/>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46" name="Freeform 157"/>
            <p:cNvSpPr>
              <a:spLocks/>
            </p:cNvSpPr>
            <p:nvPr>
              <p:custDataLst>
                <p:tags r:id="rId145"/>
              </p:custDataLst>
            </p:nvPr>
          </p:nvSpPr>
          <p:spPr bwMode="gray">
            <a:xfrm>
              <a:off x="1476" y="993"/>
              <a:ext cx="2230" cy="143"/>
            </a:xfrm>
            <a:custGeom>
              <a:avLst/>
              <a:gdLst>
                <a:gd name="T0" fmla="*/ 480 w 2175"/>
                <a:gd name="T1" fmla="*/ 5 h 156"/>
                <a:gd name="T2" fmla="*/ 793 w 2175"/>
                <a:gd name="T3" fmla="*/ 8 h 156"/>
                <a:gd name="T4" fmla="*/ 1102 w 2175"/>
                <a:gd name="T5" fmla="*/ 12 h 156"/>
                <a:gd name="T6" fmla="*/ 1409 w 2175"/>
                <a:gd name="T7" fmla="*/ 14 h 156"/>
                <a:gd name="T8" fmla="*/ 1696 w 2175"/>
                <a:gd name="T9" fmla="*/ 15 h 156"/>
                <a:gd name="T10" fmla="*/ 1984 w 2175"/>
                <a:gd name="T11" fmla="*/ 16 h 156"/>
                <a:gd name="T12" fmla="*/ 2256 w 2175"/>
                <a:gd name="T13" fmla="*/ 16 h 156"/>
                <a:gd name="T14" fmla="*/ 2500 w 2175"/>
                <a:gd name="T15" fmla="*/ 17 h 156"/>
                <a:gd name="T16" fmla="*/ 2744 w 2175"/>
                <a:gd name="T17" fmla="*/ 17 h 156"/>
                <a:gd name="T18" fmla="*/ 2971 w 2175"/>
                <a:gd name="T19" fmla="*/ 17 h 156"/>
                <a:gd name="T20" fmla="*/ 3190 w 2175"/>
                <a:gd name="T21" fmla="*/ 17 h 156"/>
                <a:gd name="T22" fmla="*/ 3383 w 2175"/>
                <a:gd name="T23" fmla="*/ 16 h 156"/>
                <a:gd name="T24" fmla="*/ 3550 w 2175"/>
                <a:gd name="T25" fmla="*/ 16 h 156"/>
                <a:gd name="T26" fmla="*/ 3706 w 2175"/>
                <a:gd name="T27" fmla="*/ 15 h 156"/>
                <a:gd name="T28" fmla="*/ 3850 w 2175"/>
                <a:gd name="T29" fmla="*/ 15 h 156"/>
                <a:gd name="T30" fmla="*/ 3961 w 2175"/>
                <a:gd name="T31" fmla="*/ 14 h 156"/>
                <a:gd name="T32" fmla="*/ 4044 w 2175"/>
                <a:gd name="T33" fmla="*/ 13 h 156"/>
                <a:gd name="T34" fmla="*/ 4112 w 2175"/>
                <a:gd name="T35" fmla="*/ 13 h 156"/>
                <a:gd name="T36" fmla="*/ 4153 w 2175"/>
                <a:gd name="T37" fmla="*/ 13 h 156"/>
                <a:gd name="T38" fmla="*/ 4127 w 2175"/>
                <a:gd name="T39" fmla="*/ 12 h 156"/>
                <a:gd name="T40" fmla="*/ 4064 w 2175"/>
                <a:gd name="T41" fmla="*/ 12 h 156"/>
                <a:gd name="T42" fmla="*/ 3997 w 2175"/>
                <a:gd name="T43" fmla="*/ 13 h 156"/>
                <a:gd name="T44" fmla="*/ 3926 w 2175"/>
                <a:gd name="T45" fmla="*/ 13 h 156"/>
                <a:gd name="T46" fmla="*/ 3841 w 2175"/>
                <a:gd name="T47" fmla="*/ 13 h 156"/>
                <a:gd name="T48" fmla="*/ 3743 w 2175"/>
                <a:gd name="T49" fmla="*/ 13 h 156"/>
                <a:gd name="T50" fmla="*/ 3639 w 2175"/>
                <a:gd name="T51" fmla="*/ 13 h 156"/>
                <a:gd name="T52" fmla="*/ 3525 w 2175"/>
                <a:gd name="T53" fmla="*/ 13 h 156"/>
                <a:gd name="T54" fmla="*/ 3402 w 2175"/>
                <a:gd name="T55" fmla="*/ 14 h 156"/>
                <a:gd name="T56" fmla="*/ 3279 w 2175"/>
                <a:gd name="T57" fmla="*/ 14 h 156"/>
                <a:gd name="T58" fmla="*/ 3157 w 2175"/>
                <a:gd name="T59" fmla="*/ 14 h 156"/>
                <a:gd name="T60" fmla="*/ 3027 w 2175"/>
                <a:gd name="T61" fmla="*/ 14 h 156"/>
                <a:gd name="T62" fmla="*/ 2892 w 2175"/>
                <a:gd name="T63" fmla="*/ 14 h 156"/>
                <a:gd name="T64" fmla="*/ 2744 w 2175"/>
                <a:gd name="T65" fmla="*/ 14 h 156"/>
                <a:gd name="T66" fmla="*/ 2611 w 2175"/>
                <a:gd name="T67" fmla="*/ 14 h 156"/>
                <a:gd name="T68" fmla="*/ 2476 w 2175"/>
                <a:gd name="T69" fmla="*/ 13 h 156"/>
                <a:gd name="T70" fmla="*/ 2345 w 2175"/>
                <a:gd name="T71" fmla="*/ 13 h 156"/>
                <a:gd name="T72" fmla="*/ 2201 w 2175"/>
                <a:gd name="T73" fmla="*/ 13 h 156"/>
                <a:gd name="T74" fmla="*/ 2065 w 2175"/>
                <a:gd name="T75" fmla="*/ 13 h 156"/>
                <a:gd name="T76" fmla="*/ 1941 w 2175"/>
                <a:gd name="T77" fmla="*/ 12 h 156"/>
                <a:gd name="T78" fmla="*/ 1810 w 2175"/>
                <a:gd name="T79" fmla="*/ 11 h 156"/>
                <a:gd name="T80" fmla="*/ 1696 w 2175"/>
                <a:gd name="T81" fmla="*/ 11 h 156"/>
                <a:gd name="T82" fmla="*/ 1583 w 2175"/>
                <a:gd name="T83" fmla="*/ 10 h 156"/>
                <a:gd name="T84" fmla="*/ 1459 w 2175"/>
                <a:gd name="T85" fmla="*/ 9 h 156"/>
                <a:gd name="T86" fmla="*/ 1347 w 2175"/>
                <a:gd name="T87" fmla="*/ 8 h 156"/>
                <a:gd name="T88" fmla="*/ 1233 w 2175"/>
                <a:gd name="T89" fmla="*/ 7 h 156"/>
                <a:gd name="T90" fmla="*/ 1121 w 2175"/>
                <a:gd name="T91" fmla="*/ 6 h 156"/>
                <a:gd name="T92" fmla="*/ 1004 w 2175"/>
                <a:gd name="T93" fmla="*/ 5 h 156"/>
                <a:gd name="T94" fmla="*/ 899 w 2175"/>
                <a:gd name="T95" fmla="*/ 5 h 156"/>
                <a:gd name="T96" fmla="*/ 793 w 2175"/>
                <a:gd name="T97" fmla="*/ 5 h 156"/>
                <a:gd name="T98" fmla="*/ 697 w 2175"/>
                <a:gd name="T99" fmla="*/ 5 h 156"/>
                <a:gd name="T100" fmla="*/ 601 w 2175"/>
                <a:gd name="T101" fmla="*/ 5 h 156"/>
                <a:gd name="T102" fmla="*/ 516 w 2175"/>
                <a:gd name="T103" fmla="*/ 5 h 156"/>
                <a:gd name="T104" fmla="*/ 429 w 2175"/>
                <a:gd name="T105" fmla="*/ 5 h 156"/>
                <a:gd name="T106" fmla="*/ 349 w 2175"/>
                <a:gd name="T107" fmla="*/ 5 h 156"/>
                <a:gd name="T108" fmla="*/ 270 w 2175"/>
                <a:gd name="T109" fmla="*/ 5 h 156"/>
                <a:gd name="T110" fmla="*/ 209 w 2175"/>
                <a:gd name="T111" fmla="*/ 5 h 156"/>
                <a:gd name="T112" fmla="*/ 145 w 2175"/>
                <a:gd name="T113" fmla="*/ 5 h 156"/>
                <a:gd name="T114" fmla="*/ 74 w 2175"/>
                <a:gd name="T115" fmla="*/ 5 h 156"/>
                <a:gd name="T116" fmla="*/ 4 w 2175"/>
                <a:gd name="T117" fmla="*/ 0 h 156"/>
                <a:gd name="T118" fmla="*/ 270 w 2175"/>
                <a:gd name="T119" fmla="*/ 5 h 1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75"/>
                <a:gd name="T181" fmla="*/ 0 h 156"/>
                <a:gd name="T182" fmla="*/ 2175 w 2175"/>
                <a:gd name="T183" fmla="*/ 156 h 1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75" h="156">
                  <a:moveTo>
                    <a:pt x="141" y="34"/>
                  </a:moveTo>
                  <a:lnTo>
                    <a:pt x="196" y="43"/>
                  </a:lnTo>
                  <a:lnTo>
                    <a:pt x="251" y="54"/>
                  </a:lnTo>
                  <a:lnTo>
                    <a:pt x="306" y="63"/>
                  </a:lnTo>
                  <a:lnTo>
                    <a:pt x="361" y="74"/>
                  </a:lnTo>
                  <a:lnTo>
                    <a:pt x="415" y="80"/>
                  </a:lnTo>
                  <a:lnTo>
                    <a:pt x="470" y="88"/>
                  </a:lnTo>
                  <a:lnTo>
                    <a:pt x="521" y="97"/>
                  </a:lnTo>
                  <a:lnTo>
                    <a:pt x="575" y="105"/>
                  </a:lnTo>
                  <a:lnTo>
                    <a:pt x="630" y="111"/>
                  </a:lnTo>
                  <a:lnTo>
                    <a:pt x="685" y="117"/>
                  </a:lnTo>
                  <a:lnTo>
                    <a:pt x="735" y="119"/>
                  </a:lnTo>
                  <a:lnTo>
                    <a:pt x="786" y="128"/>
                  </a:lnTo>
                  <a:lnTo>
                    <a:pt x="836" y="128"/>
                  </a:lnTo>
                  <a:lnTo>
                    <a:pt x="886" y="134"/>
                  </a:lnTo>
                  <a:lnTo>
                    <a:pt x="936" y="137"/>
                  </a:lnTo>
                  <a:lnTo>
                    <a:pt x="991" y="142"/>
                  </a:lnTo>
                  <a:lnTo>
                    <a:pt x="1037" y="145"/>
                  </a:lnTo>
                  <a:lnTo>
                    <a:pt x="1083" y="148"/>
                  </a:lnTo>
                  <a:lnTo>
                    <a:pt x="1128" y="148"/>
                  </a:lnTo>
                  <a:lnTo>
                    <a:pt x="1179" y="151"/>
                  </a:lnTo>
                  <a:lnTo>
                    <a:pt x="1220" y="154"/>
                  </a:lnTo>
                  <a:lnTo>
                    <a:pt x="1266" y="156"/>
                  </a:lnTo>
                  <a:lnTo>
                    <a:pt x="1307" y="156"/>
                  </a:lnTo>
                  <a:lnTo>
                    <a:pt x="1352" y="156"/>
                  </a:lnTo>
                  <a:lnTo>
                    <a:pt x="1398" y="156"/>
                  </a:lnTo>
                  <a:lnTo>
                    <a:pt x="1435" y="156"/>
                  </a:lnTo>
                  <a:lnTo>
                    <a:pt x="1476" y="156"/>
                  </a:lnTo>
                  <a:lnTo>
                    <a:pt x="1517" y="156"/>
                  </a:lnTo>
                  <a:lnTo>
                    <a:pt x="1553" y="156"/>
                  </a:lnTo>
                  <a:lnTo>
                    <a:pt x="1590" y="156"/>
                  </a:lnTo>
                  <a:lnTo>
                    <a:pt x="1631" y="156"/>
                  </a:lnTo>
                  <a:lnTo>
                    <a:pt x="1668" y="156"/>
                  </a:lnTo>
                  <a:lnTo>
                    <a:pt x="1704" y="151"/>
                  </a:lnTo>
                  <a:lnTo>
                    <a:pt x="1732" y="148"/>
                  </a:lnTo>
                  <a:lnTo>
                    <a:pt x="1768" y="148"/>
                  </a:lnTo>
                  <a:lnTo>
                    <a:pt x="1796" y="148"/>
                  </a:lnTo>
                  <a:lnTo>
                    <a:pt x="1828" y="145"/>
                  </a:lnTo>
                  <a:lnTo>
                    <a:pt x="1855" y="145"/>
                  </a:lnTo>
                  <a:lnTo>
                    <a:pt x="1887" y="139"/>
                  </a:lnTo>
                  <a:lnTo>
                    <a:pt x="1914" y="139"/>
                  </a:lnTo>
                  <a:lnTo>
                    <a:pt x="1937" y="137"/>
                  </a:lnTo>
                  <a:lnTo>
                    <a:pt x="1965" y="137"/>
                  </a:lnTo>
                  <a:lnTo>
                    <a:pt x="1988" y="134"/>
                  </a:lnTo>
                  <a:lnTo>
                    <a:pt x="2010" y="131"/>
                  </a:lnTo>
                  <a:lnTo>
                    <a:pt x="2029" y="128"/>
                  </a:lnTo>
                  <a:lnTo>
                    <a:pt x="2052" y="128"/>
                  </a:lnTo>
                  <a:lnTo>
                    <a:pt x="2070" y="125"/>
                  </a:lnTo>
                  <a:lnTo>
                    <a:pt x="2088" y="122"/>
                  </a:lnTo>
                  <a:lnTo>
                    <a:pt x="2102" y="119"/>
                  </a:lnTo>
                  <a:lnTo>
                    <a:pt x="2111" y="117"/>
                  </a:lnTo>
                  <a:lnTo>
                    <a:pt x="2125" y="117"/>
                  </a:lnTo>
                  <a:lnTo>
                    <a:pt x="2138" y="114"/>
                  </a:lnTo>
                  <a:lnTo>
                    <a:pt x="2148" y="114"/>
                  </a:lnTo>
                  <a:lnTo>
                    <a:pt x="2157" y="111"/>
                  </a:lnTo>
                  <a:lnTo>
                    <a:pt x="2161" y="111"/>
                  </a:lnTo>
                  <a:lnTo>
                    <a:pt x="2170" y="111"/>
                  </a:lnTo>
                  <a:lnTo>
                    <a:pt x="2175" y="105"/>
                  </a:lnTo>
                  <a:lnTo>
                    <a:pt x="2170" y="105"/>
                  </a:lnTo>
                  <a:lnTo>
                    <a:pt x="2157" y="108"/>
                  </a:lnTo>
                  <a:lnTo>
                    <a:pt x="2148" y="108"/>
                  </a:lnTo>
                  <a:lnTo>
                    <a:pt x="2138" y="108"/>
                  </a:lnTo>
                  <a:lnTo>
                    <a:pt x="2125" y="108"/>
                  </a:lnTo>
                  <a:lnTo>
                    <a:pt x="2116" y="108"/>
                  </a:lnTo>
                  <a:lnTo>
                    <a:pt x="2102" y="108"/>
                  </a:lnTo>
                  <a:lnTo>
                    <a:pt x="2088" y="111"/>
                  </a:lnTo>
                  <a:lnTo>
                    <a:pt x="2079" y="111"/>
                  </a:lnTo>
                  <a:lnTo>
                    <a:pt x="2070" y="111"/>
                  </a:lnTo>
                  <a:lnTo>
                    <a:pt x="2052" y="111"/>
                  </a:lnTo>
                  <a:lnTo>
                    <a:pt x="2033" y="111"/>
                  </a:lnTo>
                  <a:lnTo>
                    <a:pt x="2020" y="114"/>
                  </a:lnTo>
                  <a:lnTo>
                    <a:pt x="2006" y="114"/>
                  </a:lnTo>
                  <a:lnTo>
                    <a:pt x="1988" y="114"/>
                  </a:lnTo>
                  <a:lnTo>
                    <a:pt x="1969" y="114"/>
                  </a:lnTo>
                  <a:lnTo>
                    <a:pt x="1956" y="114"/>
                  </a:lnTo>
                  <a:lnTo>
                    <a:pt x="1942" y="117"/>
                  </a:lnTo>
                  <a:lnTo>
                    <a:pt x="1919" y="117"/>
                  </a:lnTo>
                  <a:lnTo>
                    <a:pt x="1901" y="117"/>
                  </a:lnTo>
                  <a:lnTo>
                    <a:pt x="1882" y="117"/>
                  </a:lnTo>
                  <a:lnTo>
                    <a:pt x="1864" y="117"/>
                  </a:lnTo>
                  <a:lnTo>
                    <a:pt x="1841" y="117"/>
                  </a:lnTo>
                  <a:lnTo>
                    <a:pt x="1823" y="117"/>
                  </a:lnTo>
                  <a:lnTo>
                    <a:pt x="1800" y="117"/>
                  </a:lnTo>
                  <a:lnTo>
                    <a:pt x="1777" y="119"/>
                  </a:lnTo>
                  <a:lnTo>
                    <a:pt x="1759" y="119"/>
                  </a:lnTo>
                  <a:lnTo>
                    <a:pt x="1741" y="119"/>
                  </a:lnTo>
                  <a:lnTo>
                    <a:pt x="1713" y="119"/>
                  </a:lnTo>
                  <a:lnTo>
                    <a:pt x="1695" y="119"/>
                  </a:lnTo>
                  <a:lnTo>
                    <a:pt x="1672" y="119"/>
                  </a:lnTo>
                  <a:lnTo>
                    <a:pt x="1649" y="119"/>
                  </a:lnTo>
                  <a:lnTo>
                    <a:pt x="1627" y="119"/>
                  </a:lnTo>
                  <a:lnTo>
                    <a:pt x="1604" y="122"/>
                  </a:lnTo>
                  <a:lnTo>
                    <a:pt x="1581" y="119"/>
                  </a:lnTo>
                  <a:lnTo>
                    <a:pt x="1558" y="119"/>
                  </a:lnTo>
                  <a:lnTo>
                    <a:pt x="1535" y="119"/>
                  </a:lnTo>
                  <a:lnTo>
                    <a:pt x="1512" y="119"/>
                  </a:lnTo>
                  <a:lnTo>
                    <a:pt x="1485" y="119"/>
                  </a:lnTo>
                  <a:lnTo>
                    <a:pt x="1462" y="119"/>
                  </a:lnTo>
                  <a:lnTo>
                    <a:pt x="1435" y="119"/>
                  </a:lnTo>
                  <a:lnTo>
                    <a:pt x="1416" y="119"/>
                  </a:lnTo>
                  <a:lnTo>
                    <a:pt x="1389" y="119"/>
                  </a:lnTo>
                  <a:lnTo>
                    <a:pt x="1366" y="119"/>
                  </a:lnTo>
                  <a:lnTo>
                    <a:pt x="1343" y="117"/>
                  </a:lnTo>
                  <a:lnTo>
                    <a:pt x="1316" y="117"/>
                  </a:lnTo>
                  <a:lnTo>
                    <a:pt x="1293" y="117"/>
                  </a:lnTo>
                  <a:lnTo>
                    <a:pt x="1270" y="117"/>
                  </a:lnTo>
                  <a:lnTo>
                    <a:pt x="1247" y="117"/>
                  </a:lnTo>
                  <a:lnTo>
                    <a:pt x="1224" y="117"/>
                  </a:lnTo>
                  <a:lnTo>
                    <a:pt x="1197" y="114"/>
                  </a:lnTo>
                  <a:lnTo>
                    <a:pt x="1174" y="114"/>
                  </a:lnTo>
                  <a:lnTo>
                    <a:pt x="1151" y="114"/>
                  </a:lnTo>
                  <a:lnTo>
                    <a:pt x="1124" y="114"/>
                  </a:lnTo>
                  <a:lnTo>
                    <a:pt x="1101" y="111"/>
                  </a:lnTo>
                  <a:lnTo>
                    <a:pt x="1078" y="111"/>
                  </a:lnTo>
                  <a:lnTo>
                    <a:pt x="1055" y="108"/>
                  </a:lnTo>
                  <a:lnTo>
                    <a:pt x="1037" y="108"/>
                  </a:lnTo>
                  <a:lnTo>
                    <a:pt x="1014" y="105"/>
                  </a:lnTo>
                  <a:lnTo>
                    <a:pt x="991" y="105"/>
                  </a:lnTo>
                  <a:lnTo>
                    <a:pt x="968" y="102"/>
                  </a:lnTo>
                  <a:lnTo>
                    <a:pt x="946" y="100"/>
                  </a:lnTo>
                  <a:lnTo>
                    <a:pt x="923" y="100"/>
                  </a:lnTo>
                  <a:lnTo>
                    <a:pt x="904" y="97"/>
                  </a:lnTo>
                  <a:lnTo>
                    <a:pt x="886" y="97"/>
                  </a:lnTo>
                  <a:lnTo>
                    <a:pt x="868" y="94"/>
                  </a:lnTo>
                  <a:lnTo>
                    <a:pt x="845" y="91"/>
                  </a:lnTo>
                  <a:lnTo>
                    <a:pt x="827" y="91"/>
                  </a:lnTo>
                  <a:lnTo>
                    <a:pt x="804" y="85"/>
                  </a:lnTo>
                  <a:lnTo>
                    <a:pt x="786" y="85"/>
                  </a:lnTo>
                  <a:lnTo>
                    <a:pt x="763" y="82"/>
                  </a:lnTo>
                  <a:lnTo>
                    <a:pt x="745" y="80"/>
                  </a:lnTo>
                  <a:lnTo>
                    <a:pt x="726" y="77"/>
                  </a:lnTo>
                  <a:lnTo>
                    <a:pt x="703" y="77"/>
                  </a:lnTo>
                  <a:lnTo>
                    <a:pt x="681" y="74"/>
                  </a:lnTo>
                  <a:lnTo>
                    <a:pt x="662" y="71"/>
                  </a:lnTo>
                  <a:lnTo>
                    <a:pt x="644" y="68"/>
                  </a:lnTo>
                  <a:lnTo>
                    <a:pt x="626" y="68"/>
                  </a:lnTo>
                  <a:lnTo>
                    <a:pt x="603" y="65"/>
                  </a:lnTo>
                  <a:lnTo>
                    <a:pt x="585" y="63"/>
                  </a:lnTo>
                  <a:lnTo>
                    <a:pt x="566" y="60"/>
                  </a:lnTo>
                  <a:lnTo>
                    <a:pt x="548" y="60"/>
                  </a:lnTo>
                  <a:lnTo>
                    <a:pt x="525" y="57"/>
                  </a:lnTo>
                  <a:lnTo>
                    <a:pt x="507" y="54"/>
                  </a:lnTo>
                  <a:lnTo>
                    <a:pt x="489" y="51"/>
                  </a:lnTo>
                  <a:lnTo>
                    <a:pt x="470" y="51"/>
                  </a:lnTo>
                  <a:lnTo>
                    <a:pt x="452" y="48"/>
                  </a:lnTo>
                  <a:lnTo>
                    <a:pt x="434" y="45"/>
                  </a:lnTo>
                  <a:lnTo>
                    <a:pt x="415" y="43"/>
                  </a:lnTo>
                  <a:lnTo>
                    <a:pt x="402" y="43"/>
                  </a:lnTo>
                  <a:lnTo>
                    <a:pt x="383" y="40"/>
                  </a:lnTo>
                  <a:lnTo>
                    <a:pt x="365" y="40"/>
                  </a:lnTo>
                  <a:lnTo>
                    <a:pt x="351" y="37"/>
                  </a:lnTo>
                  <a:lnTo>
                    <a:pt x="333" y="34"/>
                  </a:lnTo>
                  <a:lnTo>
                    <a:pt x="315" y="34"/>
                  </a:lnTo>
                  <a:lnTo>
                    <a:pt x="301" y="31"/>
                  </a:lnTo>
                  <a:lnTo>
                    <a:pt x="283" y="31"/>
                  </a:lnTo>
                  <a:lnTo>
                    <a:pt x="269" y="31"/>
                  </a:lnTo>
                  <a:lnTo>
                    <a:pt x="256" y="28"/>
                  </a:lnTo>
                  <a:lnTo>
                    <a:pt x="237" y="28"/>
                  </a:lnTo>
                  <a:lnTo>
                    <a:pt x="224" y="23"/>
                  </a:lnTo>
                  <a:lnTo>
                    <a:pt x="210" y="23"/>
                  </a:lnTo>
                  <a:lnTo>
                    <a:pt x="196" y="20"/>
                  </a:lnTo>
                  <a:lnTo>
                    <a:pt x="182" y="20"/>
                  </a:lnTo>
                  <a:lnTo>
                    <a:pt x="169" y="17"/>
                  </a:lnTo>
                  <a:lnTo>
                    <a:pt x="160" y="17"/>
                  </a:lnTo>
                  <a:lnTo>
                    <a:pt x="141" y="17"/>
                  </a:lnTo>
                  <a:lnTo>
                    <a:pt x="132" y="14"/>
                  </a:lnTo>
                  <a:lnTo>
                    <a:pt x="123" y="11"/>
                  </a:lnTo>
                  <a:lnTo>
                    <a:pt x="109" y="11"/>
                  </a:lnTo>
                  <a:lnTo>
                    <a:pt x="100" y="11"/>
                  </a:lnTo>
                  <a:lnTo>
                    <a:pt x="86" y="8"/>
                  </a:lnTo>
                  <a:lnTo>
                    <a:pt x="77" y="8"/>
                  </a:lnTo>
                  <a:lnTo>
                    <a:pt x="73" y="8"/>
                  </a:lnTo>
                  <a:lnTo>
                    <a:pt x="54" y="8"/>
                  </a:lnTo>
                  <a:lnTo>
                    <a:pt x="41" y="8"/>
                  </a:lnTo>
                  <a:lnTo>
                    <a:pt x="27" y="3"/>
                  </a:lnTo>
                  <a:lnTo>
                    <a:pt x="18" y="3"/>
                  </a:lnTo>
                  <a:lnTo>
                    <a:pt x="4" y="0"/>
                  </a:lnTo>
                  <a:lnTo>
                    <a:pt x="0" y="0"/>
                  </a:lnTo>
                  <a:lnTo>
                    <a:pt x="141" y="3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47" name="Freeform 158"/>
            <p:cNvSpPr>
              <a:spLocks/>
            </p:cNvSpPr>
            <p:nvPr>
              <p:custDataLst>
                <p:tags r:id="rId146"/>
              </p:custDataLst>
            </p:nvPr>
          </p:nvSpPr>
          <p:spPr bwMode="gray">
            <a:xfrm>
              <a:off x="1775" y="917"/>
              <a:ext cx="1172" cy="102"/>
            </a:xfrm>
            <a:custGeom>
              <a:avLst/>
              <a:gdLst>
                <a:gd name="T0" fmla="*/ 210 w 1143"/>
                <a:gd name="T1" fmla="*/ 6 h 111"/>
                <a:gd name="T2" fmla="*/ 315 w 1143"/>
                <a:gd name="T3" fmla="*/ 6 h 111"/>
                <a:gd name="T4" fmla="*/ 439 w 1143"/>
                <a:gd name="T5" fmla="*/ 6 h 111"/>
                <a:gd name="T6" fmla="*/ 551 w 1143"/>
                <a:gd name="T7" fmla="*/ 6 h 111"/>
                <a:gd name="T8" fmla="*/ 687 w 1143"/>
                <a:gd name="T9" fmla="*/ 6 h 111"/>
                <a:gd name="T10" fmla="*/ 817 w 1143"/>
                <a:gd name="T11" fmla="*/ 6 h 111"/>
                <a:gd name="T12" fmla="*/ 949 w 1143"/>
                <a:gd name="T13" fmla="*/ 6 h 111"/>
                <a:gd name="T14" fmla="*/ 1078 w 1143"/>
                <a:gd name="T15" fmla="*/ 6 h 111"/>
                <a:gd name="T16" fmla="*/ 1212 w 1143"/>
                <a:gd name="T17" fmla="*/ 6 h 111"/>
                <a:gd name="T18" fmla="*/ 1343 w 1143"/>
                <a:gd name="T19" fmla="*/ 6 h 111"/>
                <a:gd name="T20" fmla="*/ 1461 w 1143"/>
                <a:gd name="T21" fmla="*/ 7 h 111"/>
                <a:gd name="T22" fmla="*/ 1587 w 1143"/>
                <a:gd name="T23" fmla="*/ 7 h 111"/>
                <a:gd name="T24" fmla="*/ 1703 w 1143"/>
                <a:gd name="T25" fmla="*/ 8 h 111"/>
                <a:gd name="T26" fmla="*/ 1806 w 1143"/>
                <a:gd name="T27" fmla="*/ 8 h 111"/>
                <a:gd name="T28" fmla="*/ 1892 w 1143"/>
                <a:gd name="T29" fmla="*/ 8 h 111"/>
                <a:gd name="T30" fmla="*/ 1980 w 1143"/>
                <a:gd name="T31" fmla="*/ 8 h 111"/>
                <a:gd name="T32" fmla="*/ 2062 w 1143"/>
                <a:gd name="T33" fmla="*/ 8 h 111"/>
                <a:gd name="T34" fmla="*/ 2121 w 1143"/>
                <a:gd name="T35" fmla="*/ 9 h 111"/>
                <a:gd name="T36" fmla="*/ 2190 w 1143"/>
                <a:gd name="T37" fmla="*/ 9 h 111"/>
                <a:gd name="T38" fmla="*/ 2161 w 1143"/>
                <a:gd name="T39" fmla="*/ 10 h 111"/>
                <a:gd name="T40" fmla="*/ 2086 w 1143"/>
                <a:gd name="T41" fmla="*/ 11 h 111"/>
                <a:gd name="T42" fmla="*/ 2011 w 1143"/>
                <a:gd name="T43" fmla="*/ 12 h 111"/>
                <a:gd name="T44" fmla="*/ 1919 w 1143"/>
                <a:gd name="T45" fmla="*/ 12 h 111"/>
                <a:gd name="T46" fmla="*/ 1818 w 1143"/>
                <a:gd name="T47" fmla="*/ 12 h 111"/>
                <a:gd name="T48" fmla="*/ 1746 w 1143"/>
                <a:gd name="T49" fmla="*/ 13 h 111"/>
                <a:gd name="T50" fmla="*/ 1686 w 1143"/>
                <a:gd name="T51" fmla="*/ 13 h 111"/>
                <a:gd name="T52" fmla="*/ 1622 w 1143"/>
                <a:gd name="T53" fmla="*/ 13 h 111"/>
                <a:gd name="T54" fmla="*/ 1563 w 1143"/>
                <a:gd name="T55" fmla="*/ 13 h 111"/>
                <a:gd name="T56" fmla="*/ 1490 w 1143"/>
                <a:gd name="T57" fmla="*/ 13 h 111"/>
                <a:gd name="T58" fmla="*/ 1430 w 1143"/>
                <a:gd name="T59" fmla="*/ 13 h 111"/>
                <a:gd name="T60" fmla="*/ 1350 w 1143"/>
                <a:gd name="T61" fmla="*/ 12 h 111"/>
                <a:gd name="T62" fmla="*/ 1275 w 1143"/>
                <a:gd name="T63" fmla="*/ 12 h 111"/>
                <a:gd name="T64" fmla="*/ 1201 w 1143"/>
                <a:gd name="T65" fmla="*/ 12 h 111"/>
                <a:gd name="T66" fmla="*/ 1124 w 1143"/>
                <a:gd name="T67" fmla="*/ 12 h 111"/>
                <a:gd name="T68" fmla="*/ 1034 w 1143"/>
                <a:gd name="T69" fmla="*/ 12 h 111"/>
                <a:gd name="T70" fmla="*/ 955 w 1143"/>
                <a:gd name="T71" fmla="*/ 11 h 111"/>
                <a:gd name="T72" fmla="*/ 867 w 1143"/>
                <a:gd name="T73" fmla="*/ 10 h 111"/>
                <a:gd name="T74" fmla="*/ 789 w 1143"/>
                <a:gd name="T75" fmla="*/ 9 h 111"/>
                <a:gd name="T76" fmla="*/ 709 w 1143"/>
                <a:gd name="T77" fmla="*/ 9 h 111"/>
                <a:gd name="T78" fmla="*/ 623 w 1143"/>
                <a:gd name="T79" fmla="*/ 8 h 111"/>
                <a:gd name="T80" fmla="*/ 542 w 1143"/>
                <a:gd name="T81" fmla="*/ 6 h 111"/>
                <a:gd name="T82" fmla="*/ 473 w 1143"/>
                <a:gd name="T83" fmla="*/ 6 h 111"/>
                <a:gd name="T84" fmla="*/ 395 w 1143"/>
                <a:gd name="T85" fmla="*/ 6 h 111"/>
                <a:gd name="T86" fmla="*/ 315 w 1143"/>
                <a:gd name="T87" fmla="*/ 6 h 111"/>
                <a:gd name="T88" fmla="*/ 255 w 1143"/>
                <a:gd name="T89" fmla="*/ 6 h 111"/>
                <a:gd name="T90" fmla="*/ 195 w 1143"/>
                <a:gd name="T91" fmla="*/ 6 h 111"/>
                <a:gd name="T92" fmla="*/ 132 w 1143"/>
                <a:gd name="T93" fmla="*/ 6 h 111"/>
                <a:gd name="T94" fmla="*/ 14 w 1143"/>
                <a:gd name="T95" fmla="*/ 6 h 111"/>
                <a:gd name="T96" fmla="*/ 14 w 1143"/>
                <a:gd name="T97" fmla="*/ 0 h 111"/>
                <a:gd name="T98" fmla="*/ 84 w 1143"/>
                <a:gd name="T99" fmla="*/ 0 h 111"/>
                <a:gd name="T100" fmla="*/ 138 w 1143"/>
                <a:gd name="T101" fmla="*/ 0 h 11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43"/>
                <a:gd name="T154" fmla="*/ 0 h 111"/>
                <a:gd name="T155" fmla="*/ 1143 w 1143"/>
                <a:gd name="T156" fmla="*/ 111 h 11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43" h="111">
                  <a:moveTo>
                    <a:pt x="78" y="0"/>
                  </a:moveTo>
                  <a:lnTo>
                    <a:pt x="96" y="3"/>
                  </a:lnTo>
                  <a:lnTo>
                    <a:pt x="110" y="6"/>
                  </a:lnTo>
                  <a:lnTo>
                    <a:pt x="133" y="12"/>
                  </a:lnTo>
                  <a:lnTo>
                    <a:pt x="151" y="15"/>
                  </a:lnTo>
                  <a:lnTo>
                    <a:pt x="165" y="17"/>
                  </a:lnTo>
                  <a:lnTo>
                    <a:pt x="187" y="20"/>
                  </a:lnTo>
                  <a:lnTo>
                    <a:pt x="206" y="23"/>
                  </a:lnTo>
                  <a:lnTo>
                    <a:pt x="229" y="26"/>
                  </a:lnTo>
                  <a:lnTo>
                    <a:pt x="247" y="29"/>
                  </a:lnTo>
                  <a:lnTo>
                    <a:pt x="265" y="29"/>
                  </a:lnTo>
                  <a:lnTo>
                    <a:pt x="288" y="34"/>
                  </a:lnTo>
                  <a:lnTo>
                    <a:pt x="311" y="34"/>
                  </a:lnTo>
                  <a:lnTo>
                    <a:pt x="334" y="37"/>
                  </a:lnTo>
                  <a:lnTo>
                    <a:pt x="357" y="40"/>
                  </a:lnTo>
                  <a:lnTo>
                    <a:pt x="379" y="43"/>
                  </a:lnTo>
                  <a:lnTo>
                    <a:pt x="402" y="46"/>
                  </a:lnTo>
                  <a:lnTo>
                    <a:pt x="425" y="46"/>
                  </a:lnTo>
                  <a:lnTo>
                    <a:pt x="448" y="49"/>
                  </a:lnTo>
                  <a:lnTo>
                    <a:pt x="471" y="49"/>
                  </a:lnTo>
                  <a:lnTo>
                    <a:pt x="494" y="52"/>
                  </a:lnTo>
                  <a:lnTo>
                    <a:pt x="517" y="52"/>
                  </a:lnTo>
                  <a:lnTo>
                    <a:pt x="539" y="54"/>
                  </a:lnTo>
                  <a:lnTo>
                    <a:pt x="562" y="54"/>
                  </a:lnTo>
                  <a:lnTo>
                    <a:pt x="590" y="57"/>
                  </a:lnTo>
                  <a:lnTo>
                    <a:pt x="608" y="57"/>
                  </a:lnTo>
                  <a:lnTo>
                    <a:pt x="631" y="60"/>
                  </a:lnTo>
                  <a:lnTo>
                    <a:pt x="654" y="60"/>
                  </a:lnTo>
                  <a:lnTo>
                    <a:pt x="676" y="63"/>
                  </a:lnTo>
                  <a:lnTo>
                    <a:pt x="699" y="63"/>
                  </a:lnTo>
                  <a:lnTo>
                    <a:pt x="722" y="63"/>
                  </a:lnTo>
                  <a:lnTo>
                    <a:pt x="745" y="63"/>
                  </a:lnTo>
                  <a:lnTo>
                    <a:pt x="763" y="69"/>
                  </a:lnTo>
                  <a:lnTo>
                    <a:pt x="786" y="69"/>
                  </a:lnTo>
                  <a:lnTo>
                    <a:pt x="809" y="69"/>
                  </a:lnTo>
                  <a:lnTo>
                    <a:pt x="827" y="69"/>
                  </a:lnTo>
                  <a:lnTo>
                    <a:pt x="850" y="69"/>
                  </a:lnTo>
                  <a:lnTo>
                    <a:pt x="864" y="69"/>
                  </a:lnTo>
                  <a:lnTo>
                    <a:pt x="887" y="71"/>
                  </a:lnTo>
                  <a:lnTo>
                    <a:pt x="905" y="71"/>
                  </a:lnTo>
                  <a:lnTo>
                    <a:pt x="923" y="71"/>
                  </a:lnTo>
                  <a:lnTo>
                    <a:pt x="942" y="71"/>
                  </a:lnTo>
                  <a:lnTo>
                    <a:pt x="955" y="71"/>
                  </a:lnTo>
                  <a:lnTo>
                    <a:pt x="974" y="71"/>
                  </a:lnTo>
                  <a:lnTo>
                    <a:pt x="987" y="71"/>
                  </a:lnTo>
                  <a:lnTo>
                    <a:pt x="1006" y="71"/>
                  </a:lnTo>
                  <a:lnTo>
                    <a:pt x="1019" y="74"/>
                  </a:lnTo>
                  <a:lnTo>
                    <a:pt x="1033" y="74"/>
                  </a:lnTo>
                  <a:lnTo>
                    <a:pt x="1051" y="74"/>
                  </a:lnTo>
                  <a:lnTo>
                    <a:pt x="1060" y="74"/>
                  </a:lnTo>
                  <a:lnTo>
                    <a:pt x="1074" y="74"/>
                  </a:lnTo>
                  <a:lnTo>
                    <a:pt x="1083" y="74"/>
                  </a:lnTo>
                  <a:lnTo>
                    <a:pt x="1092" y="77"/>
                  </a:lnTo>
                  <a:lnTo>
                    <a:pt x="1106" y="77"/>
                  </a:lnTo>
                  <a:lnTo>
                    <a:pt x="1124" y="80"/>
                  </a:lnTo>
                  <a:lnTo>
                    <a:pt x="1133" y="80"/>
                  </a:lnTo>
                  <a:lnTo>
                    <a:pt x="1143" y="80"/>
                  </a:lnTo>
                  <a:lnTo>
                    <a:pt x="1143" y="83"/>
                  </a:lnTo>
                  <a:lnTo>
                    <a:pt x="1124" y="89"/>
                  </a:lnTo>
                  <a:lnTo>
                    <a:pt x="1106" y="91"/>
                  </a:lnTo>
                  <a:lnTo>
                    <a:pt x="1097" y="91"/>
                  </a:lnTo>
                  <a:lnTo>
                    <a:pt x="1088" y="94"/>
                  </a:lnTo>
                  <a:lnTo>
                    <a:pt x="1074" y="94"/>
                  </a:lnTo>
                  <a:lnTo>
                    <a:pt x="1060" y="100"/>
                  </a:lnTo>
                  <a:lnTo>
                    <a:pt x="1047" y="100"/>
                  </a:lnTo>
                  <a:lnTo>
                    <a:pt x="1033" y="100"/>
                  </a:lnTo>
                  <a:lnTo>
                    <a:pt x="1015" y="103"/>
                  </a:lnTo>
                  <a:lnTo>
                    <a:pt x="1001" y="103"/>
                  </a:lnTo>
                  <a:lnTo>
                    <a:pt x="983" y="103"/>
                  </a:lnTo>
                  <a:lnTo>
                    <a:pt x="964" y="106"/>
                  </a:lnTo>
                  <a:lnTo>
                    <a:pt x="946" y="106"/>
                  </a:lnTo>
                  <a:lnTo>
                    <a:pt x="932" y="109"/>
                  </a:lnTo>
                  <a:lnTo>
                    <a:pt x="919" y="109"/>
                  </a:lnTo>
                  <a:lnTo>
                    <a:pt x="910" y="109"/>
                  </a:lnTo>
                  <a:lnTo>
                    <a:pt x="900" y="109"/>
                  </a:lnTo>
                  <a:lnTo>
                    <a:pt x="887" y="109"/>
                  </a:lnTo>
                  <a:lnTo>
                    <a:pt x="878" y="109"/>
                  </a:lnTo>
                  <a:lnTo>
                    <a:pt x="864" y="109"/>
                  </a:lnTo>
                  <a:lnTo>
                    <a:pt x="855" y="109"/>
                  </a:lnTo>
                  <a:lnTo>
                    <a:pt x="846" y="111"/>
                  </a:lnTo>
                  <a:lnTo>
                    <a:pt x="832" y="111"/>
                  </a:lnTo>
                  <a:lnTo>
                    <a:pt x="823" y="111"/>
                  </a:lnTo>
                  <a:lnTo>
                    <a:pt x="814" y="111"/>
                  </a:lnTo>
                  <a:lnTo>
                    <a:pt x="800" y="111"/>
                  </a:lnTo>
                  <a:lnTo>
                    <a:pt x="786" y="111"/>
                  </a:lnTo>
                  <a:lnTo>
                    <a:pt x="777" y="111"/>
                  </a:lnTo>
                  <a:lnTo>
                    <a:pt x="763" y="111"/>
                  </a:lnTo>
                  <a:lnTo>
                    <a:pt x="754" y="111"/>
                  </a:lnTo>
                  <a:lnTo>
                    <a:pt x="745" y="109"/>
                  </a:lnTo>
                  <a:lnTo>
                    <a:pt x="727" y="106"/>
                  </a:lnTo>
                  <a:lnTo>
                    <a:pt x="718" y="106"/>
                  </a:lnTo>
                  <a:lnTo>
                    <a:pt x="704" y="106"/>
                  </a:lnTo>
                  <a:lnTo>
                    <a:pt x="686" y="106"/>
                  </a:lnTo>
                  <a:lnTo>
                    <a:pt x="676" y="106"/>
                  </a:lnTo>
                  <a:lnTo>
                    <a:pt x="663" y="106"/>
                  </a:lnTo>
                  <a:lnTo>
                    <a:pt x="654" y="106"/>
                  </a:lnTo>
                  <a:lnTo>
                    <a:pt x="635" y="103"/>
                  </a:lnTo>
                  <a:lnTo>
                    <a:pt x="626" y="103"/>
                  </a:lnTo>
                  <a:lnTo>
                    <a:pt x="608" y="103"/>
                  </a:lnTo>
                  <a:lnTo>
                    <a:pt x="599" y="103"/>
                  </a:lnTo>
                  <a:lnTo>
                    <a:pt x="585" y="100"/>
                  </a:lnTo>
                  <a:lnTo>
                    <a:pt x="571" y="100"/>
                  </a:lnTo>
                  <a:lnTo>
                    <a:pt x="558" y="100"/>
                  </a:lnTo>
                  <a:lnTo>
                    <a:pt x="539" y="100"/>
                  </a:lnTo>
                  <a:lnTo>
                    <a:pt x="526" y="94"/>
                  </a:lnTo>
                  <a:lnTo>
                    <a:pt x="512" y="94"/>
                  </a:lnTo>
                  <a:lnTo>
                    <a:pt x="498" y="91"/>
                  </a:lnTo>
                  <a:lnTo>
                    <a:pt x="485" y="91"/>
                  </a:lnTo>
                  <a:lnTo>
                    <a:pt x="471" y="91"/>
                  </a:lnTo>
                  <a:lnTo>
                    <a:pt x="453" y="89"/>
                  </a:lnTo>
                  <a:lnTo>
                    <a:pt x="443" y="83"/>
                  </a:lnTo>
                  <a:lnTo>
                    <a:pt x="430" y="83"/>
                  </a:lnTo>
                  <a:lnTo>
                    <a:pt x="411" y="80"/>
                  </a:lnTo>
                  <a:lnTo>
                    <a:pt x="398" y="80"/>
                  </a:lnTo>
                  <a:lnTo>
                    <a:pt x="384" y="77"/>
                  </a:lnTo>
                  <a:lnTo>
                    <a:pt x="370" y="77"/>
                  </a:lnTo>
                  <a:lnTo>
                    <a:pt x="352" y="74"/>
                  </a:lnTo>
                  <a:lnTo>
                    <a:pt x="343" y="71"/>
                  </a:lnTo>
                  <a:lnTo>
                    <a:pt x="325" y="71"/>
                  </a:lnTo>
                  <a:lnTo>
                    <a:pt x="315" y="69"/>
                  </a:lnTo>
                  <a:lnTo>
                    <a:pt x="297" y="63"/>
                  </a:lnTo>
                  <a:lnTo>
                    <a:pt x="283" y="63"/>
                  </a:lnTo>
                  <a:lnTo>
                    <a:pt x="270" y="60"/>
                  </a:lnTo>
                  <a:lnTo>
                    <a:pt x="256" y="57"/>
                  </a:lnTo>
                  <a:lnTo>
                    <a:pt x="247" y="54"/>
                  </a:lnTo>
                  <a:lnTo>
                    <a:pt x="229" y="52"/>
                  </a:lnTo>
                  <a:lnTo>
                    <a:pt x="215" y="49"/>
                  </a:lnTo>
                  <a:lnTo>
                    <a:pt x="206" y="49"/>
                  </a:lnTo>
                  <a:lnTo>
                    <a:pt x="192" y="46"/>
                  </a:lnTo>
                  <a:lnTo>
                    <a:pt x="178" y="43"/>
                  </a:lnTo>
                  <a:lnTo>
                    <a:pt x="165" y="40"/>
                  </a:lnTo>
                  <a:lnTo>
                    <a:pt x="155" y="37"/>
                  </a:lnTo>
                  <a:lnTo>
                    <a:pt x="142" y="34"/>
                  </a:lnTo>
                  <a:lnTo>
                    <a:pt x="133" y="34"/>
                  </a:lnTo>
                  <a:lnTo>
                    <a:pt x="123" y="32"/>
                  </a:lnTo>
                  <a:lnTo>
                    <a:pt x="110" y="29"/>
                  </a:lnTo>
                  <a:lnTo>
                    <a:pt x="101" y="29"/>
                  </a:lnTo>
                  <a:lnTo>
                    <a:pt x="87" y="23"/>
                  </a:lnTo>
                  <a:lnTo>
                    <a:pt x="78" y="23"/>
                  </a:lnTo>
                  <a:lnTo>
                    <a:pt x="69" y="20"/>
                  </a:lnTo>
                  <a:lnTo>
                    <a:pt x="50" y="17"/>
                  </a:lnTo>
                  <a:lnTo>
                    <a:pt x="32" y="15"/>
                  </a:lnTo>
                  <a:lnTo>
                    <a:pt x="14" y="6"/>
                  </a:lnTo>
                  <a:lnTo>
                    <a:pt x="0" y="6"/>
                  </a:lnTo>
                  <a:lnTo>
                    <a:pt x="5" y="0"/>
                  </a:lnTo>
                  <a:lnTo>
                    <a:pt x="14" y="0"/>
                  </a:lnTo>
                  <a:lnTo>
                    <a:pt x="23" y="0"/>
                  </a:lnTo>
                  <a:lnTo>
                    <a:pt x="37" y="0"/>
                  </a:lnTo>
                  <a:lnTo>
                    <a:pt x="46" y="0"/>
                  </a:lnTo>
                  <a:lnTo>
                    <a:pt x="55" y="0"/>
                  </a:lnTo>
                  <a:lnTo>
                    <a:pt x="64" y="0"/>
                  </a:lnTo>
                  <a:lnTo>
                    <a:pt x="73" y="0"/>
                  </a:lnTo>
                  <a:lnTo>
                    <a:pt x="78"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48" name="Freeform 159"/>
            <p:cNvSpPr>
              <a:spLocks/>
            </p:cNvSpPr>
            <p:nvPr>
              <p:custDataLst>
                <p:tags r:id="rId147"/>
              </p:custDataLst>
            </p:nvPr>
          </p:nvSpPr>
          <p:spPr bwMode="gray">
            <a:xfrm>
              <a:off x="632" y="1094"/>
              <a:ext cx="750" cy="290"/>
            </a:xfrm>
            <a:custGeom>
              <a:avLst/>
              <a:gdLst>
                <a:gd name="T0" fmla="*/ 784 w 731"/>
                <a:gd name="T1" fmla="*/ 6 h 316"/>
                <a:gd name="T2" fmla="*/ 676 w 731"/>
                <a:gd name="T3" fmla="*/ 6 h 316"/>
                <a:gd name="T4" fmla="*/ 559 w 731"/>
                <a:gd name="T5" fmla="*/ 9 h 316"/>
                <a:gd name="T6" fmla="*/ 443 w 731"/>
                <a:gd name="T7" fmla="*/ 13 h 316"/>
                <a:gd name="T8" fmla="*/ 348 w 731"/>
                <a:gd name="T9" fmla="*/ 16 h 316"/>
                <a:gd name="T10" fmla="*/ 248 w 731"/>
                <a:gd name="T11" fmla="*/ 18 h 316"/>
                <a:gd name="T12" fmla="*/ 168 w 731"/>
                <a:gd name="T13" fmla="*/ 22 h 316"/>
                <a:gd name="T14" fmla="*/ 94 w 731"/>
                <a:gd name="T15" fmla="*/ 24 h 316"/>
                <a:gd name="T16" fmla="*/ 14 w 731"/>
                <a:gd name="T17" fmla="*/ 26 h 316"/>
                <a:gd name="T18" fmla="*/ 5 w 731"/>
                <a:gd name="T19" fmla="*/ 28 h 316"/>
                <a:gd name="T20" fmla="*/ 68 w 731"/>
                <a:gd name="T21" fmla="*/ 28 h 316"/>
                <a:gd name="T22" fmla="*/ 133 w 731"/>
                <a:gd name="T23" fmla="*/ 28 h 316"/>
                <a:gd name="T24" fmla="*/ 205 w 731"/>
                <a:gd name="T25" fmla="*/ 28 h 316"/>
                <a:gd name="T26" fmla="*/ 277 w 731"/>
                <a:gd name="T27" fmla="*/ 28 h 316"/>
                <a:gd name="T28" fmla="*/ 357 w 731"/>
                <a:gd name="T29" fmla="*/ 30 h 316"/>
                <a:gd name="T30" fmla="*/ 437 w 731"/>
                <a:gd name="T31" fmla="*/ 30 h 316"/>
                <a:gd name="T32" fmla="*/ 505 w 731"/>
                <a:gd name="T33" fmla="*/ 30 h 316"/>
                <a:gd name="T34" fmla="*/ 580 w 731"/>
                <a:gd name="T35" fmla="*/ 30 h 316"/>
                <a:gd name="T36" fmla="*/ 642 w 731"/>
                <a:gd name="T37" fmla="*/ 30 h 316"/>
                <a:gd name="T38" fmla="*/ 715 w 731"/>
                <a:gd name="T39" fmla="*/ 32 h 316"/>
                <a:gd name="T40" fmla="*/ 801 w 731"/>
                <a:gd name="T41" fmla="*/ 32 h 316"/>
                <a:gd name="T42" fmla="*/ 902 w 731"/>
                <a:gd name="T43" fmla="*/ 33 h 316"/>
                <a:gd name="T44" fmla="*/ 1015 w 731"/>
                <a:gd name="T45" fmla="*/ 33 h 316"/>
                <a:gd name="T46" fmla="*/ 1132 w 731"/>
                <a:gd name="T47" fmla="*/ 33 h 316"/>
                <a:gd name="T48" fmla="*/ 1238 w 731"/>
                <a:gd name="T49" fmla="*/ 33 h 316"/>
                <a:gd name="T50" fmla="*/ 1328 w 731"/>
                <a:gd name="T51" fmla="*/ 33 h 316"/>
                <a:gd name="T52" fmla="*/ 1408 w 731"/>
                <a:gd name="T53" fmla="*/ 33 h 316"/>
                <a:gd name="T54" fmla="*/ 1392 w 731"/>
                <a:gd name="T55" fmla="*/ 33 h 316"/>
                <a:gd name="T56" fmla="*/ 1320 w 731"/>
                <a:gd name="T57" fmla="*/ 33 h 316"/>
                <a:gd name="T58" fmla="*/ 1258 w 731"/>
                <a:gd name="T59" fmla="*/ 33 h 316"/>
                <a:gd name="T60" fmla="*/ 1183 w 731"/>
                <a:gd name="T61" fmla="*/ 30 h 316"/>
                <a:gd name="T62" fmla="*/ 1107 w 731"/>
                <a:gd name="T63" fmla="*/ 30 h 316"/>
                <a:gd name="T64" fmla="*/ 1026 w 731"/>
                <a:gd name="T65" fmla="*/ 30 h 316"/>
                <a:gd name="T66" fmla="*/ 945 w 731"/>
                <a:gd name="T67" fmla="*/ 29 h 316"/>
                <a:gd name="T68" fmla="*/ 864 w 731"/>
                <a:gd name="T69" fmla="*/ 28 h 316"/>
                <a:gd name="T70" fmla="*/ 775 w 731"/>
                <a:gd name="T71" fmla="*/ 28 h 316"/>
                <a:gd name="T72" fmla="*/ 694 w 731"/>
                <a:gd name="T73" fmla="*/ 27 h 316"/>
                <a:gd name="T74" fmla="*/ 604 w 731"/>
                <a:gd name="T75" fmla="*/ 26 h 316"/>
                <a:gd name="T76" fmla="*/ 542 w 731"/>
                <a:gd name="T77" fmla="*/ 26 h 316"/>
                <a:gd name="T78" fmla="*/ 472 w 731"/>
                <a:gd name="T79" fmla="*/ 25 h 316"/>
                <a:gd name="T80" fmla="*/ 409 w 731"/>
                <a:gd name="T81" fmla="*/ 24 h 316"/>
                <a:gd name="T82" fmla="*/ 348 w 731"/>
                <a:gd name="T83" fmla="*/ 24 h 316"/>
                <a:gd name="T84" fmla="*/ 284 w 731"/>
                <a:gd name="T85" fmla="*/ 24 h 316"/>
                <a:gd name="T86" fmla="*/ 864 w 731"/>
                <a:gd name="T87" fmla="*/ 0 h 3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31"/>
                <a:gd name="T133" fmla="*/ 0 h 316"/>
                <a:gd name="T134" fmla="*/ 731 w 731"/>
                <a:gd name="T135" fmla="*/ 316 h 3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31" h="316">
                  <a:moveTo>
                    <a:pt x="443" y="0"/>
                  </a:moveTo>
                  <a:lnTo>
                    <a:pt x="425" y="6"/>
                  </a:lnTo>
                  <a:lnTo>
                    <a:pt x="402" y="17"/>
                  </a:lnTo>
                  <a:lnTo>
                    <a:pt x="384" y="26"/>
                  </a:lnTo>
                  <a:lnTo>
                    <a:pt x="366" y="37"/>
                  </a:lnTo>
                  <a:lnTo>
                    <a:pt x="347" y="45"/>
                  </a:lnTo>
                  <a:lnTo>
                    <a:pt x="329" y="57"/>
                  </a:lnTo>
                  <a:lnTo>
                    <a:pt x="306" y="65"/>
                  </a:lnTo>
                  <a:lnTo>
                    <a:pt x="288" y="77"/>
                  </a:lnTo>
                  <a:lnTo>
                    <a:pt x="265" y="88"/>
                  </a:lnTo>
                  <a:lnTo>
                    <a:pt x="247" y="100"/>
                  </a:lnTo>
                  <a:lnTo>
                    <a:pt x="228" y="108"/>
                  </a:lnTo>
                  <a:lnTo>
                    <a:pt x="210" y="120"/>
                  </a:lnTo>
                  <a:lnTo>
                    <a:pt x="192" y="128"/>
                  </a:lnTo>
                  <a:lnTo>
                    <a:pt x="178" y="139"/>
                  </a:lnTo>
                  <a:lnTo>
                    <a:pt x="160" y="148"/>
                  </a:lnTo>
                  <a:lnTo>
                    <a:pt x="142" y="159"/>
                  </a:lnTo>
                  <a:lnTo>
                    <a:pt x="128" y="168"/>
                  </a:lnTo>
                  <a:lnTo>
                    <a:pt x="114" y="176"/>
                  </a:lnTo>
                  <a:lnTo>
                    <a:pt x="96" y="188"/>
                  </a:lnTo>
                  <a:lnTo>
                    <a:pt x="87" y="196"/>
                  </a:lnTo>
                  <a:lnTo>
                    <a:pt x="73" y="202"/>
                  </a:lnTo>
                  <a:lnTo>
                    <a:pt x="59" y="211"/>
                  </a:lnTo>
                  <a:lnTo>
                    <a:pt x="50" y="219"/>
                  </a:lnTo>
                  <a:lnTo>
                    <a:pt x="41" y="225"/>
                  </a:lnTo>
                  <a:lnTo>
                    <a:pt x="23" y="233"/>
                  </a:lnTo>
                  <a:lnTo>
                    <a:pt x="14" y="242"/>
                  </a:lnTo>
                  <a:lnTo>
                    <a:pt x="5" y="248"/>
                  </a:lnTo>
                  <a:lnTo>
                    <a:pt x="0" y="251"/>
                  </a:lnTo>
                  <a:lnTo>
                    <a:pt x="5" y="251"/>
                  </a:lnTo>
                  <a:lnTo>
                    <a:pt x="14" y="251"/>
                  </a:lnTo>
                  <a:lnTo>
                    <a:pt x="23" y="253"/>
                  </a:lnTo>
                  <a:lnTo>
                    <a:pt x="37" y="253"/>
                  </a:lnTo>
                  <a:lnTo>
                    <a:pt x="46" y="253"/>
                  </a:lnTo>
                  <a:lnTo>
                    <a:pt x="55" y="256"/>
                  </a:lnTo>
                  <a:lnTo>
                    <a:pt x="69" y="259"/>
                  </a:lnTo>
                  <a:lnTo>
                    <a:pt x="82" y="262"/>
                  </a:lnTo>
                  <a:lnTo>
                    <a:pt x="91" y="262"/>
                  </a:lnTo>
                  <a:lnTo>
                    <a:pt x="105" y="265"/>
                  </a:lnTo>
                  <a:lnTo>
                    <a:pt x="114" y="265"/>
                  </a:lnTo>
                  <a:lnTo>
                    <a:pt x="128" y="268"/>
                  </a:lnTo>
                  <a:lnTo>
                    <a:pt x="142" y="268"/>
                  </a:lnTo>
                  <a:lnTo>
                    <a:pt x="155" y="270"/>
                  </a:lnTo>
                  <a:lnTo>
                    <a:pt x="169" y="270"/>
                  </a:lnTo>
                  <a:lnTo>
                    <a:pt x="183" y="273"/>
                  </a:lnTo>
                  <a:lnTo>
                    <a:pt x="192" y="273"/>
                  </a:lnTo>
                  <a:lnTo>
                    <a:pt x="210" y="276"/>
                  </a:lnTo>
                  <a:lnTo>
                    <a:pt x="224" y="279"/>
                  </a:lnTo>
                  <a:lnTo>
                    <a:pt x="238" y="282"/>
                  </a:lnTo>
                  <a:lnTo>
                    <a:pt x="247" y="282"/>
                  </a:lnTo>
                  <a:lnTo>
                    <a:pt x="260" y="282"/>
                  </a:lnTo>
                  <a:lnTo>
                    <a:pt x="274" y="282"/>
                  </a:lnTo>
                  <a:lnTo>
                    <a:pt x="288" y="285"/>
                  </a:lnTo>
                  <a:lnTo>
                    <a:pt x="297" y="288"/>
                  </a:lnTo>
                  <a:lnTo>
                    <a:pt x="311" y="288"/>
                  </a:lnTo>
                  <a:lnTo>
                    <a:pt x="320" y="288"/>
                  </a:lnTo>
                  <a:lnTo>
                    <a:pt x="329" y="290"/>
                  </a:lnTo>
                  <a:lnTo>
                    <a:pt x="338" y="290"/>
                  </a:lnTo>
                  <a:lnTo>
                    <a:pt x="352" y="290"/>
                  </a:lnTo>
                  <a:lnTo>
                    <a:pt x="366" y="293"/>
                  </a:lnTo>
                  <a:lnTo>
                    <a:pt x="379" y="293"/>
                  </a:lnTo>
                  <a:lnTo>
                    <a:pt x="393" y="293"/>
                  </a:lnTo>
                  <a:lnTo>
                    <a:pt x="411" y="293"/>
                  </a:lnTo>
                  <a:lnTo>
                    <a:pt x="425" y="296"/>
                  </a:lnTo>
                  <a:lnTo>
                    <a:pt x="448" y="299"/>
                  </a:lnTo>
                  <a:lnTo>
                    <a:pt x="462" y="299"/>
                  </a:lnTo>
                  <a:lnTo>
                    <a:pt x="480" y="302"/>
                  </a:lnTo>
                  <a:lnTo>
                    <a:pt x="503" y="302"/>
                  </a:lnTo>
                  <a:lnTo>
                    <a:pt x="521" y="305"/>
                  </a:lnTo>
                  <a:lnTo>
                    <a:pt x="539" y="305"/>
                  </a:lnTo>
                  <a:lnTo>
                    <a:pt x="558" y="307"/>
                  </a:lnTo>
                  <a:lnTo>
                    <a:pt x="580" y="310"/>
                  </a:lnTo>
                  <a:lnTo>
                    <a:pt x="599" y="310"/>
                  </a:lnTo>
                  <a:lnTo>
                    <a:pt x="617" y="310"/>
                  </a:lnTo>
                  <a:lnTo>
                    <a:pt x="635" y="310"/>
                  </a:lnTo>
                  <a:lnTo>
                    <a:pt x="649" y="313"/>
                  </a:lnTo>
                  <a:lnTo>
                    <a:pt x="672" y="313"/>
                  </a:lnTo>
                  <a:lnTo>
                    <a:pt x="681" y="313"/>
                  </a:lnTo>
                  <a:lnTo>
                    <a:pt x="699" y="316"/>
                  </a:lnTo>
                  <a:lnTo>
                    <a:pt x="708" y="316"/>
                  </a:lnTo>
                  <a:lnTo>
                    <a:pt x="722" y="316"/>
                  </a:lnTo>
                  <a:lnTo>
                    <a:pt x="731" y="316"/>
                  </a:lnTo>
                  <a:lnTo>
                    <a:pt x="731" y="313"/>
                  </a:lnTo>
                  <a:lnTo>
                    <a:pt x="713" y="310"/>
                  </a:lnTo>
                  <a:lnTo>
                    <a:pt x="695" y="307"/>
                  </a:lnTo>
                  <a:lnTo>
                    <a:pt x="690" y="305"/>
                  </a:lnTo>
                  <a:lnTo>
                    <a:pt x="676" y="302"/>
                  </a:lnTo>
                  <a:lnTo>
                    <a:pt x="667" y="302"/>
                  </a:lnTo>
                  <a:lnTo>
                    <a:pt x="658" y="302"/>
                  </a:lnTo>
                  <a:lnTo>
                    <a:pt x="644" y="299"/>
                  </a:lnTo>
                  <a:lnTo>
                    <a:pt x="635" y="296"/>
                  </a:lnTo>
                  <a:lnTo>
                    <a:pt x="617" y="293"/>
                  </a:lnTo>
                  <a:lnTo>
                    <a:pt x="608" y="290"/>
                  </a:lnTo>
                  <a:lnTo>
                    <a:pt x="590" y="290"/>
                  </a:lnTo>
                  <a:lnTo>
                    <a:pt x="580" y="288"/>
                  </a:lnTo>
                  <a:lnTo>
                    <a:pt x="567" y="285"/>
                  </a:lnTo>
                  <a:lnTo>
                    <a:pt x="558" y="285"/>
                  </a:lnTo>
                  <a:lnTo>
                    <a:pt x="539" y="282"/>
                  </a:lnTo>
                  <a:lnTo>
                    <a:pt x="526" y="279"/>
                  </a:lnTo>
                  <a:lnTo>
                    <a:pt x="512" y="276"/>
                  </a:lnTo>
                  <a:lnTo>
                    <a:pt x="503" y="273"/>
                  </a:lnTo>
                  <a:lnTo>
                    <a:pt x="484" y="270"/>
                  </a:lnTo>
                  <a:lnTo>
                    <a:pt x="471" y="268"/>
                  </a:lnTo>
                  <a:lnTo>
                    <a:pt x="457" y="265"/>
                  </a:lnTo>
                  <a:lnTo>
                    <a:pt x="443" y="265"/>
                  </a:lnTo>
                  <a:lnTo>
                    <a:pt x="425" y="262"/>
                  </a:lnTo>
                  <a:lnTo>
                    <a:pt x="411" y="259"/>
                  </a:lnTo>
                  <a:lnTo>
                    <a:pt x="398" y="253"/>
                  </a:lnTo>
                  <a:lnTo>
                    <a:pt x="384" y="253"/>
                  </a:lnTo>
                  <a:lnTo>
                    <a:pt x="370" y="251"/>
                  </a:lnTo>
                  <a:lnTo>
                    <a:pt x="356" y="248"/>
                  </a:lnTo>
                  <a:lnTo>
                    <a:pt x="343" y="245"/>
                  </a:lnTo>
                  <a:lnTo>
                    <a:pt x="329" y="242"/>
                  </a:lnTo>
                  <a:lnTo>
                    <a:pt x="311" y="239"/>
                  </a:lnTo>
                  <a:lnTo>
                    <a:pt x="302" y="239"/>
                  </a:lnTo>
                  <a:lnTo>
                    <a:pt x="292" y="233"/>
                  </a:lnTo>
                  <a:lnTo>
                    <a:pt x="279" y="233"/>
                  </a:lnTo>
                  <a:lnTo>
                    <a:pt x="265" y="231"/>
                  </a:lnTo>
                  <a:lnTo>
                    <a:pt x="256" y="231"/>
                  </a:lnTo>
                  <a:lnTo>
                    <a:pt x="242" y="228"/>
                  </a:lnTo>
                  <a:lnTo>
                    <a:pt x="238" y="225"/>
                  </a:lnTo>
                  <a:lnTo>
                    <a:pt x="224" y="225"/>
                  </a:lnTo>
                  <a:lnTo>
                    <a:pt x="210" y="222"/>
                  </a:lnTo>
                  <a:lnTo>
                    <a:pt x="201" y="219"/>
                  </a:lnTo>
                  <a:lnTo>
                    <a:pt x="192" y="219"/>
                  </a:lnTo>
                  <a:lnTo>
                    <a:pt x="178" y="216"/>
                  </a:lnTo>
                  <a:lnTo>
                    <a:pt x="169" y="214"/>
                  </a:lnTo>
                  <a:lnTo>
                    <a:pt x="155" y="211"/>
                  </a:lnTo>
                  <a:lnTo>
                    <a:pt x="146" y="211"/>
                  </a:lnTo>
                  <a:lnTo>
                    <a:pt x="142" y="211"/>
                  </a:lnTo>
                  <a:lnTo>
                    <a:pt x="443"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49" name="Freeform 160"/>
            <p:cNvSpPr>
              <a:spLocks/>
            </p:cNvSpPr>
            <p:nvPr>
              <p:custDataLst>
                <p:tags r:id="rId148"/>
              </p:custDataLst>
            </p:nvPr>
          </p:nvSpPr>
          <p:spPr bwMode="gray">
            <a:xfrm>
              <a:off x="2047" y="511"/>
              <a:ext cx="988" cy="211"/>
            </a:xfrm>
            <a:custGeom>
              <a:avLst/>
              <a:gdLst>
                <a:gd name="T0" fmla="*/ 58 w 964"/>
                <a:gd name="T1" fmla="*/ 20 h 231"/>
                <a:gd name="T2" fmla="*/ 163 w 964"/>
                <a:gd name="T3" fmla="*/ 18 h 231"/>
                <a:gd name="T4" fmla="*/ 241 w 964"/>
                <a:gd name="T5" fmla="*/ 16 h 231"/>
                <a:gd name="T6" fmla="*/ 301 w 964"/>
                <a:gd name="T7" fmla="*/ 15 h 231"/>
                <a:gd name="T8" fmla="*/ 373 w 964"/>
                <a:gd name="T9" fmla="*/ 13 h 231"/>
                <a:gd name="T10" fmla="*/ 434 w 964"/>
                <a:gd name="T11" fmla="*/ 13 h 231"/>
                <a:gd name="T12" fmla="*/ 503 w 964"/>
                <a:gd name="T13" fmla="*/ 11 h 231"/>
                <a:gd name="T14" fmla="*/ 563 w 964"/>
                <a:gd name="T15" fmla="*/ 10 h 231"/>
                <a:gd name="T16" fmla="*/ 633 w 964"/>
                <a:gd name="T17" fmla="*/ 8 h 231"/>
                <a:gd name="T18" fmla="*/ 695 w 964"/>
                <a:gd name="T19" fmla="*/ 6 h 231"/>
                <a:gd name="T20" fmla="*/ 761 w 964"/>
                <a:gd name="T21" fmla="*/ 5 h 231"/>
                <a:gd name="T22" fmla="*/ 824 w 964"/>
                <a:gd name="T23" fmla="*/ 5 h 231"/>
                <a:gd name="T24" fmla="*/ 881 w 964"/>
                <a:gd name="T25" fmla="*/ 5 h 231"/>
                <a:gd name="T26" fmla="*/ 942 w 964"/>
                <a:gd name="T27" fmla="*/ 5 h 231"/>
                <a:gd name="T28" fmla="*/ 1039 w 964"/>
                <a:gd name="T29" fmla="*/ 5 h 231"/>
                <a:gd name="T30" fmla="*/ 1137 w 964"/>
                <a:gd name="T31" fmla="*/ 5 h 231"/>
                <a:gd name="T32" fmla="*/ 1224 w 964"/>
                <a:gd name="T33" fmla="*/ 0 h 231"/>
                <a:gd name="T34" fmla="*/ 1291 w 964"/>
                <a:gd name="T35" fmla="*/ 0 h 231"/>
                <a:gd name="T36" fmla="*/ 1367 w 964"/>
                <a:gd name="T37" fmla="*/ 0 h 231"/>
                <a:gd name="T38" fmla="*/ 1437 w 964"/>
                <a:gd name="T39" fmla="*/ 5 h 231"/>
                <a:gd name="T40" fmla="*/ 1525 w 964"/>
                <a:gd name="T41" fmla="*/ 5 h 231"/>
                <a:gd name="T42" fmla="*/ 1594 w 964"/>
                <a:gd name="T43" fmla="*/ 5 h 231"/>
                <a:gd name="T44" fmla="*/ 1665 w 964"/>
                <a:gd name="T45" fmla="*/ 5 h 231"/>
                <a:gd name="T46" fmla="*/ 1731 w 964"/>
                <a:gd name="T47" fmla="*/ 5 h 231"/>
                <a:gd name="T48" fmla="*/ 1811 w 964"/>
                <a:gd name="T49" fmla="*/ 5 h 231"/>
                <a:gd name="T50" fmla="*/ 1825 w 964"/>
                <a:gd name="T51" fmla="*/ 5 h 231"/>
                <a:gd name="T52" fmla="*/ 1760 w 964"/>
                <a:gd name="T53" fmla="*/ 5 h 231"/>
                <a:gd name="T54" fmla="*/ 1665 w 964"/>
                <a:gd name="T55" fmla="*/ 5 h 231"/>
                <a:gd name="T56" fmla="*/ 1603 w 964"/>
                <a:gd name="T57" fmla="*/ 5 h 231"/>
                <a:gd name="T58" fmla="*/ 1525 w 964"/>
                <a:gd name="T59" fmla="*/ 5 h 231"/>
                <a:gd name="T60" fmla="*/ 1437 w 964"/>
                <a:gd name="T61" fmla="*/ 5 h 231"/>
                <a:gd name="T62" fmla="*/ 1353 w 964"/>
                <a:gd name="T63" fmla="*/ 5 h 231"/>
                <a:gd name="T64" fmla="*/ 1264 w 964"/>
                <a:gd name="T65" fmla="*/ 5 h 231"/>
                <a:gd name="T66" fmla="*/ 1179 w 964"/>
                <a:gd name="T67" fmla="*/ 5 h 231"/>
                <a:gd name="T68" fmla="*/ 1083 w 964"/>
                <a:gd name="T69" fmla="*/ 5 h 231"/>
                <a:gd name="T70" fmla="*/ 987 w 964"/>
                <a:gd name="T71" fmla="*/ 5 h 231"/>
                <a:gd name="T72" fmla="*/ 924 w 964"/>
                <a:gd name="T73" fmla="*/ 5 h 231"/>
                <a:gd name="T74" fmla="*/ 868 w 964"/>
                <a:gd name="T75" fmla="*/ 7 h 231"/>
                <a:gd name="T76" fmla="*/ 789 w 964"/>
                <a:gd name="T77" fmla="*/ 9 h 231"/>
                <a:gd name="T78" fmla="*/ 717 w 964"/>
                <a:gd name="T79" fmla="*/ 10 h 231"/>
                <a:gd name="T80" fmla="*/ 650 w 964"/>
                <a:gd name="T81" fmla="*/ 11 h 231"/>
                <a:gd name="T82" fmla="*/ 574 w 964"/>
                <a:gd name="T83" fmla="*/ 12 h 231"/>
                <a:gd name="T84" fmla="*/ 503 w 964"/>
                <a:gd name="T85" fmla="*/ 13 h 231"/>
                <a:gd name="T86" fmla="*/ 434 w 964"/>
                <a:gd name="T87" fmla="*/ 14 h 231"/>
                <a:gd name="T88" fmla="*/ 356 w 964"/>
                <a:gd name="T89" fmla="*/ 15 h 231"/>
                <a:gd name="T90" fmla="*/ 294 w 964"/>
                <a:gd name="T91" fmla="*/ 16 h 231"/>
                <a:gd name="T92" fmla="*/ 234 w 964"/>
                <a:gd name="T93" fmla="*/ 18 h 231"/>
                <a:gd name="T94" fmla="*/ 163 w 964"/>
                <a:gd name="T95" fmla="*/ 18 h 231"/>
                <a:gd name="T96" fmla="*/ 65 w 964"/>
                <a:gd name="T97" fmla="*/ 21 h 231"/>
                <a:gd name="T98" fmla="*/ 0 w 964"/>
                <a:gd name="T99" fmla="*/ 22 h 2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64"/>
                <a:gd name="T151" fmla="*/ 0 h 231"/>
                <a:gd name="T152" fmla="*/ 964 w 964"/>
                <a:gd name="T153" fmla="*/ 231 h 23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64" h="231">
                  <a:moveTo>
                    <a:pt x="0" y="231"/>
                  </a:moveTo>
                  <a:lnTo>
                    <a:pt x="14" y="222"/>
                  </a:lnTo>
                  <a:lnTo>
                    <a:pt x="32" y="214"/>
                  </a:lnTo>
                  <a:lnTo>
                    <a:pt x="46" y="202"/>
                  </a:lnTo>
                  <a:lnTo>
                    <a:pt x="69" y="197"/>
                  </a:lnTo>
                  <a:lnTo>
                    <a:pt x="87" y="185"/>
                  </a:lnTo>
                  <a:lnTo>
                    <a:pt x="105" y="177"/>
                  </a:lnTo>
                  <a:lnTo>
                    <a:pt x="119" y="171"/>
                  </a:lnTo>
                  <a:lnTo>
                    <a:pt x="128" y="168"/>
                  </a:lnTo>
                  <a:lnTo>
                    <a:pt x="142" y="163"/>
                  </a:lnTo>
                  <a:lnTo>
                    <a:pt x="151" y="157"/>
                  </a:lnTo>
                  <a:lnTo>
                    <a:pt x="160" y="154"/>
                  </a:lnTo>
                  <a:lnTo>
                    <a:pt x="169" y="148"/>
                  </a:lnTo>
                  <a:lnTo>
                    <a:pt x="183" y="143"/>
                  </a:lnTo>
                  <a:lnTo>
                    <a:pt x="197" y="137"/>
                  </a:lnTo>
                  <a:lnTo>
                    <a:pt x="206" y="134"/>
                  </a:lnTo>
                  <a:lnTo>
                    <a:pt x="220" y="128"/>
                  </a:lnTo>
                  <a:lnTo>
                    <a:pt x="229" y="126"/>
                  </a:lnTo>
                  <a:lnTo>
                    <a:pt x="238" y="120"/>
                  </a:lnTo>
                  <a:lnTo>
                    <a:pt x="256" y="114"/>
                  </a:lnTo>
                  <a:lnTo>
                    <a:pt x="265" y="111"/>
                  </a:lnTo>
                  <a:lnTo>
                    <a:pt x="274" y="106"/>
                  </a:lnTo>
                  <a:lnTo>
                    <a:pt x="288" y="103"/>
                  </a:lnTo>
                  <a:lnTo>
                    <a:pt x="297" y="97"/>
                  </a:lnTo>
                  <a:lnTo>
                    <a:pt x="311" y="91"/>
                  </a:lnTo>
                  <a:lnTo>
                    <a:pt x="325" y="91"/>
                  </a:lnTo>
                  <a:lnTo>
                    <a:pt x="334" y="86"/>
                  </a:lnTo>
                  <a:lnTo>
                    <a:pt x="343" y="80"/>
                  </a:lnTo>
                  <a:lnTo>
                    <a:pt x="357" y="77"/>
                  </a:lnTo>
                  <a:lnTo>
                    <a:pt x="366" y="71"/>
                  </a:lnTo>
                  <a:lnTo>
                    <a:pt x="379" y="69"/>
                  </a:lnTo>
                  <a:lnTo>
                    <a:pt x="389" y="66"/>
                  </a:lnTo>
                  <a:lnTo>
                    <a:pt x="402" y="60"/>
                  </a:lnTo>
                  <a:lnTo>
                    <a:pt x="411" y="57"/>
                  </a:lnTo>
                  <a:lnTo>
                    <a:pt x="425" y="54"/>
                  </a:lnTo>
                  <a:lnTo>
                    <a:pt x="434" y="49"/>
                  </a:lnTo>
                  <a:lnTo>
                    <a:pt x="448" y="49"/>
                  </a:lnTo>
                  <a:lnTo>
                    <a:pt x="457" y="43"/>
                  </a:lnTo>
                  <a:lnTo>
                    <a:pt x="466" y="40"/>
                  </a:lnTo>
                  <a:lnTo>
                    <a:pt x="480" y="37"/>
                  </a:lnTo>
                  <a:lnTo>
                    <a:pt x="489" y="34"/>
                  </a:lnTo>
                  <a:lnTo>
                    <a:pt x="498" y="32"/>
                  </a:lnTo>
                  <a:lnTo>
                    <a:pt x="512" y="29"/>
                  </a:lnTo>
                  <a:lnTo>
                    <a:pt x="530" y="23"/>
                  </a:lnTo>
                  <a:lnTo>
                    <a:pt x="549" y="17"/>
                  </a:lnTo>
                  <a:lnTo>
                    <a:pt x="567" y="15"/>
                  </a:lnTo>
                  <a:lnTo>
                    <a:pt x="585" y="9"/>
                  </a:lnTo>
                  <a:lnTo>
                    <a:pt x="599" y="6"/>
                  </a:lnTo>
                  <a:lnTo>
                    <a:pt x="617" y="6"/>
                  </a:lnTo>
                  <a:lnTo>
                    <a:pt x="631" y="0"/>
                  </a:lnTo>
                  <a:lnTo>
                    <a:pt x="645" y="0"/>
                  </a:lnTo>
                  <a:lnTo>
                    <a:pt x="654" y="0"/>
                  </a:lnTo>
                  <a:lnTo>
                    <a:pt x="667" y="0"/>
                  </a:lnTo>
                  <a:lnTo>
                    <a:pt x="681" y="0"/>
                  </a:lnTo>
                  <a:lnTo>
                    <a:pt x="695" y="0"/>
                  </a:lnTo>
                  <a:lnTo>
                    <a:pt x="704" y="0"/>
                  </a:lnTo>
                  <a:lnTo>
                    <a:pt x="722" y="0"/>
                  </a:lnTo>
                  <a:lnTo>
                    <a:pt x="736" y="3"/>
                  </a:lnTo>
                  <a:lnTo>
                    <a:pt x="750" y="6"/>
                  </a:lnTo>
                  <a:lnTo>
                    <a:pt x="759" y="6"/>
                  </a:lnTo>
                  <a:lnTo>
                    <a:pt x="777" y="9"/>
                  </a:lnTo>
                  <a:lnTo>
                    <a:pt x="786" y="12"/>
                  </a:lnTo>
                  <a:lnTo>
                    <a:pt x="804" y="17"/>
                  </a:lnTo>
                  <a:lnTo>
                    <a:pt x="814" y="17"/>
                  </a:lnTo>
                  <a:lnTo>
                    <a:pt x="827" y="20"/>
                  </a:lnTo>
                  <a:lnTo>
                    <a:pt x="841" y="23"/>
                  </a:lnTo>
                  <a:lnTo>
                    <a:pt x="855" y="29"/>
                  </a:lnTo>
                  <a:lnTo>
                    <a:pt x="864" y="29"/>
                  </a:lnTo>
                  <a:lnTo>
                    <a:pt x="878" y="34"/>
                  </a:lnTo>
                  <a:lnTo>
                    <a:pt x="887" y="37"/>
                  </a:lnTo>
                  <a:lnTo>
                    <a:pt x="896" y="40"/>
                  </a:lnTo>
                  <a:lnTo>
                    <a:pt x="914" y="43"/>
                  </a:lnTo>
                  <a:lnTo>
                    <a:pt x="932" y="49"/>
                  </a:lnTo>
                  <a:lnTo>
                    <a:pt x="946" y="54"/>
                  </a:lnTo>
                  <a:lnTo>
                    <a:pt x="955" y="57"/>
                  </a:lnTo>
                  <a:lnTo>
                    <a:pt x="964" y="60"/>
                  </a:lnTo>
                  <a:lnTo>
                    <a:pt x="955" y="60"/>
                  </a:lnTo>
                  <a:lnTo>
                    <a:pt x="946" y="57"/>
                  </a:lnTo>
                  <a:lnTo>
                    <a:pt x="928" y="54"/>
                  </a:lnTo>
                  <a:lnTo>
                    <a:pt x="910" y="49"/>
                  </a:lnTo>
                  <a:lnTo>
                    <a:pt x="891" y="49"/>
                  </a:lnTo>
                  <a:lnTo>
                    <a:pt x="878" y="46"/>
                  </a:lnTo>
                  <a:lnTo>
                    <a:pt x="868" y="43"/>
                  </a:lnTo>
                  <a:lnTo>
                    <a:pt x="859" y="43"/>
                  </a:lnTo>
                  <a:lnTo>
                    <a:pt x="846" y="43"/>
                  </a:lnTo>
                  <a:lnTo>
                    <a:pt x="832" y="40"/>
                  </a:lnTo>
                  <a:lnTo>
                    <a:pt x="823" y="37"/>
                  </a:lnTo>
                  <a:lnTo>
                    <a:pt x="804" y="37"/>
                  </a:lnTo>
                  <a:lnTo>
                    <a:pt x="791" y="37"/>
                  </a:lnTo>
                  <a:lnTo>
                    <a:pt x="772" y="34"/>
                  </a:lnTo>
                  <a:lnTo>
                    <a:pt x="759" y="34"/>
                  </a:lnTo>
                  <a:lnTo>
                    <a:pt x="745" y="34"/>
                  </a:lnTo>
                  <a:lnTo>
                    <a:pt x="731" y="34"/>
                  </a:lnTo>
                  <a:lnTo>
                    <a:pt x="713" y="32"/>
                  </a:lnTo>
                  <a:lnTo>
                    <a:pt x="699" y="32"/>
                  </a:lnTo>
                  <a:lnTo>
                    <a:pt x="681" y="32"/>
                  </a:lnTo>
                  <a:lnTo>
                    <a:pt x="667" y="34"/>
                  </a:lnTo>
                  <a:lnTo>
                    <a:pt x="654" y="34"/>
                  </a:lnTo>
                  <a:lnTo>
                    <a:pt x="635" y="37"/>
                  </a:lnTo>
                  <a:lnTo>
                    <a:pt x="622" y="37"/>
                  </a:lnTo>
                  <a:lnTo>
                    <a:pt x="608" y="43"/>
                  </a:lnTo>
                  <a:lnTo>
                    <a:pt x="585" y="43"/>
                  </a:lnTo>
                  <a:lnTo>
                    <a:pt x="571" y="46"/>
                  </a:lnTo>
                  <a:lnTo>
                    <a:pt x="549" y="49"/>
                  </a:lnTo>
                  <a:lnTo>
                    <a:pt x="530" y="57"/>
                  </a:lnTo>
                  <a:lnTo>
                    <a:pt x="521" y="57"/>
                  </a:lnTo>
                  <a:lnTo>
                    <a:pt x="512" y="60"/>
                  </a:lnTo>
                  <a:lnTo>
                    <a:pt x="498" y="63"/>
                  </a:lnTo>
                  <a:lnTo>
                    <a:pt x="489" y="66"/>
                  </a:lnTo>
                  <a:lnTo>
                    <a:pt x="480" y="71"/>
                  </a:lnTo>
                  <a:lnTo>
                    <a:pt x="466" y="71"/>
                  </a:lnTo>
                  <a:lnTo>
                    <a:pt x="457" y="77"/>
                  </a:lnTo>
                  <a:lnTo>
                    <a:pt x="443" y="80"/>
                  </a:lnTo>
                  <a:lnTo>
                    <a:pt x="430" y="83"/>
                  </a:lnTo>
                  <a:lnTo>
                    <a:pt x="416" y="89"/>
                  </a:lnTo>
                  <a:lnTo>
                    <a:pt x="402" y="91"/>
                  </a:lnTo>
                  <a:lnTo>
                    <a:pt x="393" y="94"/>
                  </a:lnTo>
                  <a:lnTo>
                    <a:pt x="379" y="97"/>
                  </a:lnTo>
                  <a:lnTo>
                    <a:pt x="366" y="103"/>
                  </a:lnTo>
                  <a:lnTo>
                    <a:pt x="357" y="106"/>
                  </a:lnTo>
                  <a:lnTo>
                    <a:pt x="343" y="111"/>
                  </a:lnTo>
                  <a:lnTo>
                    <a:pt x="325" y="114"/>
                  </a:lnTo>
                  <a:lnTo>
                    <a:pt x="311" y="117"/>
                  </a:lnTo>
                  <a:lnTo>
                    <a:pt x="302" y="123"/>
                  </a:lnTo>
                  <a:lnTo>
                    <a:pt x="288" y="128"/>
                  </a:lnTo>
                  <a:lnTo>
                    <a:pt x="274" y="131"/>
                  </a:lnTo>
                  <a:lnTo>
                    <a:pt x="265" y="134"/>
                  </a:lnTo>
                  <a:lnTo>
                    <a:pt x="256" y="140"/>
                  </a:lnTo>
                  <a:lnTo>
                    <a:pt x="238" y="145"/>
                  </a:lnTo>
                  <a:lnTo>
                    <a:pt x="229" y="148"/>
                  </a:lnTo>
                  <a:lnTo>
                    <a:pt x="215" y="151"/>
                  </a:lnTo>
                  <a:lnTo>
                    <a:pt x="201" y="157"/>
                  </a:lnTo>
                  <a:lnTo>
                    <a:pt x="188" y="160"/>
                  </a:lnTo>
                  <a:lnTo>
                    <a:pt x="178" y="163"/>
                  </a:lnTo>
                  <a:lnTo>
                    <a:pt x="169" y="168"/>
                  </a:lnTo>
                  <a:lnTo>
                    <a:pt x="156" y="171"/>
                  </a:lnTo>
                  <a:lnTo>
                    <a:pt x="146" y="177"/>
                  </a:lnTo>
                  <a:lnTo>
                    <a:pt x="133" y="180"/>
                  </a:lnTo>
                  <a:lnTo>
                    <a:pt x="124" y="183"/>
                  </a:lnTo>
                  <a:lnTo>
                    <a:pt x="114" y="185"/>
                  </a:lnTo>
                  <a:lnTo>
                    <a:pt x="105" y="191"/>
                  </a:lnTo>
                  <a:lnTo>
                    <a:pt x="87" y="197"/>
                  </a:lnTo>
                  <a:lnTo>
                    <a:pt x="69" y="205"/>
                  </a:lnTo>
                  <a:lnTo>
                    <a:pt x="55" y="211"/>
                  </a:lnTo>
                  <a:lnTo>
                    <a:pt x="37" y="217"/>
                  </a:lnTo>
                  <a:lnTo>
                    <a:pt x="28" y="220"/>
                  </a:lnTo>
                  <a:lnTo>
                    <a:pt x="18" y="225"/>
                  </a:lnTo>
                  <a:lnTo>
                    <a:pt x="0" y="231"/>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50" name="Freeform 161"/>
            <p:cNvSpPr>
              <a:spLocks/>
            </p:cNvSpPr>
            <p:nvPr>
              <p:custDataLst>
                <p:tags r:id="rId149"/>
              </p:custDataLst>
            </p:nvPr>
          </p:nvSpPr>
          <p:spPr bwMode="gray">
            <a:xfrm>
              <a:off x="4230" y="923"/>
              <a:ext cx="797" cy="336"/>
            </a:xfrm>
            <a:custGeom>
              <a:avLst/>
              <a:gdLst>
                <a:gd name="T0" fmla="*/ 49 w 777"/>
                <a:gd name="T1" fmla="*/ 5 h 367"/>
                <a:gd name="T2" fmla="*/ 125 w 777"/>
                <a:gd name="T3" fmla="*/ 5 h 367"/>
                <a:gd name="T4" fmla="*/ 196 w 777"/>
                <a:gd name="T5" fmla="*/ 5 h 367"/>
                <a:gd name="T6" fmla="*/ 267 w 777"/>
                <a:gd name="T7" fmla="*/ 5 h 367"/>
                <a:gd name="T8" fmla="*/ 354 w 777"/>
                <a:gd name="T9" fmla="*/ 6 h 367"/>
                <a:gd name="T10" fmla="*/ 441 w 777"/>
                <a:gd name="T11" fmla="*/ 9 h 367"/>
                <a:gd name="T12" fmla="*/ 541 w 777"/>
                <a:gd name="T13" fmla="*/ 12 h 367"/>
                <a:gd name="T14" fmla="*/ 636 w 777"/>
                <a:gd name="T15" fmla="*/ 14 h 367"/>
                <a:gd name="T16" fmla="*/ 743 w 777"/>
                <a:gd name="T17" fmla="*/ 16 h 367"/>
                <a:gd name="T18" fmla="*/ 841 w 777"/>
                <a:gd name="T19" fmla="*/ 17 h 367"/>
                <a:gd name="T20" fmla="*/ 947 w 777"/>
                <a:gd name="T21" fmla="*/ 21 h 367"/>
                <a:gd name="T22" fmla="*/ 1043 w 777"/>
                <a:gd name="T23" fmla="*/ 23 h 367"/>
                <a:gd name="T24" fmla="*/ 1131 w 777"/>
                <a:gd name="T25" fmla="*/ 25 h 367"/>
                <a:gd name="T26" fmla="*/ 1220 w 777"/>
                <a:gd name="T27" fmla="*/ 27 h 367"/>
                <a:gd name="T28" fmla="*/ 1301 w 777"/>
                <a:gd name="T29" fmla="*/ 27 h 367"/>
                <a:gd name="T30" fmla="*/ 1372 w 777"/>
                <a:gd name="T31" fmla="*/ 29 h 367"/>
                <a:gd name="T32" fmla="*/ 1448 w 777"/>
                <a:gd name="T33" fmla="*/ 32 h 367"/>
                <a:gd name="T34" fmla="*/ 1506 w 777"/>
                <a:gd name="T35" fmla="*/ 33 h 367"/>
                <a:gd name="T36" fmla="*/ 1448 w 777"/>
                <a:gd name="T37" fmla="*/ 33 h 367"/>
                <a:gd name="T38" fmla="*/ 1381 w 777"/>
                <a:gd name="T39" fmla="*/ 35 h 367"/>
                <a:gd name="T40" fmla="*/ 1296 w 777"/>
                <a:gd name="T41" fmla="*/ 35 h 367"/>
                <a:gd name="T42" fmla="*/ 1185 w 777"/>
                <a:gd name="T43" fmla="*/ 35 h 367"/>
                <a:gd name="T44" fmla="*/ 1076 w 777"/>
                <a:gd name="T45" fmla="*/ 35 h 367"/>
                <a:gd name="T46" fmla="*/ 956 w 777"/>
                <a:gd name="T47" fmla="*/ 36 h 367"/>
                <a:gd name="T48" fmla="*/ 856 w 777"/>
                <a:gd name="T49" fmla="*/ 36 h 367"/>
                <a:gd name="T50" fmla="*/ 769 w 777"/>
                <a:gd name="T51" fmla="*/ 37 h 367"/>
                <a:gd name="T52" fmla="*/ 1131 w 777"/>
                <a:gd name="T53" fmla="*/ 29 h 367"/>
                <a:gd name="T54" fmla="*/ 1061 w 777"/>
                <a:gd name="T55" fmla="*/ 27 h 367"/>
                <a:gd name="T56" fmla="*/ 991 w 777"/>
                <a:gd name="T57" fmla="*/ 25 h 367"/>
                <a:gd name="T58" fmla="*/ 919 w 777"/>
                <a:gd name="T59" fmla="*/ 24 h 367"/>
                <a:gd name="T60" fmla="*/ 851 w 777"/>
                <a:gd name="T61" fmla="*/ 22 h 367"/>
                <a:gd name="T62" fmla="*/ 769 w 777"/>
                <a:gd name="T63" fmla="*/ 21 h 367"/>
                <a:gd name="T64" fmla="*/ 700 w 777"/>
                <a:gd name="T65" fmla="*/ 17 h 367"/>
                <a:gd name="T66" fmla="*/ 602 w 777"/>
                <a:gd name="T67" fmla="*/ 16 h 367"/>
                <a:gd name="T68" fmla="*/ 530 w 777"/>
                <a:gd name="T69" fmla="*/ 14 h 367"/>
                <a:gd name="T70" fmla="*/ 441 w 777"/>
                <a:gd name="T71" fmla="*/ 13 h 367"/>
                <a:gd name="T72" fmla="*/ 362 w 777"/>
                <a:gd name="T73" fmla="*/ 10 h 367"/>
                <a:gd name="T74" fmla="*/ 282 w 777"/>
                <a:gd name="T75" fmla="*/ 7 h 367"/>
                <a:gd name="T76" fmla="*/ 218 w 777"/>
                <a:gd name="T77" fmla="*/ 5 h 367"/>
                <a:gd name="T78" fmla="*/ 157 w 777"/>
                <a:gd name="T79" fmla="*/ 5 h 367"/>
                <a:gd name="T80" fmla="*/ 65 w 777"/>
                <a:gd name="T81" fmla="*/ 5 h 367"/>
                <a:gd name="T82" fmla="*/ 0 w 777"/>
                <a:gd name="T83" fmla="*/ 0 h 3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77"/>
                <a:gd name="T127" fmla="*/ 0 h 367"/>
                <a:gd name="T128" fmla="*/ 777 w 777"/>
                <a:gd name="T129" fmla="*/ 367 h 3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77" h="367">
                  <a:moveTo>
                    <a:pt x="4" y="0"/>
                  </a:moveTo>
                  <a:lnTo>
                    <a:pt x="9" y="0"/>
                  </a:lnTo>
                  <a:lnTo>
                    <a:pt x="23" y="6"/>
                  </a:lnTo>
                  <a:lnTo>
                    <a:pt x="36" y="11"/>
                  </a:lnTo>
                  <a:lnTo>
                    <a:pt x="55" y="17"/>
                  </a:lnTo>
                  <a:lnTo>
                    <a:pt x="64" y="23"/>
                  </a:lnTo>
                  <a:lnTo>
                    <a:pt x="73" y="26"/>
                  </a:lnTo>
                  <a:lnTo>
                    <a:pt x="87" y="28"/>
                  </a:lnTo>
                  <a:lnTo>
                    <a:pt x="100" y="37"/>
                  </a:lnTo>
                  <a:lnTo>
                    <a:pt x="110" y="40"/>
                  </a:lnTo>
                  <a:lnTo>
                    <a:pt x="123" y="46"/>
                  </a:lnTo>
                  <a:lnTo>
                    <a:pt x="137" y="51"/>
                  </a:lnTo>
                  <a:lnTo>
                    <a:pt x="155" y="57"/>
                  </a:lnTo>
                  <a:lnTo>
                    <a:pt x="169" y="65"/>
                  </a:lnTo>
                  <a:lnTo>
                    <a:pt x="183" y="68"/>
                  </a:lnTo>
                  <a:lnTo>
                    <a:pt x="196" y="74"/>
                  </a:lnTo>
                  <a:lnTo>
                    <a:pt x="215" y="85"/>
                  </a:lnTo>
                  <a:lnTo>
                    <a:pt x="228" y="88"/>
                  </a:lnTo>
                  <a:lnTo>
                    <a:pt x="247" y="97"/>
                  </a:lnTo>
                  <a:lnTo>
                    <a:pt x="260" y="105"/>
                  </a:lnTo>
                  <a:lnTo>
                    <a:pt x="279" y="111"/>
                  </a:lnTo>
                  <a:lnTo>
                    <a:pt x="297" y="117"/>
                  </a:lnTo>
                  <a:lnTo>
                    <a:pt x="311" y="125"/>
                  </a:lnTo>
                  <a:lnTo>
                    <a:pt x="329" y="131"/>
                  </a:lnTo>
                  <a:lnTo>
                    <a:pt x="347" y="140"/>
                  </a:lnTo>
                  <a:lnTo>
                    <a:pt x="365" y="148"/>
                  </a:lnTo>
                  <a:lnTo>
                    <a:pt x="384" y="154"/>
                  </a:lnTo>
                  <a:lnTo>
                    <a:pt x="402" y="162"/>
                  </a:lnTo>
                  <a:lnTo>
                    <a:pt x="420" y="171"/>
                  </a:lnTo>
                  <a:lnTo>
                    <a:pt x="434" y="177"/>
                  </a:lnTo>
                  <a:lnTo>
                    <a:pt x="457" y="185"/>
                  </a:lnTo>
                  <a:lnTo>
                    <a:pt x="471" y="191"/>
                  </a:lnTo>
                  <a:lnTo>
                    <a:pt x="489" y="199"/>
                  </a:lnTo>
                  <a:lnTo>
                    <a:pt x="507" y="205"/>
                  </a:lnTo>
                  <a:lnTo>
                    <a:pt x="525" y="214"/>
                  </a:lnTo>
                  <a:lnTo>
                    <a:pt x="539" y="219"/>
                  </a:lnTo>
                  <a:lnTo>
                    <a:pt x="557" y="225"/>
                  </a:lnTo>
                  <a:lnTo>
                    <a:pt x="571" y="233"/>
                  </a:lnTo>
                  <a:lnTo>
                    <a:pt x="585" y="239"/>
                  </a:lnTo>
                  <a:lnTo>
                    <a:pt x="603" y="248"/>
                  </a:lnTo>
                  <a:lnTo>
                    <a:pt x="617" y="253"/>
                  </a:lnTo>
                  <a:lnTo>
                    <a:pt x="630" y="259"/>
                  </a:lnTo>
                  <a:lnTo>
                    <a:pt x="644" y="268"/>
                  </a:lnTo>
                  <a:lnTo>
                    <a:pt x="658" y="273"/>
                  </a:lnTo>
                  <a:lnTo>
                    <a:pt x="672" y="279"/>
                  </a:lnTo>
                  <a:lnTo>
                    <a:pt x="681" y="282"/>
                  </a:lnTo>
                  <a:lnTo>
                    <a:pt x="690" y="288"/>
                  </a:lnTo>
                  <a:lnTo>
                    <a:pt x="708" y="293"/>
                  </a:lnTo>
                  <a:lnTo>
                    <a:pt x="717" y="299"/>
                  </a:lnTo>
                  <a:lnTo>
                    <a:pt x="736" y="308"/>
                  </a:lnTo>
                  <a:lnTo>
                    <a:pt x="749" y="316"/>
                  </a:lnTo>
                  <a:lnTo>
                    <a:pt x="763" y="322"/>
                  </a:lnTo>
                  <a:lnTo>
                    <a:pt x="772" y="325"/>
                  </a:lnTo>
                  <a:lnTo>
                    <a:pt x="777" y="330"/>
                  </a:lnTo>
                  <a:lnTo>
                    <a:pt x="763" y="330"/>
                  </a:lnTo>
                  <a:lnTo>
                    <a:pt x="749" y="333"/>
                  </a:lnTo>
                  <a:lnTo>
                    <a:pt x="740" y="336"/>
                  </a:lnTo>
                  <a:lnTo>
                    <a:pt x="726" y="336"/>
                  </a:lnTo>
                  <a:lnTo>
                    <a:pt x="713" y="339"/>
                  </a:lnTo>
                  <a:lnTo>
                    <a:pt x="699" y="342"/>
                  </a:lnTo>
                  <a:lnTo>
                    <a:pt x="681" y="342"/>
                  </a:lnTo>
                  <a:lnTo>
                    <a:pt x="667" y="342"/>
                  </a:lnTo>
                  <a:lnTo>
                    <a:pt x="649" y="342"/>
                  </a:lnTo>
                  <a:lnTo>
                    <a:pt x="630" y="347"/>
                  </a:lnTo>
                  <a:lnTo>
                    <a:pt x="612" y="347"/>
                  </a:lnTo>
                  <a:lnTo>
                    <a:pt x="594" y="350"/>
                  </a:lnTo>
                  <a:lnTo>
                    <a:pt x="571" y="353"/>
                  </a:lnTo>
                  <a:lnTo>
                    <a:pt x="557" y="353"/>
                  </a:lnTo>
                  <a:lnTo>
                    <a:pt x="535" y="356"/>
                  </a:lnTo>
                  <a:lnTo>
                    <a:pt x="516" y="359"/>
                  </a:lnTo>
                  <a:lnTo>
                    <a:pt x="493" y="359"/>
                  </a:lnTo>
                  <a:lnTo>
                    <a:pt x="480" y="362"/>
                  </a:lnTo>
                  <a:lnTo>
                    <a:pt x="461" y="362"/>
                  </a:lnTo>
                  <a:lnTo>
                    <a:pt x="443" y="364"/>
                  </a:lnTo>
                  <a:lnTo>
                    <a:pt x="425" y="364"/>
                  </a:lnTo>
                  <a:lnTo>
                    <a:pt x="416" y="367"/>
                  </a:lnTo>
                  <a:lnTo>
                    <a:pt x="397" y="367"/>
                  </a:lnTo>
                  <a:lnTo>
                    <a:pt x="589" y="293"/>
                  </a:lnTo>
                  <a:lnTo>
                    <a:pt x="585" y="290"/>
                  </a:lnTo>
                  <a:lnTo>
                    <a:pt x="585" y="288"/>
                  </a:lnTo>
                  <a:lnTo>
                    <a:pt x="571" y="282"/>
                  </a:lnTo>
                  <a:lnTo>
                    <a:pt x="562" y="279"/>
                  </a:lnTo>
                  <a:lnTo>
                    <a:pt x="548" y="271"/>
                  </a:lnTo>
                  <a:lnTo>
                    <a:pt x="525" y="262"/>
                  </a:lnTo>
                  <a:lnTo>
                    <a:pt x="516" y="256"/>
                  </a:lnTo>
                  <a:lnTo>
                    <a:pt x="512" y="253"/>
                  </a:lnTo>
                  <a:lnTo>
                    <a:pt x="498" y="248"/>
                  </a:lnTo>
                  <a:lnTo>
                    <a:pt x="489" y="242"/>
                  </a:lnTo>
                  <a:lnTo>
                    <a:pt x="475" y="236"/>
                  </a:lnTo>
                  <a:lnTo>
                    <a:pt x="466" y="231"/>
                  </a:lnTo>
                  <a:lnTo>
                    <a:pt x="452" y="225"/>
                  </a:lnTo>
                  <a:lnTo>
                    <a:pt x="439" y="216"/>
                  </a:lnTo>
                  <a:lnTo>
                    <a:pt x="425" y="211"/>
                  </a:lnTo>
                  <a:lnTo>
                    <a:pt x="416" y="205"/>
                  </a:lnTo>
                  <a:lnTo>
                    <a:pt x="397" y="199"/>
                  </a:lnTo>
                  <a:lnTo>
                    <a:pt x="384" y="194"/>
                  </a:lnTo>
                  <a:lnTo>
                    <a:pt x="370" y="185"/>
                  </a:lnTo>
                  <a:lnTo>
                    <a:pt x="361" y="179"/>
                  </a:lnTo>
                  <a:lnTo>
                    <a:pt x="347" y="171"/>
                  </a:lnTo>
                  <a:lnTo>
                    <a:pt x="329" y="165"/>
                  </a:lnTo>
                  <a:lnTo>
                    <a:pt x="311" y="157"/>
                  </a:lnTo>
                  <a:lnTo>
                    <a:pt x="301" y="151"/>
                  </a:lnTo>
                  <a:lnTo>
                    <a:pt x="288" y="145"/>
                  </a:lnTo>
                  <a:lnTo>
                    <a:pt x="274" y="137"/>
                  </a:lnTo>
                  <a:lnTo>
                    <a:pt x="256" y="131"/>
                  </a:lnTo>
                  <a:lnTo>
                    <a:pt x="242" y="122"/>
                  </a:lnTo>
                  <a:lnTo>
                    <a:pt x="228" y="117"/>
                  </a:lnTo>
                  <a:lnTo>
                    <a:pt x="215" y="108"/>
                  </a:lnTo>
                  <a:lnTo>
                    <a:pt x="201" y="103"/>
                  </a:lnTo>
                  <a:lnTo>
                    <a:pt x="187" y="97"/>
                  </a:lnTo>
                  <a:lnTo>
                    <a:pt x="173" y="88"/>
                  </a:lnTo>
                  <a:lnTo>
                    <a:pt x="160" y="85"/>
                  </a:lnTo>
                  <a:lnTo>
                    <a:pt x="146" y="74"/>
                  </a:lnTo>
                  <a:lnTo>
                    <a:pt x="137" y="68"/>
                  </a:lnTo>
                  <a:lnTo>
                    <a:pt x="123" y="65"/>
                  </a:lnTo>
                  <a:lnTo>
                    <a:pt x="114" y="57"/>
                  </a:lnTo>
                  <a:lnTo>
                    <a:pt x="100" y="48"/>
                  </a:lnTo>
                  <a:lnTo>
                    <a:pt x="87" y="46"/>
                  </a:lnTo>
                  <a:lnTo>
                    <a:pt x="82" y="40"/>
                  </a:lnTo>
                  <a:lnTo>
                    <a:pt x="73" y="37"/>
                  </a:lnTo>
                  <a:lnTo>
                    <a:pt x="50" y="26"/>
                  </a:lnTo>
                  <a:lnTo>
                    <a:pt x="36" y="17"/>
                  </a:lnTo>
                  <a:lnTo>
                    <a:pt x="23" y="11"/>
                  </a:lnTo>
                  <a:lnTo>
                    <a:pt x="14" y="6"/>
                  </a:lnTo>
                  <a:lnTo>
                    <a:pt x="0" y="0"/>
                  </a:lnTo>
                  <a:lnTo>
                    <a:pt x="4"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51" name="Freeform 162"/>
            <p:cNvSpPr>
              <a:spLocks/>
            </p:cNvSpPr>
            <p:nvPr>
              <p:custDataLst>
                <p:tags r:id="rId150"/>
              </p:custDataLst>
            </p:nvPr>
          </p:nvSpPr>
          <p:spPr bwMode="gray">
            <a:xfrm>
              <a:off x="2000" y="1341"/>
              <a:ext cx="1804" cy="70"/>
            </a:xfrm>
            <a:custGeom>
              <a:avLst/>
              <a:gdLst>
                <a:gd name="T0" fmla="*/ 668 w 1760"/>
                <a:gd name="T1" fmla="*/ 5 h 77"/>
                <a:gd name="T2" fmla="*/ 890 w 1760"/>
                <a:gd name="T3" fmla="*/ 6 h 77"/>
                <a:gd name="T4" fmla="*/ 1121 w 1760"/>
                <a:gd name="T5" fmla="*/ 6 h 77"/>
                <a:gd name="T6" fmla="*/ 1355 w 1760"/>
                <a:gd name="T7" fmla="*/ 6 h 77"/>
                <a:gd name="T8" fmla="*/ 1598 w 1760"/>
                <a:gd name="T9" fmla="*/ 6 h 77"/>
                <a:gd name="T10" fmla="*/ 1851 w 1760"/>
                <a:gd name="T11" fmla="*/ 5 h 77"/>
                <a:gd name="T12" fmla="*/ 2086 w 1760"/>
                <a:gd name="T13" fmla="*/ 5 h 77"/>
                <a:gd name="T14" fmla="*/ 2320 w 1760"/>
                <a:gd name="T15" fmla="*/ 5 h 77"/>
                <a:gd name="T16" fmla="*/ 2539 w 1760"/>
                <a:gd name="T17" fmla="*/ 5 h 77"/>
                <a:gd name="T18" fmla="*/ 2739 w 1760"/>
                <a:gd name="T19" fmla="*/ 5 h 77"/>
                <a:gd name="T20" fmla="*/ 2915 w 1760"/>
                <a:gd name="T21" fmla="*/ 5 h 77"/>
                <a:gd name="T22" fmla="*/ 3064 w 1760"/>
                <a:gd name="T23" fmla="*/ 5 h 77"/>
                <a:gd name="T24" fmla="*/ 3187 w 1760"/>
                <a:gd name="T25" fmla="*/ 5 h 77"/>
                <a:gd name="T26" fmla="*/ 3274 w 1760"/>
                <a:gd name="T27" fmla="*/ 5 h 77"/>
                <a:gd name="T28" fmla="*/ 3346 w 1760"/>
                <a:gd name="T29" fmla="*/ 0 h 77"/>
                <a:gd name="T30" fmla="*/ 3249 w 1760"/>
                <a:gd name="T31" fmla="*/ 0 h 77"/>
                <a:gd name="T32" fmla="*/ 3133 w 1760"/>
                <a:gd name="T33" fmla="*/ 3 h 77"/>
                <a:gd name="T34" fmla="*/ 3031 w 1760"/>
                <a:gd name="T35" fmla="*/ 5 h 77"/>
                <a:gd name="T36" fmla="*/ 2901 w 1760"/>
                <a:gd name="T37" fmla="*/ 5 h 77"/>
                <a:gd name="T38" fmla="*/ 2766 w 1760"/>
                <a:gd name="T39" fmla="*/ 5 h 77"/>
                <a:gd name="T40" fmla="*/ 2623 w 1760"/>
                <a:gd name="T41" fmla="*/ 5 h 77"/>
                <a:gd name="T42" fmla="*/ 2478 w 1760"/>
                <a:gd name="T43" fmla="*/ 5 h 77"/>
                <a:gd name="T44" fmla="*/ 2310 w 1760"/>
                <a:gd name="T45" fmla="*/ 5 h 77"/>
                <a:gd name="T46" fmla="*/ 2154 w 1760"/>
                <a:gd name="T47" fmla="*/ 5 h 77"/>
                <a:gd name="T48" fmla="*/ 1999 w 1760"/>
                <a:gd name="T49" fmla="*/ 5 h 77"/>
                <a:gd name="T50" fmla="*/ 1851 w 1760"/>
                <a:gd name="T51" fmla="*/ 5 h 77"/>
                <a:gd name="T52" fmla="*/ 1713 w 1760"/>
                <a:gd name="T53" fmla="*/ 5 h 77"/>
                <a:gd name="T54" fmla="*/ 1582 w 1760"/>
                <a:gd name="T55" fmla="*/ 5 h 77"/>
                <a:gd name="T56" fmla="*/ 1474 w 1760"/>
                <a:gd name="T57" fmla="*/ 5 h 77"/>
                <a:gd name="T58" fmla="*/ 1392 w 1760"/>
                <a:gd name="T59" fmla="*/ 5 h 77"/>
                <a:gd name="T60" fmla="*/ 1301 w 1760"/>
                <a:gd name="T61" fmla="*/ 5 h 77"/>
                <a:gd name="T62" fmla="*/ 1219 w 1760"/>
                <a:gd name="T63" fmla="*/ 5 h 77"/>
                <a:gd name="T64" fmla="*/ 1112 w 1760"/>
                <a:gd name="T65" fmla="*/ 5 h 77"/>
                <a:gd name="T66" fmla="*/ 1001 w 1760"/>
                <a:gd name="T67" fmla="*/ 5 h 77"/>
                <a:gd name="T68" fmla="*/ 890 w 1760"/>
                <a:gd name="T69" fmla="*/ 5 h 77"/>
                <a:gd name="T70" fmla="*/ 767 w 1760"/>
                <a:gd name="T71" fmla="*/ 5 h 77"/>
                <a:gd name="T72" fmla="*/ 645 w 1760"/>
                <a:gd name="T73" fmla="*/ 5 h 77"/>
                <a:gd name="T74" fmla="*/ 531 w 1760"/>
                <a:gd name="T75" fmla="*/ 5 h 77"/>
                <a:gd name="T76" fmla="*/ 420 w 1760"/>
                <a:gd name="T77" fmla="*/ 5 h 77"/>
                <a:gd name="T78" fmla="*/ 313 w 1760"/>
                <a:gd name="T79" fmla="*/ 5 h 77"/>
                <a:gd name="T80" fmla="*/ 224 w 1760"/>
                <a:gd name="T81" fmla="*/ 5 h 77"/>
                <a:gd name="T82" fmla="*/ 138 w 1760"/>
                <a:gd name="T83" fmla="*/ 5 h 77"/>
                <a:gd name="T84" fmla="*/ 49 w 1760"/>
                <a:gd name="T85" fmla="*/ 5 h 77"/>
                <a:gd name="T86" fmla="*/ 10 w 1760"/>
                <a:gd name="T87" fmla="*/ 5 h 77"/>
                <a:gd name="T88" fmla="*/ 131 w 1760"/>
                <a:gd name="T89" fmla="*/ 5 h 77"/>
                <a:gd name="T90" fmla="*/ 224 w 1760"/>
                <a:gd name="T91" fmla="*/ 5 h 77"/>
                <a:gd name="T92" fmla="*/ 313 w 1760"/>
                <a:gd name="T93" fmla="*/ 5 h 77"/>
                <a:gd name="T94" fmla="*/ 401 w 1760"/>
                <a:gd name="T95" fmla="*/ 5 h 77"/>
                <a:gd name="T96" fmla="*/ 478 w 1760"/>
                <a:gd name="T97" fmla="*/ 5 h 77"/>
                <a:gd name="T98" fmla="*/ 522 w 1760"/>
                <a:gd name="T99" fmla="*/ 5 h 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60"/>
                <a:gd name="T151" fmla="*/ 0 h 77"/>
                <a:gd name="T152" fmla="*/ 1760 w 1760"/>
                <a:gd name="T153" fmla="*/ 77 h 7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60" h="77">
                  <a:moveTo>
                    <a:pt x="275" y="66"/>
                  </a:moveTo>
                  <a:lnTo>
                    <a:pt x="302" y="66"/>
                  </a:lnTo>
                  <a:lnTo>
                    <a:pt x="325" y="66"/>
                  </a:lnTo>
                  <a:lnTo>
                    <a:pt x="352" y="69"/>
                  </a:lnTo>
                  <a:lnTo>
                    <a:pt x="380" y="72"/>
                  </a:lnTo>
                  <a:lnTo>
                    <a:pt x="407" y="74"/>
                  </a:lnTo>
                  <a:lnTo>
                    <a:pt x="435" y="74"/>
                  </a:lnTo>
                  <a:lnTo>
                    <a:pt x="467" y="77"/>
                  </a:lnTo>
                  <a:lnTo>
                    <a:pt x="499" y="77"/>
                  </a:lnTo>
                  <a:lnTo>
                    <a:pt x="526" y="77"/>
                  </a:lnTo>
                  <a:lnTo>
                    <a:pt x="558" y="77"/>
                  </a:lnTo>
                  <a:lnTo>
                    <a:pt x="590" y="77"/>
                  </a:lnTo>
                  <a:lnTo>
                    <a:pt x="622" y="77"/>
                  </a:lnTo>
                  <a:lnTo>
                    <a:pt x="649" y="77"/>
                  </a:lnTo>
                  <a:lnTo>
                    <a:pt x="681" y="77"/>
                  </a:lnTo>
                  <a:lnTo>
                    <a:pt x="713" y="77"/>
                  </a:lnTo>
                  <a:lnTo>
                    <a:pt x="750" y="77"/>
                  </a:lnTo>
                  <a:lnTo>
                    <a:pt x="782" y="77"/>
                  </a:lnTo>
                  <a:lnTo>
                    <a:pt x="809" y="77"/>
                  </a:lnTo>
                  <a:lnTo>
                    <a:pt x="841" y="77"/>
                  </a:lnTo>
                  <a:lnTo>
                    <a:pt x="878" y="77"/>
                  </a:lnTo>
                  <a:lnTo>
                    <a:pt x="905" y="74"/>
                  </a:lnTo>
                  <a:lnTo>
                    <a:pt x="937" y="72"/>
                  </a:lnTo>
                  <a:lnTo>
                    <a:pt x="974" y="72"/>
                  </a:lnTo>
                  <a:lnTo>
                    <a:pt x="1006" y="69"/>
                  </a:lnTo>
                  <a:lnTo>
                    <a:pt x="1033" y="66"/>
                  </a:lnTo>
                  <a:lnTo>
                    <a:pt x="1065" y="66"/>
                  </a:lnTo>
                  <a:lnTo>
                    <a:pt x="1097" y="63"/>
                  </a:lnTo>
                  <a:lnTo>
                    <a:pt x="1129" y="60"/>
                  </a:lnTo>
                  <a:lnTo>
                    <a:pt x="1161" y="60"/>
                  </a:lnTo>
                  <a:lnTo>
                    <a:pt x="1193" y="57"/>
                  </a:lnTo>
                  <a:lnTo>
                    <a:pt x="1221" y="55"/>
                  </a:lnTo>
                  <a:lnTo>
                    <a:pt x="1248" y="55"/>
                  </a:lnTo>
                  <a:lnTo>
                    <a:pt x="1280" y="52"/>
                  </a:lnTo>
                  <a:lnTo>
                    <a:pt x="1303" y="49"/>
                  </a:lnTo>
                  <a:lnTo>
                    <a:pt x="1335" y="46"/>
                  </a:lnTo>
                  <a:lnTo>
                    <a:pt x="1362" y="46"/>
                  </a:lnTo>
                  <a:lnTo>
                    <a:pt x="1390" y="40"/>
                  </a:lnTo>
                  <a:lnTo>
                    <a:pt x="1413" y="40"/>
                  </a:lnTo>
                  <a:lnTo>
                    <a:pt x="1440" y="37"/>
                  </a:lnTo>
                  <a:lnTo>
                    <a:pt x="1467" y="35"/>
                  </a:lnTo>
                  <a:lnTo>
                    <a:pt x="1490" y="32"/>
                  </a:lnTo>
                  <a:lnTo>
                    <a:pt x="1513" y="32"/>
                  </a:lnTo>
                  <a:lnTo>
                    <a:pt x="1536" y="29"/>
                  </a:lnTo>
                  <a:lnTo>
                    <a:pt x="1559" y="23"/>
                  </a:lnTo>
                  <a:lnTo>
                    <a:pt x="1577" y="23"/>
                  </a:lnTo>
                  <a:lnTo>
                    <a:pt x="1595" y="20"/>
                  </a:lnTo>
                  <a:lnTo>
                    <a:pt x="1614" y="20"/>
                  </a:lnTo>
                  <a:lnTo>
                    <a:pt x="1637" y="18"/>
                  </a:lnTo>
                  <a:lnTo>
                    <a:pt x="1650" y="15"/>
                  </a:lnTo>
                  <a:lnTo>
                    <a:pt x="1664" y="15"/>
                  </a:lnTo>
                  <a:lnTo>
                    <a:pt x="1678" y="12"/>
                  </a:lnTo>
                  <a:lnTo>
                    <a:pt x="1691" y="12"/>
                  </a:lnTo>
                  <a:lnTo>
                    <a:pt x="1701" y="9"/>
                  </a:lnTo>
                  <a:lnTo>
                    <a:pt x="1719" y="6"/>
                  </a:lnTo>
                  <a:lnTo>
                    <a:pt x="1723" y="6"/>
                  </a:lnTo>
                  <a:lnTo>
                    <a:pt x="1737" y="6"/>
                  </a:lnTo>
                  <a:lnTo>
                    <a:pt x="1746" y="3"/>
                  </a:lnTo>
                  <a:lnTo>
                    <a:pt x="1755" y="0"/>
                  </a:lnTo>
                  <a:lnTo>
                    <a:pt x="1760" y="0"/>
                  </a:lnTo>
                  <a:lnTo>
                    <a:pt x="1755" y="0"/>
                  </a:lnTo>
                  <a:lnTo>
                    <a:pt x="1742" y="0"/>
                  </a:lnTo>
                  <a:lnTo>
                    <a:pt x="1723" y="0"/>
                  </a:lnTo>
                  <a:lnTo>
                    <a:pt x="1710" y="0"/>
                  </a:lnTo>
                  <a:lnTo>
                    <a:pt x="1691" y="3"/>
                  </a:lnTo>
                  <a:lnTo>
                    <a:pt x="1678" y="3"/>
                  </a:lnTo>
                  <a:lnTo>
                    <a:pt x="1664" y="3"/>
                  </a:lnTo>
                  <a:lnTo>
                    <a:pt x="1650" y="3"/>
                  </a:lnTo>
                  <a:lnTo>
                    <a:pt x="1637" y="3"/>
                  </a:lnTo>
                  <a:lnTo>
                    <a:pt x="1627" y="3"/>
                  </a:lnTo>
                  <a:lnTo>
                    <a:pt x="1609" y="3"/>
                  </a:lnTo>
                  <a:lnTo>
                    <a:pt x="1595" y="6"/>
                  </a:lnTo>
                  <a:lnTo>
                    <a:pt x="1577" y="6"/>
                  </a:lnTo>
                  <a:lnTo>
                    <a:pt x="1559" y="6"/>
                  </a:lnTo>
                  <a:lnTo>
                    <a:pt x="1545" y="6"/>
                  </a:lnTo>
                  <a:lnTo>
                    <a:pt x="1527" y="9"/>
                  </a:lnTo>
                  <a:lnTo>
                    <a:pt x="1513" y="9"/>
                  </a:lnTo>
                  <a:lnTo>
                    <a:pt x="1490" y="9"/>
                  </a:lnTo>
                  <a:lnTo>
                    <a:pt x="1477" y="12"/>
                  </a:lnTo>
                  <a:lnTo>
                    <a:pt x="1458" y="12"/>
                  </a:lnTo>
                  <a:lnTo>
                    <a:pt x="1440" y="12"/>
                  </a:lnTo>
                  <a:lnTo>
                    <a:pt x="1417" y="12"/>
                  </a:lnTo>
                  <a:lnTo>
                    <a:pt x="1399" y="15"/>
                  </a:lnTo>
                  <a:lnTo>
                    <a:pt x="1381" y="15"/>
                  </a:lnTo>
                  <a:lnTo>
                    <a:pt x="1358" y="18"/>
                  </a:lnTo>
                  <a:lnTo>
                    <a:pt x="1339" y="18"/>
                  </a:lnTo>
                  <a:lnTo>
                    <a:pt x="1321" y="18"/>
                  </a:lnTo>
                  <a:lnTo>
                    <a:pt x="1303" y="18"/>
                  </a:lnTo>
                  <a:lnTo>
                    <a:pt x="1280" y="20"/>
                  </a:lnTo>
                  <a:lnTo>
                    <a:pt x="1257" y="20"/>
                  </a:lnTo>
                  <a:lnTo>
                    <a:pt x="1239" y="20"/>
                  </a:lnTo>
                  <a:lnTo>
                    <a:pt x="1216" y="20"/>
                  </a:lnTo>
                  <a:lnTo>
                    <a:pt x="1198" y="23"/>
                  </a:lnTo>
                  <a:lnTo>
                    <a:pt x="1175" y="23"/>
                  </a:lnTo>
                  <a:lnTo>
                    <a:pt x="1157" y="23"/>
                  </a:lnTo>
                  <a:lnTo>
                    <a:pt x="1134" y="23"/>
                  </a:lnTo>
                  <a:lnTo>
                    <a:pt x="1116" y="26"/>
                  </a:lnTo>
                  <a:lnTo>
                    <a:pt x="1093" y="26"/>
                  </a:lnTo>
                  <a:lnTo>
                    <a:pt x="1070" y="29"/>
                  </a:lnTo>
                  <a:lnTo>
                    <a:pt x="1052" y="29"/>
                  </a:lnTo>
                  <a:lnTo>
                    <a:pt x="1033" y="32"/>
                  </a:lnTo>
                  <a:lnTo>
                    <a:pt x="1010" y="32"/>
                  </a:lnTo>
                  <a:lnTo>
                    <a:pt x="992" y="32"/>
                  </a:lnTo>
                  <a:lnTo>
                    <a:pt x="974" y="32"/>
                  </a:lnTo>
                  <a:lnTo>
                    <a:pt x="956" y="32"/>
                  </a:lnTo>
                  <a:lnTo>
                    <a:pt x="937" y="32"/>
                  </a:lnTo>
                  <a:lnTo>
                    <a:pt x="919" y="35"/>
                  </a:lnTo>
                  <a:lnTo>
                    <a:pt x="901" y="35"/>
                  </a:lnTo>
                  <a:lnTo>
                    <a:pt x="887" y="35"/>
                  </a:lnTo>
                  <a:lnTo>
                    <a:pt x="869" y="35"/>
                  </a:lnTo>
                  <a:lnTo>
                    <a:pt x="850" y="37"/>
                  </a:lnTo>
                  <a:lnTo>
                    <a:pt x="832" y="40"/>
                  </a:lnTo>
                  <a:lnTo>
                    <a:pt x="818" y="40"/>
                  </a:lnTo>
                  <a:lnTo>
                    <a:pt x="800" y="40"/>
                  </a:lnTo>
                  <a:lnTo>
                    <a:pt x="791" y="40"/>
                  </a:lnTo>
                  <a:lnTo>
                    <a:pt x="777" y="40"/>
                  </a:lnTo>
                  <a:lnTo>
                    <a:pt x="764" y="40"/>
                  </a:lnTo>
                  <a:lnTo>
                    <a:pt x="750" y="40"/>
                  </a:lnTo>
                  <a:lnTo>
                    <a:pt x="741" y="40"/>
                  </a:lnTo>
                  <a:lnTo>
                    <a:pt x="732" y="43"/>
                  </a:lnTo>
                  <a:lnTo>
                    <a:pt x="723" y="43"/>
                  </a:lnTo>
                  <a:lnTo>
                    <a:pt x="709" y="43"/>
                  </a:lnTo>
                  <a:lnTo>
                    <a:pt x="700" y="43"/>
                  </a:lnTo>
                  <a:lnTo>
                    <a:pt x="686" y="43"/>
                  </a:lnTo>
                  <a:lnTo>
                    <a:pt x="677" y="43"/>
                  </a:lnTo>
                  <a:lnTo>
                    <a:pt x="663" y="43"/>
                  </a:lnTo>
                  <a:lnTo>
                    <a:pt x="649" y="43"/>
                  </a:lnTo>
                  <a:lnTo>
                    <a:pt x="640" y="43"/>
                  </a:lnTo>
                  <a:lnTo>
                    <a:pt x="627" y="46"/>
                  </a:lnTo>
                  <a:lnTo>
                    <a:pt x="613" y="46"/>
                  </a:lnTo>
                  <a:lnTo>
                    <a:pt x="599" y="46"/>
                  </a:lnTo>
                  <a:lnTo>
                    <a:pt x="585" y="46"/>
                  </a:lnTo>
                  <a:lnTo>
                    <a:pt x="572" y="46"/>
                  </a:lnTo>
                  <a:lnTo>
                    <a:pt x="558" y="46"/>
                  </a:lnTo>
                  <a:lnTo>
                    <a:pt x="544" y="46"/>
                  </a:lnTo>
                  <a:lnTo>
                    <a:pt x="526" y="46"/>
                  </a:lnTo>
                  <a:lnTo>
                    <a:pt x="512" y="46"/>
                  </a:lnTo>
                  <a:lnTo>
                    <a:pt x="499" y="46"/>
                  </a:lnTo>
                  <a:lnTo>
                    <a:pt x="480" y="46"/>
                  </a:lnTo>
                  <a:lnTo>
                    <a:pt x="467" y="46"/>
                  </a:lnTo>
                  <a:lnTo>
                    <a:pt x="448" y="46"/>
                  </a:lnTo>
                  <a:lnTo>
                    <a:pt x="435" y="46"/>
                  </a:lnTo>
                  <a:lnTo>
                    <a:pt x="416" y="46"/>
                  </a:lnTo>
                  <a:lnTo>
                    <a:pt x="403" y="46"/>
                  </a:lnTo>
                  <a:lnTo>
                    <a:pt x="389" y="46"/>
                  </a:lnTo>
                  <a:lnTo>
                    <a:pt x="371" y="46"/>
                  </a:lnTo>
                  <a:lnTo>
                    <a:pt x="357" y="46"/>
                  </a:lnTo>
                  <a:lnTo>
                    <a:pt x="339" y="46"/>
                  </a:lnTo>
                  <a:lnTo>
                    <a:pt x="325" y="46"/>
                  </a:lnTo>
                  <a:lnTo>
                    <a:pt x="311" y="46"/>
                  </a:lnTo>
                  <a:lnTo>
                    <a:pt x="293" y="46"/>
                  </a:lnTo>
                  <a:lnTo>
                    <a:pt x="279" y="46"/>
                  </a:lnTo>
                  <a:lnTo>
                    <a:pt x="266" y="46"/>
                  </a:lnTo>
                  <a:lnTo>
                    <a:pt x="252" y="46"/>
                  </a:lnTo>
                  <a:lnTo>
                    <a:pt x="234" y="46"/>
                  </a:lnTo>
                  <a:lnTo>
                    <a:pt x="220" y="46"/>
                  </a:lnTo>
                  <a:lnTo>
                    <a:pt x="206" y="46"/>
                  </a:lnTo>
                  <a:lnTo>
                    <a:pt x="192" y="46"/>
                  </a:lnTo>
                  <a:lnTo>
                    <a:pt x="179" y="46"/>
                  </a:lnTo>
                  <a:lnTo>
                    <a:pt x="165" y="46"/>
                  </a:lnTo>
                  <a:lnTo>
                    <a:pt x="156" y="46"/>
                  </a:lnTo>
                  <a:lnTo>
                    <a:pt x="142" y="43"/>
                  </a:lnTo>
                  <a:lnTo>
                    <a:pt x="128" y="43"/>
                  </a:lnTo>
                  <a:lnTo>
                    <a:pt x="119" y="43"/>
                  </a:lnTo>
                  <a:lnTo>
                    <a:pt x="106" y="43"/>
                  </a:lnTo>
                  <a:lnTo>
                    <a:pt x="96" y="43"/>
                  </a:lnTo>
                  <a:lnTo>
                    <a:pt x="83" y="43"/>
                  </a:lnTo>
                  <a:lnTo>
                    <a:pt x="74" y="43"/>
                  </a:lnTo>
                  <a:lnTo>
                    <a:pt x="64" y="43"/>
                  </a:lnTo>
                  <a:lnTo>
                    <a:pt x="46" y="43"/>
                  </a:lnTo>
                  <a:lnTo>
                    <a:pt x="32" y="43"/>
                  </a:lnTo>
                  <a:lnTo>
                    <a:pt x="23" y="43"/>
                  </a:lnTo>
                  <a:lnTo>
                    <a:pt x="10" y="43"/>
                  </a:lnTo>
                  <a:lnTo>
                    <a:pt x="0" y="43"/>
                  </a:lnTo>
                  <a:lnTo>
                    <a:pt x="10" y="43"/>
                  </a:lnTo>
                  <a:lnTo>
                    <a:pt x="28" y="43"/>
                  </a:lnTo>
                  <a:lnTo>
                    <a:pt x="42" y="46"/>
                  </a:lnTo>
                  <a:lnTo>
                    <a:pt x="60" y="46"/>
                  </a:lnTo>
                  <a:lnTo>
                    <a:pt x="69" y="46"/>
                  </a:lnTo>
                  <a:lnTo>
                    <a:pt x="83" y="46"/>
                  </a:lnTo>
                  <a:lnTo>
                    <a:pt x="92" y="49"/>
                  </a:lnTo>
                  <a:lnTo>
                    <a:pt x="106" y="49"/>
                  </a:lnTo>
                  <a:lnTo>
                    <a:pt x="119" y="49"/>
                  </a:lnTo>
                  <a:lnTo>
                    <a:pt x="128" y="52"/>
                  </a:lnTo>
                  <a:lnTo>
                    <a:pt x="142" y="55"/>
                  </a:lnTo>
                  <a:lnTo>
                    <a:pt x="156" y="55"/>
                  </a:lnTo>
                  <a:lnTo>
                    <a:pt x="165" y="55"/>
                  </a:lnTo>
                  <a:lnTo>
                    <a:pt x="179" y="55"/>
                  </a:lnTo>
                  <a:lnTo>
                    <a:pt x="188" y="55"/>
                  </a:lnTo>
                  <a:lnTo>
                    <a:pt x="202" y="57"/>
                  </a:lnTo>
                  <a:lnTo>
                    <a:pt x="211" y="57"/>
                  </a:lnTo>
                  <a:lnTo>
                    <a:pt x="220" y="57"/>
                  </a:lnTo>
                  <a:lnTo>
                    <a:pt x="229" y="60"/>
                  </a:lnTo>
                  <a:lnTo>
                    <a:pt x="238" y="60"/>
                  </a:lnTo>
                  <a:lnTo>
                    <a:pt x="252" y="60"/>
                  </a:lnTo>
                  <a:lnTo>
                    <a:pt x="266" y="60"/>
                  </a:lnTo>
                  <a:lnTo>
                    <a:pt x="270" y="63"/>
                  </a:lnTo>
                  <a:lnTo>
                    <a:pt x="275" y="66"/>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52" name="Freeform 163"/>
            <p:cNvSpPr>
              <a:spLocks/>
            </p:cNvSpPr>
            <p:nvPr>
              <p:custDataLst>
                <p:tags r:id="rId151"/>
              </p:custDataLst>
            </p:nvPr>
          </p:nvSpPr>
          <p:spPr bwMode="gray">
            <a:xfrm>
              <a:off x="1227" y="2140"/>
              <a:ext cx="1139" cy="188"/>
            </a:xfrm>
            <a:custGeom>
              <a:avLst/>
              <a:gdLst>
                <a:gd name="T0" fmla="*/ 49 w 1111"/>
                <a:gd name="T1" fmla="*/ 3 h 205"/>
                <a:gd name="T2" fmla="*/ 103 w 1111"/>
                <a:gd name="T3" fmla="*/ 6 h 205"/>
                <a:gd name="T4" fmla="*/ 195 w 1111"/>
                <a:gd name="T5" fmla="*/ 6 h 205"/>
                <a:gd name="T6" fmla="*/ 272 w 1111"/>
                <a:gd name="T7" fmla="*/ 6 h 205"/>
                <a:gd name="T8" fmla="*/ 343 w 1111"/>
                <a:gd name="T9" fmla="*/ 6 h 205"/>
                <a:gd name="T10" fmla="*/ 403 w 1111"/>
                <a:gd name="T11" fmla="*/ 6 h 205"/>
                <a:gd name="T12" fmla="*/ 463 w 1111"/>
                <a:gd name="T13" fmla="*/ 6 h 205"/>
                <a:gd name="T14" fmla="*/ 525 w 1111"/>
                <a:gd name="T15" fmla="*/ 6 h 205"/>
                <a:gd name="T16" fmla="*/ 595 w 1111"/>
                <a:gd name="T17" fmla="*/ 6 h 205"/>
                <a:gd name="T18" fmla="*/ 664 w 1111"/>
                <a:gd name="T19" fmla="*/ 6 h 205"/>
                <a:gd name="T20" fmla="*/ 734 w 1111"/>
                <a:gd name="T21" fmla="*/ 6 h 205"/>
                <a:gd name="T22" fmla="*/ 804 w 1111"/>
                <a:gd name="T23" fmla="*/ 6 h 205"/>
                <a:gd name="T24" fmla="*/ 865 w 1111"/>
                <a:gd name="T25" fmla="*/ 6 h 205"/>
                <a:gd name="T26" fmla="*/ 933 w 1111"/>
                <a:gd name="T27" fmla="*/ 6 h 205"/>
                <a:gd name="T28" fmla="*/ 1004 w 1111"/>
                <a:gd name="T29" fmla="*/ 6 h 205"/>
                <a:gd name="T30" fmla="*/ 1065 w 1111"/>
                <a:gd name="T31" fmla="*/ 6 h 205"/>
                <a:gd name="T32" fmla="*/ 1135 w 1111"/>
                <a:gd name="T33" fmla="*/ 6 h 205"/>
                <a:gd name="T34" fmla="*/ 1195 w 1111"/>
                <a:gd name="T35" fmla="*/ 6 h 205"/>
                <a:gd name="T36" fmla="*/ 1291 w 1111"/>
                <a:gd name="T37" fmla="*/ 6 h 205"/>
                <a:gd name="T38" fmla="*/ 1353 w 1111"/>
                <a:gd name="T39" fmla="*/ 6 h 205"/>
                <a:gd name="T40" fmla="*/ 1439 w 1111"/>
                <a:gd name="T41" fmla="*/ 6 h 205"/>
                <a:gd name="T42" fmla="*/ 1510 w 1111"/>
                <a:gd name="T43" fmla="*/ 6 h 205"/>
                <a:gd name="T44" fmla="*/ 1597 w 1111"/>
                <a:gd name="T45" fmla="*/ 6 h 205"/>
                <a:gd name="T46" fmla="*/ 1712 w 1111"/>
                <a:gd name="T47" fmla="*/ 6 h 205"/>
                <a:gd name="T48" fmla="*/ 1828 w 1111"/>
                <a:gd name="T49" fmla="*/ 7 h 205"/>
                <a:gd name="T50" fmla="*/ 1917 w 1111"/>
                <a:gd name="T51" fmla="*/ 7 h 205"/>
                <a:gd name="T52" fmla="*/ 1988 w 1111"/>
                <a:gd name="T53" fmla="*/ 7 h 205"/>
                <a:gd name="T54" fmla="*/ 2048 w 1111"/>
                <a:gd name="T55" fmla="*/ 7 h 205"/>
                <a:gd name="T56" fmla="*/ 2103 w 1111"/>
                <a:gd name="T57" fmla="*/ 7 h 205"/>
                <a:gd name="T58" fmla="*/ 2086 w 1111"/>
                <a:gd name="T59" fmla="*/ 22 h 205"/>
                <a:gd name="T60" fmla="*/ 2042 w 1111"/>
                <a:gd name="T61" fmla="*/ 22 h 205"/>
                <a:gd name="T62" fmla="*/ 1982 w 1111"/>
                <a:gd name="T63" fmla="*/ 22 h 205"/>
                <a:gd name="T64" fmla="*/ 1894 w 1111"/>
                <a:gd name="T65" fmla="*/ 22 h 205"/>
                <a:gd name="T66" fmla="*/ 1790 w 1111"/>
                <a:gd name="T67" fmla="*/ 22 h 205"/>
                <a:gd name="T68" fmla="*/ 1695 w 1111"/>
                <a:gd name="T69" fmla="*/ 22 h 205"/>
                <a:gd name="T70" fmla="*/ 1633 w 1111"/>
                <a:gd name="T71" fmla="*/ 22 h 205"/>
                <a:gd name="T72" fmla="*/ 1572 w 1111"/>
                <a:gd name="T73" fmla="*/ 21 h 205"/>
                <a:gd name="T74" fmla="*/ 1510 w 1111"/>
                <a:gd name="T75" fmla="*/ 21 h 205"/>
                <a:gd name="T76" fmla="*/ 1452 w 1111"/>
                <a:gd name="T77" fmla="*/ 21 h 205"/>
                <a:gd name="T78" fmla="*/ 1387 w 1111"/>
                <a:gd name="T79" fmla="*/ 21 h 205"/>
                <a:gd name="T80" fmla="*/ 1327 w 1111"/>
                <a:gd name="T81" fmla="*/ 21 h 205"/>
                <a:gd name="T82" fmla="*/ 1266 w 1111"/>
                <a:gd name="T83" fmla="*/ 21 h 205"/>
                <a:gd name="T84" fmla="*/ 1189 w 1111"/>
                <a:gd name="T85" fmla="*/ 20 h 205"/>
                <a:gd name="T86" fmla="*/ 1082 w 1111"/>
                <a:gd name="T87" fmla="*/ 20 h 205"/>
                <a:gd name="T88" fmla="*/ 985 w 1111"/>
                <a:gd name="T89" fmla="*/ 20 h 205"/>
                <a:gd name="T90" fmla="*/ 933 w 1111"/>
                <a:gd name="T91" fmla="*/ 20 h 205"/>
                <a:gd name="T92" fmla="*/ 865 w 1111"/>
                <a:gd name="T93" fmla="*/ 19 h 205"/>
                <a:gd name="T94" fmla="*/ 804 w 1111"/>
                <a:gd name="T95" fmla="*/ 18 h 205"/>
                <a:gd name="T96" fmla="*/ 734 w 1111"/>
                <a:gd name="T97" fmla="*/ 18 h 205"/>
                <a:gd name="T98" fmla="*/ 664 w 1111"/>
                <a:gd name="T99" fmla="*/ 18 h 205"/>
                <a:gd name="T100" fmla="*/ 595 w 1111"/>
                <a:gd name="T101" fmla="*/ 17 h 205"/>
                <a:gd name="T102" fmla="*/ 525 w 1111"/>
                <a:gd name="T103" fmla="*/ 17 h 205"/>
                <a:gd name="T104" fmla="*/ 463 w 1111"/>
                <a:gd name="T105" fmla="*/ 17 h 205"/>
                <a:gd name="T106" fmla="*/ 403 w 1111"/>
                <a:gd name="T107" fmla="*/ 17 h 205"/>
                <a:gd name="T108" fmla="*/ 343 w 1111"/>
                <a:gd name="T109" fmla="*/ 16 h 205"/>
                <a:gd name="T110" fmla="*/ 244 w 1111"/>
                <a:gd name="T111" fmla="*/ 16 h 205"/>
                <a:gd name="T112" fmla="*/ 137 w 1111"/>
                <a:gd name="T113" fmla="*/ 16 h 205"/>
                <a:gd name="T114" fmla="*/ 58 w 1111"/>
                <a:gd name="T115" fmla="*/ 15 h 205"/>
                <a:gd name="T116" fmla="*/ 5 w 1111"/>
                <a:gd name="T117" fmla="*/ 15 h 205"/>
                <a:gd name="T118" fmla="*/ 10 w 1111"/>
                <a:gd name="T119" fmla="*/ 0 h 20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11"/>
                <a:gd name="T181" fmla="*/ 0 h 205"/>
                <a:gd name="T182" fmla="*/ 1111 w 1111"/>
                <a:gd name="T183" fmla="*/ 205 h 20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11" h="205">
                  <a:moveTo>
                    <a:pt x="10" y="0"/>
                  </a:moveTo>
                  <a:lnTo>
                    <a:pt x="14" y="0"/>
                  </a:lnTo>
                  <a:lnTo>
                    <a:pt x="23" y="3"/>
                  </a:lnTo>
                  <a:lnTo>
                    <a:pt x="32" y="3"/>
                  </a:lnTo>
                  <a:lnTo>
                    <a:pt x="42" y="3"/>
                  </a:lnTo>
                  <a:lnTo>
                    <a:pt x="55" y="6"/>
                  </a:lnTo>
                  <a:lnTo>
                    <a:pt x="69" y="9"/>
                  </a:lnTo>
                  <a:lnTo>
                    <a:pt x="83" y="11"/>
                  </a:lnTo>
                  <a:lnTo>
                    <a:pt x="101" y="11"/>
                  </a:lnTo>
                  <a:lnTo>
                    <a:pt x="119" y="11"/>
                  </a:lnTo>
                  <a:lnTo>
                    <a:pt x="133" y="14"/>
                  </a:lnTo>
                  <a:lnTo>
                    <a:pt x="142" y="14"/>
                  </a:lnTo>
                  <a:lnTo>
                    <a:pt x="151" y="17"/>
                  </a:lnTo>
                  <a:lnTo>
                    <a:pt x="165" y="17"/>
                  </a:lnTo>
                  <a:lnTo>
                    <a:pt x="179" y="17"/>
                  </a:lnTo>
                  <a:lnTo>
                    <a:pt x="183" y="17"/>
                  </a:lnTo>
                  <a:lnTo>
                    <a:pt x="197" y="20"/>
                  </a:lnTo>
                  <a:lnTo>
                    <a:pt x="211" y="23"/>
                  </a:lnTo>
                  <a:lnTo>
                    <a:pt x="220" y="23"/>
                  </a:lnTo>
                  <a:lnTo>
                    <a:pt x="229" y="23"/>
                  </a:lnTo>
                  <a:lnTo>
                    <a:pt x="243" y="23"/>
                  </a:lnTo>
                  <a:lnTo>
                    <a:pt x="252" y="26"/>
                  </a:lnTo>
                  <a:lnTo>
                    <a:pt x="265" y="29"/>
                  </a:lnTo>
                  <a:lnTo>
                    <a:pt x="275" y="29"/>
                  </a:lnTo>
                  <a:lnTo>
                    <a:pt x="288" y="29"/>
                  </a:lnTo>
                  <a:lnTo>
                    <a:pt x="302" y="31"/>
                  </a:lnTo>
                  <a:lnTo>
                    <a:pt x="311" y="31"/>
                  </a:lnTo>
                  <a:lnTo>
                    <a:pt x="320" y="31"/>
                  </a:lnTo>
                  <a:lnTo>
                    <a:pt x="334" y="34"/>
                  </a:lnTo>
                  <a:lnTo>
                    <a:pt x="348" y="34"/>
                  </a:lnTo>
                  <a:lnTo>
                    <a:pt x="357" y="34"/>
                  </a:lnTo>
                  <a:lnTo>
                    <a:pt x="371" y="34"/>
                  </a:lnTo>
                  <a:lnTo>
                    <a:pt x="384" y="37"/>
                  </a:lnTo>
                  <a:lnTo>
                    <a:pt x="393" y="37"/>
                  </a:lnTo>
                  <a:lnTo>
                    <a:pt x="407" y="37"/>
                  </a:lnTo>
                  <a:lnTo>
                    <a:pt x="421" y="40"/>
                  </a:lnTo>
                  <a:lnTo>
                    <a:pt x="435" y="40"/>
                  </a:lnTo>
                  <a:lnTo>
                    <a:pt x="444" y="43"/>
                  </a:lnTo>
                  <a:lnTo>
                    <a:pt x="453" y="46"/>
                  </a:lnTo>
                  <a:lnTo>
                    <a:pt x="471" y="46"/>
                  </a:lnTo>
                  <a:lnTo>
                    <a:pt x="480" y="46"/>
                  </a:lnTo>
                  <a:lnTo>
                    <a:pt x="489" y="46"/>
                  </a:lnTo>
                  <a:lnTo>
                    <a:pt x="508" y="46"/>
                  </a:lnTo>
                  <a:lnTo>
                    <a:pt x="517" y="46"/>
                  </a:lnTo>
                  <a:lnTo>
                    <a:pt x="526" y="46"/>
                  </a:lnTo>
                  <a:lnTo>
                    <a:pt x="540" y="48"/>
                  </a:lnTo>
                  <a:lnTo>
                    <a:pt x="553" y="48"/>
                  </a:lnTo>
                  <a:lnTo>
                    <a:pt x="558" y="48"/>
                  </a:lnTo>
                  <a:lnTo>
                    <a:pt x="572" y="51"/>
                  </a:lnTo>
                  <a:lnTo>
                    <a:pt x="585" y="51"/>
                  </a:lnTo>
                  <a:lnTo>
                    <a:pt x="594" y="51"/>
                  </a:lnTo>
                  <a:lnTo>
                    <a:pt x="604" y="51"/>
                  </a:lnTo>
                  <a:lnTo>
                    <a:pt x="613" y="51"/>
                  </a:lnTo>
                  <a:lnTo>
                    <a:pt x="626" y="54"/>
                  </a:lnTo>
                  <a:lnTo>
                    <a:pt x="640" y="54"/>
                  </a:lnTo>
                  <a:lnTo>
                    <a:pt x="658" y="54"/>
                  </a:lnTo>
                  <a:lnTo>
                    <a:pt x="677" y="57"/>
                  </a:lnTo>
                  <a:lnTo>
                    <a:pt x="686" y="57"/>
                  </a:lnTo>
                  <a:lnTo>
                    <a:pt x="695" y="57"/>
                  </a:lnTo>
                  <a:lnTo>
                    <a:pt x="709" y="57"/>
                  </a:lnTo>
                  <a:lnTo>
                    <a:pt x="718" y="57"/>
                  </a:lnTo>
                  <a:lnTo>
                    <a:pt x="736" y="57"/>
                  </a:lnTo>
                  <a:lnTo>
                    <a:pt x="754" y="60"/>
                  </a:lnTo>
                  <a:lnTo>
                    <a:pt x="764" y="60"/>
                  </a:lnTo>
                  <a:lnTo>
                    <a:pt x="782" y="60"/>
                  </a:lnTo>
                  <a:lnTo>
                    <a:pt x="791" y="60"/>
                  </a:lnTo>
                  <a:lnTo>
                    <a:pt x="800" y="60"/>
                  </a:lnTo>
                  <a:lnTo>
                    <a:pt x="818" y="60"/>
                  </a:lnTo>
                  <a:lnTo>
                    <a:pt x="837" y="60"/>
                  </a:lnTo>
                  <a:lnTo>
                    <a:pt x="855" y="60"/>
                  </a:lnTo>
                  <a:lnTo>
                    <a:pt x="878" y="63"/>
                  </a:lnTo>
                  <a:lnTo>
                    <a:pt x="896" y="63"/>
                  </a:lnTo>
                  <a:lnTo>
                    <a:pt x="914" y="63"/>
                  </a:lnTo>
                  <a:lnTo>
                    <a:pt x="933" y="63"/>
                  </a:lnTo>
                  <a:lnTo>
                    <a:pt x="956" y="66"/>
                  </a:lnTo>
                  <a:lnTo>
                    <a:pt x="969" y="66"/>
                  </a:lnTo>
                  <a:lnTo>
                    <a:pt x="983" y="66"/>
                  </a:lnTo>
                  <a:lnTo>
                    <a:pt x="1001" y="66"/>
                  </a:lnTo>
                  <a:lnTo>
                    <a:pt x="1020" y="66"/>
                  </a:lnTo>
                  <a:lnTo>
                    <a:pt x="1029" y="66"/>
                  </a:lnTo>
                  <a:lnTo>
                    <a:pt x="1042" y="66"/>
                  </a:lnTo>
                  <a:lnTo>
                    <a:pt x="1056" y="66"/>
                  </a:lnTo>
                  <a:lnTo>
                    <a:pt x="1065" y="66"/>
                  </a:lnTo>
                  <a:lnTo>
                    <a:pt x="1074" y="66"/>
                  </a:lnTo>
                  <a:lnTo>
                    <a:pt x="1088" y="66"/>
                  </a:lnTo>
                  <a:lnTo>
                    <a:pt x="1093" y="66"/>
                  </a:lnTo>
                  <a:lnTo>
                    <a:pt x="1102" y="66"/>
                  </a:lnTo>
                  <a:lnTo>
                    <a:pt x="1111" y="66"/>
                  </a:lnTo>
                  <a:lnTo>
                    <a:pt x="1093" y="205"/>
                  </a:lnTo>
                  <a:lnTo>
                    <a:pt x="1088" y="205"/>
                  </a:lnTo>
                  <a:lnTo>
                    <a:pt x="1074" y="205"/>
                  </a:lnTo>
                  <a:lnTo>
                    <a:pt x="1070" y="205"/>
                  </a:lnTo>
                  <a:lnTo>
                    <a:pt x="1056" y="205"/>
                  </a:lnTo>
                  <a:lnTo>
                    <a:pt x="1047" y="205"/>
                  </a:lnTo>
                  <a:lnTo>
                    <a:pt x="1038" y="205"/>
                  </a:lnTo>
                  <a:lnTo>
                    <a:pt x="1020" y="202"/>
                  </a:lnTo>
                  <a:lnTo>
                    <a:pt x="1010" y="202"/>
                  </a:lnTo>
                  <a:lnTo>
                    <a:pt x="992" y="202"/>
                  </a:lnTo>
                  <a:lnTo>
                    <a:pt x="978" y="202"/>
                  </a:lnTo>
                  <a:lnTo>
                    <a:pt x="956" y="199"/>
                  </a:lnTo>
                  <a:lnTo>
                    <a:pt x="937" y="199"/>
                  </a:lnTo>
                  <a:lnTo>
                    <a:pt x="919" y="199"/>
                  </a:lnTo>
                  <a:lnTo>
                    <a:pt x="901" y="199"/>
                  </a:lnTo>
                  <a:lnTo>
                    <a:pt x="887" y="199"/>
                  </a:lnTo>
                  <a:lnTo>
                    <a:pt x="878" y="199"/>
                  </a:lnTo>
                  <a:lnTo>
                    <a:pt x="869" y="199"/>
                  </a:lnTo>
                  <a:lnTo>
                    <a:pt x="855" y="199"/>
                  </a:lnTo>
                  <a:lnTo>
                    <a:pt x="846" y="197"/>
                  </a:lnTo>
                  <a:lnTo>
                    <a:pt x="837" y="197"/>
                  </a:lnTo>
                  <a:lnTo>
                    <a:pt x="823" y="197"/>
                  </a:lnTo>
                  <a:lnTo>
                    <a:pt x="814" y="197"/>
                  </a:lnTo>
                  <a:lnTo>
                    <a:pt x="800" y="197"/>
                  </a:lnTo>
                  <a:lnTo>
                    <a:pt x="791" y="197"/>
                  </a:lnTo>
                  <a:lnTo>
                    <a:pt x="782" y="197"/>
                  </a:lnTo>
                  <a:lnTo>
                    <a:pt x="768" y="197"/>
                  </a:lnTo>
                  <a:lnTo>
                    <a:pt x="759" y="194"/>
                  </a:lnTo>
                  <a:lnTo>
                    <a:pt x="745" y="194"/>
                  </a:lnTo>
                  <a:lnTo>
                    <a:pt x="736" y="194"/>
                  </a:lnTo>
                  <a:lnTo>
                    <a:pt x="727" y="194"/>
                  </a:lnTo>
                  <a:lnTo>
                    <a:pt x="713" y="194"/>
                  </a:lnTo>
                  <a:lnTo>
                    <a:pt x="704" y="194"/>
                  </a:lnTo>
                  <a:lnTo>
                    <a:pt x="695" y="194"/>
                  </a:lnTo>
                  <a:lnTo>
                    <a:pt x="681" y="194"/>
                  </a:lnTo>
                  <a:lnTo>
                    <a:pt x="672" y="194"/>
                  </a:lnTo>
                  <a:lnTo>
                    <a:pt x="663" y="194"/>
                  </a:lnTo>
                  <a:lnTo>
                    <a:pt x="649" y="194"/>
                  </a:lnTo>
                  <a:lnTo>
                    <a:pt x="640" y="194"/>
                  </a:lnTo>
                  <a:lnTo>
                    <a:pt x="622" y="191"/>
                  </a:lnTo>
                  <a:lnTo>
                    <a:pt x="604" y="188"/>
                  </a:lnTo>
                  <a:lnTo>
                    <a:pt x="585" y="188"/>
                  </a:lnTo>
                  <a:lnTo>
                    <a:pt x="567" y="188"/>
                  </a:lnTo>
                  <a:lnTo>
                    <a:pt x="544" y="185"/>
                  </a:lnTo>
                  <a:lnTo>
                    <a:pt x="526" y="185"/>
                  </a:lnTo>
                  <a:lnTo>
                    <a:pt x="517" y="185"/>
                  </a:lnTo>
                  <a:lnTo>
                    <a:pt x="508" y="182"/>
                  </a:lnTo>
                  <a:lnTo>
                    <a:pt x="494" y="182"/>
                  </a:lnTo>
                  <a:lnTo>
                    <a:pt x="489" y="182"/>
                  </a:lnTo>
                  <a:lnTo>
                    <a:pt x="471" y="177"/>
                  </a:lnTo>
                  <a:lnTo>
                    <a:pt x="462" y="177"/>
                  </a:lnTo>
                  <a:lnTo>
                    <a:pt x="453" y="177"/>
                  </a:lnTo>
                  <a:lnTo>
                    <a:pt x="439" y="177"/>
                  </a:lnTo>
                  <a:lnTo>
                    <a:pt x="430" y="174"/>
                  </a:lnTo>
                  <a:lnTo>
                    <a:pt x="421" y="174"/>
                  </a:lnTo>
                  <a:lnTo>
                    <a:pt x="407" y="174"/>
                  </a:lnTo>
                  <a:lnTo>
                    <a:pt x="398" y="174"/>
                  </a:lnTo>
                  <a:lnTo>
                    <a:pt x="384" y="171"/>
                  </a:lnTo>
                  <a:lnTo>
                    <a:pt x="371" y="171"/>
                  </a:lnTo>
                  <a:lnTo>
                    <a:pt x="357" y="168"/>
                  </a:lnTo>
                  <a:lnTo>
                    <a:pt x="348" y="168"/>
                  </a:lnTo>
                  <a:lnTo>
                    <a:pt x="334" y="165"/>
                  </a:lnTo>
                  <a:lnTo>
                    <a:pt x="320" y="162"/>
                  </a:lnTo>
                  <a:lnTo>
                    <a:pt x="311" y="162"/>
                  </a:lnTo>
                  <a:lnTo>
                    <a:pt x="302" y="162"/>
                  </a:lnTo>
                  <a:lnTo>
                    <a:pt x="288" y="162"/>
                  </a:lnTo>
                  <a:lnTo>
                    <a:pt x="275" y="162"/>
                  </a:lnTo>
                  <a:lnTo>
                    <a:pt x="265" y="160"/>
                  </a:lnTo>
                  <a:lnTo>
                    <a:pt x="256" y="160"/>
                  </a:lnTo>
                  <a:lnTo>
                    <a:pt x="243" y="157"/>
                  </a:lnTo>
                  <a:lnTo>
                    <a:pt x="233" y="157"/>
                  </a:lnTo>
                  <a:lnTo>
                    <a:pt x="220" y="157"/>
                  </a:lnTo>
                  <a:lnTo>
                    <a:pt x="211" y="157"/>
                  </a:lnTo>
                  <a:lnTo>
                    <a:pt x="197" y="151"/>
                  </a:lnTo>
                  <a:lnTo>
                    <a:pt x="188" y="151"/>
                  </a:lnTo>
                  <a:lnTo>
                    <a:pt x="179" y="151"/>
                  </a:lnTo>
                  <a:lnTo>
                    <a:pt x="165" y="151"/>
                  </a:lnTo>
                  <a:lnTo>
                    <a:pt x="147" y="148"/>
                  </a:lnTo>
                  <a:lnTo>
                    <a:pt x="128" y="145"/>
                  </a:lnTo>
                  <a:lnTo>
                    <a:pt x="110" y="142"/>
                  </a:lnTo>
                  <a:lnTo>
                    <a:pt x="92" y="142"/>
                  </a:lnTo>
                  <a:lnTo>
                    <a:pt x="73" y="140"/>
                  </a:lnTo>
                  <a:lnTo>
                    <a:pt x="60" y="140"/>
                  </a:lnTo>
                  <a:lnTo>
                    <a:pt x="42" y="137"/>
                  </a:lnTo>
                  <a:lnTo>
                    <a:pt x="32" y="137"/>
                  </a:lnTo>
                  <a:lnTo>
                    <a:pt x="23" y="134"/>
                  </a:lnTo>
                  <a:lnTo>
                    <a:pt x="14" y="134"/>
                  </a:lnTo>
                  <a:lnTo>
                    <a:pt x="5" y="134"/>
                  </a:lnTo>
                  <a:lnTo>
                    <a:pt x="0" y="134"/>
                  </a:lnTo>
                  <a:lnTo>
                    <a:pt x="10"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53" name="Freeform 164"/>
            <p:cNvSpPr>
              <a:spLocks/>
            </p:cNvSpPr>
            <p:nvPr>
              <p:custDataLst>
                <p:tags r:id="rId152"/>
              </p:custDataLst>
            </p:nvPr>
          </p:nvSpPr>
          <p:spPr bwMode="gray">
            <a:xfrm>
              <a:off x="3658" y="2183"/>
              <a:ext cx="760" cy="161"/>
            </a:xfrm>
            <a:custGeom>
              <a:avLst/>
              <a:gdLst>
                <a:gd name="T0" fmla="*/ 14 w 741"/>
                <a:gd name="T1" fmla="*/ 5 h 176"/>
                <a:gd name="T2" fmla="*/ 75 w 741"/>
                <a:gd name="T3" fmla="*/ 5 h 176"/>
                <a:gd name="T4" fmla="*/ 138 w 741"/>
                <a:gd name="T5" fmla="*/ 5 h 176"/>
                <a:gd name="T6" fmla="*/ 197 w 741"/>
                <a:gd name="T7" fmla="*/ 5 h 176"/>
                <a:gd name="T8" fmla="*/ 255 w 741"/>
                <a:gd name="T9" fmla="*/ 5 h 176"/>
                <a:gd name="T10" fmla="*/ 309 w 741"/>
                <a:gd name="T11" fmla="*/ 5 h 176"/>
                <a:gd name="T12" fmla="*/ 379 w 741"/>
                <a:gd name="T13" fmla="*/ 5 h 176"/>
                <a:gd name="T14" fmla="*/ 434 w 741"/>
                <a:gd name="T15" fmla="*/ 5 h 176"/>
                <a:gd name="T16" fmla="*/ 494 w 741"/>
                <a:gd name="T17" fmla="*/ 5 h 176"/>
                <a:gd name="T18" fmla="*/ 547 w 741"/>
                <a:gd name="T19" fmla="*/ 5 h 176"/>
                <a:gd name="T20" fmla="*/ 618 w 741"/>
                <a:gd name="T21" fmla="*/ 5 h 176"/>
                <a:gd name="T22" fmla="*/ 663 w 741"/>
                <a:gd name="T23" fmla="*/ 5 h 176"/>
                <a:gd name="T24" fmla="*/ 724 w 741"/>
                <a:gd name="T25" fmla="*/ 5 h 176"/>
                <a:gd name="T26" fmla="*/ 785 w 741"/>
                <a:gd name="T27" fmla="*/ 5 h 176"/>
                <a:gd name="T28" fmla="*/ 837 w 741"/>
                <a:gd name="T29" fmla="*/ 5 h 176"/>
                <a:gd name="T30" fmla="*/ 891 w 741"/>
                <a:gd name="T31" fmla="*/ 5 h 176"/>
                <a:gd name="T32" fmla="*/ 945 w 741"/>
                <a:gd name="T33" fmla="*/ 5 h 176"/>
                <a:gd name="T34" fmla="*/ 998 w 741"/>
                <a:gd name="T35" fmla="*/ 5 h 176"/>
                <a:gd name="T36" fmla="*/ 1043 w 741"/>
                <a:gd name="T37" fmla="*/ 5 h 176"/>
                <a:gd name="T38" fmla="*/ 1088 w 741"/>
                <a:gd name="T39" fmla="*/ 5 h 176"/>
                <a:gd name="T40" fmla="*/ 1127 w 741"/>
                <a:gd name="T41" fmla="*/ 5 h 176"/>
                <a:gd name="T42" fmla="*/ 1176 w 741"/>
                <a:gd name="T43" fmla="*/ 2 h 176"/>
                <a:gd name="T44" fmla="*/ 1237 w 741"/>
                <a:gd name="T45" fmla="*/ 0 h 176"/>
                <a:gd name="T46" fmla="*/ 1301 w 741"/>
                <a:gd name="T47" fmla="*/ 0 h 176"/>
                <a:gd name="T48" fmla="*/ 1349 w 741"/>
                <a:gd name="T49" fmla="*/ 0 h 176"/>
                <a:gd name="T50" fmla="*/ 1405 w 741"/>
                <a:gd name="T51" fmla="*/ 0 h 176"/>
                <a:gd name="T52" fmla="*/ 1412 w 741"/>
                <a:gd name="T53" fmla="*/ 2 h 176"/>
                <a:gd name="T54" fmla="*/ 1412 w 741"/>
                <a:gd name="T55" fmla="*/ 5 h 176"/>
                <a:gd name="T56" fmla="*/ 1412 w 741"/>
                <a:gd name="T57" fmla="*/ 5 h 176"/>
                <a:gd name="T58" fmla="*/ 1423 w 741"/>
                <a:gd name="T59" fmla="*/ 5 h 176"/>
                <a:gd name="T60" fmla="*/ 1423 w 741"/>
                <a:gd name="T61" fmla="*/ 6 h 176"/>
                <a:gd name="T62" fmla="*/ 1423 w 741"/>
                <a:gd name="T63" fmla="*/ 9 h 176"/>
                <a:gd name="T64" fmla="*/ 1429 w 741"/>
                <a:gd name="T65" fmla="*/ 11 h 176"/>
                <a:gd name="T66" fmla="*/ 1429 w 741"/>
                <a:gd name="T67" fmla="*/ 12 h 176"/>
                <a:gd name="T68" fmla="*/ 1429 w 741"/>
                <a:gd name="T69" fmla="*/ 12 h 176"/>
                <a:gd name="T70" fmla="*/ 1387 w 741"/>
                <a:gd name="T71" fmla="*/ 12 h 176"/>
                <a:gd name="T72" fmla="*/ 1335 w 741"/>
                <a:gd name="T73" fmla="*/ 12 h 176"/>
                <a:gd name="T74" fmla="*/ 1288 w 741"/>
                <a:gd name="T75" fmla="*/ 13 h 176"/>
                <a:gd name="T76" fmla="*/ 1237 w 741"/>
                <a:gd name="T77" fmla="*/ 13 h 176"/>
                <a:gd name="T78" fmla="*/ 1184 w 741"/>
                <a:gd name="T79" fmla="*/ 13 h 176"/>
                <a:gd name="T80" fmla="*/ 1127 w 741"/>
                <a:gd name="T81" fmla="*/ 14 h 176"/>
                <a:gd name="T82" fmla="*/ 1062 w 741"/>
                <a:gd name="T83" fmla="*/ 14 h 176"/>
                <a:gd name="T84" fmla="*/ 1008 w 741"/>
                <a:gd name="T85" fmla="*/ 14 h 176"/>
                <a:gd name="T86" fmla="*/ 936 w 741"/>
                <a:gd name="T87" fmla="*/ 15 h 176"/>
                <a:gd name="T88" fmla="*/ 866 w 741"/>
                <a:gd name="T89" fmla="*/ 15 h 176"/>
                <a:gd name="T90" fmla="*/ 804 w 741"/>
                <a:gd name="T91" fmla="*/ 15 h 176"/>
                <a:gd name="T92" fmla="*/ 742 w 741"/>
                <a:gd name="T93" fmla="*/ 15 h 176"/>
                <a:gd name="T94" fmla="*/ 680 w 741"/>
                <a:gd name="T95" fmla="*/ 16 h 176"/>
                <a:gd name="T96" fmla="*/ 0 w 741"/>
                <a:gd name="T97" fmla="*/ 17 h 176"/>
                <a:gd name="T98" fmla="*/ 0 w 741"/>
                <a:gd name="T99" fmla="*/ 5 h 17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41"/>
                <a:gd name="T151" fmla="*/ 0 h 176"/>
                <a:gd name="T152" fmla="*/ 741 w 741"/>
                <a:gd name="T153" fmla="*/ 176 h 17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41" h="176">
                  <a:moveTo>
                    <a:pt x="0" y="40"/>
                  </a:moveTo>
                  <a:lnTo>
                    <a:pt x="14" y="40"/>
                  </a:lnTo>
                  <a:lnTo>
                    <a:pt x="28" y="40"/>
                  </a:lnTo>
                  <a:lnTo>
                    <a:pt x="41" y="40"/>
                  </a:lnTo>
                  <a:lnTo>
                    <a:pt x="60" y="40"/>
                  </a:lnTo>
                  <a:lnTo>
                    <a:pt x="73" y="40"/>
                  </a:lnTo>
                  <a:lnTo>
                    <a:pt x="87" y="40"/>
                  </a:lnTo>
                  <a:lnTo>
                    <a:pt x="101" y="40"/>
                  </a:lnTo>
                  <a:lnTo>
                    <a:pt x="119" y="40"/>
                  </a:lnTo>
                  <a:lnTo>
                    <a:pt x="133" y="37"/>
                  </a:lnTo>
                  <a:lnTo>
                    <a:pt x="147" y="37"/>
                  </a:lnTo>
                  <a:lnTo>
                    <a:pt x="160" y="37"/>
                  </a:lnTo>
                  <a:lnTo>
                    <a:pt x="179" y="37"/>
                  </a:lnTo>
                  <a:lnTo>
                    <a:pt x="197" y="34"/>
                  </a:lnTo>
                  <a:lnTo>
                    <a:pt x="210" y="34"/>
                  </a:lnTo>
                  <a:lnTo>
                    <a:pt x="224" y="34"/>
                  </a:lnTo>
                  <a:lnTo>
                    <a:pt x="238" y="34"/>
                  </a:lnTo>
                  <a:lnTo>
                    <a:pt x="256" y="31"/>
                  </a:lnTo>
                  <a:lnTo>
                    <a:pt x="270" y="31"/>
                  </a:lnTo>
                  <a:lnTo>
                    <a:pt x="284" y="28"/>
                  </a:lnTo>
                  <a:lnTo>
                    <a:pt x="302" y="28"/>
                  </a:lnTo>
                  <a:lnTo>
                    <a:pt x="320" y="28"/>
                  </a:lnTo>
                  <a:lnTo>
                    <a:pt x="329" y="28"/>
                  </a:lnTo>
                  <a:lnTo>
                    <a:pt x="343" y="25"/>
                  </a:lnTo>
                  <a:lnTo>
                    <a:pt x="361" y="25"/>
                  </a:lnTo>
                  <a:lnTo>
                    <a:pt x="375" y="22"/>
                  </a:lnTo>
                  <a:lnTo>
                    <a:pt x="389" y="22"/>
                  </a:lnTo>
                  <a:lnTo>
                    <a:pt x="407" y="20"/>
                  </a:lnTo>
                  <a:lnTo>
                    <a:pt x="421" y="20"/>
                  </a:lnTo>
                  <a:lnTo>
                    <a:pt x="434" y="20"/>
                  </a:lnTo>
                  <a:lnTo>
                    <a:pt x="448" y="20"/>
                  </a:lnTo>
                  <a:lnTo>
                    <a:pt x="462" y="17"/>
                  </a:lnTo>
                  <a:lnTo>
                    <a:pt x="480" y="17"/>
                  </a:lnTo>
                  <a:lnTo>
                    <a:pt x="489" y="14"/>
                  </a:lnTo>
                  <a:lnTo>
                    <a:pt x="503" y="14"/>
                  </a:lnTo>
                  <a:lnTo>
                    <a:pt x="517" y="14"/>
                  </a:lnTo>
                  <a:lnTo>
                    <a:pt x="526" y="11"/>
                  </a:lnTo>
                  <a:lnTo>
                    <a:pt x="540" y="8"/>
                  </a:lnTo>
                  <a:lnTo>
                    <a:pt x="553" y="8"/>
                  </a:lnTo>
                  <a:lnTo>
                    <a:pt x="562" y="5"/>
                  </a:lnTo>
                  <a:lnTo>
                    <a:pt x="576" y="5"/>
                  </a:lnTo>
                  <a:lnTo>
                    <a:pt x="585" y="5"/>
                  </a:lnTo>
                  <a:lnTo>
                    <a:pt x="599" y="5"/>
                  </a:lnTo>
                  <a:lnTo>
                    <a:pt x="608" y="2"/>
                  </a:lnTo>
                  <a:lnTo>
                    <a:pt x="622" y="2"/>
                  </a:lnTo>
                  <a:lnTo>
                    <a:pt x="640" y="0"/>
                  </a:lnTo>
                  <a:lnTo>
                    <a:pt x="658" y="0"/>
                  </a:lnTo>
                  <a:lnTo>
                    <a:pt x="672" y="0"/>
                  </a:lnTo>
                  <a:lnTo>
                    <a:pt x="686" y="0"/>
                  </a:lnTo>
                  <a:lnTo>
                    <a:pt x="699" y="0"/>
                  </a:lnTo>
                  <a:lnTo>
                    <a:pt x="709" y="0"/>
                  </a:lnTo>
                  <a:lnTo>
                    <a:pt x="727" y="0"/>
                  </a:lnTo>
                  <a:lnTo>
                    <a:pt x="731" y="0"/>
                  </a:lnTo>
                  <a:lnTo>
                    <a:pt x="731" y="2"/>
                  </a:lnTo>
                  <a:lnTo>
                    <a:pt x="731" y="8"/>
                  </a:lnTo>
                  <a:lnTo>
                    <a:pt x="731" y="14"/>
                  </a:lnTo>
                  <a:lnTo>
                    <a:pt x="731" y="22"/>
                  </a:lnTo>
                  <a:lnTo>
                    <a:pt x="731" y="31"/>
                  </a:lnTo>
                  <a:lnTo>
                    <a:pt x="731" y="42"/>
                  </a:lnTo>
                  <a:lnTo>
                    <a:pt x="736" y="51"/>
                  </a:lnTo>
                  <a:lnTo>
                    <a:pt x="736" y="59"/>
                  </a:lnTo>
                  <a:lnTo>
                    <a:pt x="736" y="68"/>
                  </a:lnTo>
                  <a:lnTo>
                    <a:pt x="736" y="79"/>
                  </a:lnTo>
                  <a:lnTo>
                    <a:pt x="736" y="88"/>
                  </a:lnTo>
                  <a:lnTo>
                    <a:pt x="741" y="96"/>
                  </a:lnTo>
                  <a:lnTo>
                    <a:pt x="741" y="102"/>
                  </a:lnTo>
                  <a:lnTo>
                    <a:pt x="741" y="105"/>
                  </a:lnTo>
                  <a:lnTo>
                    <a:pt x="741" y="111"/>
                  </a:lnTo>
                  <a:lnTo>
                    <a:pt x="731" y="111"/>
                  </a:lnTo>
                  <a:lnTo>
                    <a:pt x="718" y="114"/>
                  </a:lnTo>
                  <a:lnTo>
                    <a:pt x="699" y="116"/>
                  </a:lnTo>
                  <a:lnTo>
                    <a:pt x="690" y="116"/>
                  </a:lnTo>
                  <a:lnTo>
                    <a:pt x="681" y="116"/>
                  </a:lnTo>
                  <a:lnTo>
                    <a:pt x="668" y="119"/>
                  </a:lnTo>
                  <a:lnTo>
                    <a:pt x="658" y="122"/>
                  </a:lnTo>
                  <a:lnTo>
                    <a:pt x="640" y="125"/>
                  </a:lnTo>
                  <a:lnTo>
                    <a:pt x="631" y="125"/>
                  </a:lnTo>
                  <a:lnTo>
                    <a:pt x="613" y="128"/>
                  </a:lnTo>
                  <a:lnTo>
                    <a:pt x="604" y="128"/>
                  </a:lnTo>
                  <a:lnTo>
                    <a:pt x="585" y="131"/>
                  </a:lnTo>
                  <a:lnTo>
                    <a:pt x="567" y="131"/>
                  </a:lnTo>
                  <a:lnTo>
                    <a:pt x="549" y="133"/>
                  </a:lnTo>
                  <a:lnTo>
                    <a:pt x="540" y="136"/>
                  </a:lnTo>
                  <a:lnTo>
                    <a:pt x="521" y="139"/>
                  </a:lnTo>
                  <a:lnTo>
                    <a:pt x="503" y="139"/>
                  </a:lnTo>
                  <a:lnTo>
                    <a:pt x="485" y="142"/>
                  </a:lnTo>
                  <a:lnTo>
                    <a:pt x="471" y="145"/>
                  </a:lnTo>
                  <a:lnTo>
                    <a:pt x="448" y="148"/>
                  </a:lnTo>
                  <a:lnTo>
                    <a:pt x="434" y="148"/>
                  </a:lnTo>
                  <a:lnTo>
                    <a:pt x="416" y="148"/>
                  </a:lnTo>
                  <a:lnTo>
                    <a:pt x="398" y="151"/>
                  </a:lnTo>
                  <a:lnTo>
                    <a:pt x="384" y="153"/>
                  </a:lnTo>
                  <a:lnTo>
                    <a:pt x="366" y="153"/>
                  </a:lnTo>
                  <a:lnTo>
                    <a:pt x="352" y="156"/>
                  </a:lnTo>
                  <a:lnTo>
                    <a:pt x="338" y="159"/>
                  </a:lnTo>
                  <a:lnTo>
                    <a:pt x="0" y="176"/>
                  </a:lnTo>
                  <a:lnTo>
                    <a:pt x="0" y="4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54" name="Freeform 165"/>
            <p:cNvSpPr>
              <a:spLocks/>
            </p:cNvSpPr>
            <p:nvPr>
              <p:custDataLst>
                <p:tags r:id="rId153"/>
              </p:custDataLst>
            </p:nvPr>
          </p:nvSpPr>
          <p:spPr bwMode="gray">
            <a:xfrm>
              <a:off x="1293" y="2430"/>
              <a:ext cx="164" cy="94"/>
            </a:xfrm>
            <a:custGeom>
              <a:avLst/>
              <a:gdLst>
                <a:gd name="T0" fmla="*/ 54 w 160"/>
                <a:gd name="T1" fmla="*/ 3 h 103"/>
                <a:gd name="T2" fmla="*/ 19 w 160"/>
                <a:gd name="T3" fmla="*/ 5 h 103"/>
                <a:gd name="T4" fmla="*/ 14 w 160"/>
                <a:gd name="T5" fmla="*/ 5 h 103"/>
                <a:gd name="T6" fmla="*/ 9 w 160"/>
                <a:gd name="T7" fmla="*/ 5 h 103"/>
                <a:gd name="T8" fmla="*/ 5 w 160"/>
                <a:gd name="T9" fmla="*/ 5 h 103"/>
                <a:gd name="T10" fmla="*/ 0 w 160"/>
                <a:gd name="T11" fmla="*/ 5 h 103"/>
                <a:gd name="T12" fmla="*/ 0 w 160"/>
                <a:gd name="T13" fmla="*/ 5 h 103"/>
                <a:gd name="T14" fmla="*/ 0 w 160"/>
                <a:gd name="T15" fmla="*/ 5 h 103"/>
                <a:gd name="T16" fmla="*/ 5 w 160"/>
                <a:gd name="T17" fmla="*/ 5 h 103"/>
                <a:gd name="T18" fmla="*/ 5 w 160"/>
                <a:gd name="T19" fmla="*/ 7 h 103"/>
                <a:gd name="T20" fmla="*/ 9 w 160"/>
                <a:gd name="T21" fmla="*/ 8 h 103"/>
                <a:gd name="T22" fmla="*/ 19 w 160"/>
                <a:gd name="T23" fmla="*/ 9 h 103"/>
                <a:gd name="T24" fmla="*/ 58 w 160"/>
                <a:gd name="T25" fmla="*/ 10 h 103"/>
                <a:gd name="T26" fmla="*/ 83 w 160"/>
                <a:gd name="T27" fmla="*/ 10 h 103"/>
                <a:gd name="T28" fmla="*/ 116 w 160"/>
                <a:gd name="T29" fmla="*/ 10 h 103"/>
                <a:gd name="T30" fmla="*/ 137 w 160"/>
                <a:gd name="T31" fmla="*/ 10 h 103"/>
                <a:gd name="T32" fmla="*/ 164 w 160"/>
                <a:gd name="T33" fmla="*/ 10 h 103"/>
                <a:gd name="T34" fmla="*/ 194 w 160"/>
                <a:gd name="T35" fmla="*/ 10 h 103"/>
                <a:gd name="T36" fmla="*/ 217 w 160"/>
                <a:gd name="T37" fmla="*/ 10 h 103"/>
                <a:gd name="T38" fmla="*/ 234 w 160"/>
                <a:gd name="T39" fmla="*/ 10 h 103"/>
                <a:gd name="T40" fmla="*/ 252 w 160"/>
                <a:gd name="T41" fmla="*/ 9 h 103"/>
                <a:gd name="T42" fmla="*/ 279 w 160"/>
                <a:gd name="T43" fmla="*/ 8 h 103"/>
                <a:gd name="T44" fmla="*/ 286 w 160"/>
                <a:gd name="T45" fmla="*/ 7 h 103"/>
                <a:gd name="T46" fmla="*/ 295 w 160"/>
                <a:gd name="T47" fmla="*/ 5 h 103"/>
                <a:gd name="T48" fmla="*/ 302 w 160"/>
                <a:gd name="T49" fmla="*/ 5 h 103"/>
                <a:gd name="T50" fmla="*/ 295 w 160"/>
                <a:gd name="T51" fmla="*/ 5 h 103"/>
                <a:gd name="T52" fmla="*/ 295 w 160"/>
                <a:gd name="T53" fmla="*/ 5 h 103"/>
                <a:gd name="T54" fmla="*/ 286 w 160"/>
                <a:gd name="T55" fmla="*/ 5 h 103"/>
                <a:gd name="T56" fmla="*/ 279 w 160"/>
                <a:gd name="T57" fmla="*/ 5 h 103"/>
                <a:gd name="T58" fmla="*/ 252 w 160"/>
                <a:gd name="T59" fmla="*/ 5 h 103"/>
                <a:gd name="T60" fmla="*/ 217 w 160"/>
                <a:gd name="T61" fmla="*/ 5 h 103"/>
                <a:gd name="T62" fmla="*/ 194 w 160"/>
                <a:gd name="T63" fmla="*/ 3 h 103"/>
                <a:gd name="T64" fmla="*/ 145 w 160"/>
                <a:gd name="T65" fmla="*/ 3 h 103"/>
                <a:gd name="T66" fmla="*/ 116 w 160"/>
                <a:gd name="T67" fmla="*/ 0 h 103"/>
                <a:gd name="T68" fmla="*/ 83 w 160"/>
                <a:gd name="T69" fmla="*/ 3 h 103"/>
                <a:gd name="T70" fmla="*/ 65 w 160"/>
                <a:gd name="T71" fmla="*/ 3 h 103"/>
                <a:gd name="T72" fmla="*/ 54 w 160"/>
                <a:gd name="T73" fmla="*/ 3 h 103"/>
                <a:gd name="T74" fmla="*/ 54 w 160"/>
                <a:gd name="T75" fmla="*/ 3 h 1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0"/>
                <a:gd name="T115" fmla="*/ 0 h 103"/>
                <a:gd name="T116" fmla="*/ 160 w 160"/>
                <a:gd name="T117" fmla="*/ 103 h 10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0" h="103">
                  <a:moveTo>
                    <a:pt x="28" y="3"/>
                  </a:moveTo>
                  <a:lnTo>
                    <a:pt x="19" y="12"/>
                  </a:lnTo>
                  <a:lnTo>
                    <a:pt x="14" y="20"/>
                  </a:lnTo>
                  <a:lnTo>
                    <a:pt x="9" y="29"/>
                  </a:lnTo>
                  <a:lnTo>
                    <a:pt x="5" y="40"/>
                  </a:lnTo>
                  <a:lnTo>
                    <a:pt x="0" y="46"/>
                  </a:lnTo>
                  <a:lnTo>
                    <a:pt x="0" y="54"/>
                  </a:lnTo>
                  <a:lnTo>
                    <a:pt x="0" y="60"/>
                  </a:lnTo>
                  <a:lnTo>
                    <a:pt x="5" y="66"/>
                  </a:lnTo>
                  <a:lnTo>
                    <a:pt x="5" y="74"/>
                  </a:lnTo>
                  <a:lnTo>
                    <a:pt x="9" y="83"/>
                  </a:lnTo>
                  <a:lnTo>
                    <a:pt x="19" y="91"/>
                  </a:lnTo>
                  <a:lnTo>
                    <a:pt x="32" y="97"/>
                  </a:lnTo>
                  <a:lnTo>
                    <a:pt x="46" y="100"/>
                  </a:lnTo>
                  <a:lnTo>
                    <a:pt x="60" y="100"/>
                  </a:lnTo>
                  <a:lnTo>
                    <a:pt x="73" y="100"/>
                  </a:lnTo>
                  <a:lnTo>
                    <a:pt x="87" y="103"/>
                  </a:lnTo>
                  <a:lnTo>
                    <a:pt x="101" y="100"/>
                  </a:lnTo>
                  <a:lnTo>
                    <a:pt x="115" y="100"/>
                  </a:lnTo>
                  <a:lnTo>
                    <a:pt x="124" y="97"/>
                  </a:lnTo>
                  <a:lnTo>
                    <a:pt x="133" y="94"/>
                  </a:lnTo>
                  <a:lnTo>
                    <a:pt x="147" y="86"/>
                  </a:lnTo>
                  <a:lnTo>
                    <a:pt x="151" y="74"/>
                  </a:lnTo>
                  <a:lnTo>
                    <a:pt x="156" y="63"/>
                  </a:lnTo>
                  <a:lnTo>
                    <a:pt x="160" y="54"/>
                  </a:lnTo>
                  <a:lnTo>
                    <a:pt x="156" y="43"/>
                  </a:lnTo>
                  <a:lnTo>
                    <a:pt x="156" y="31"/>
                  </a:lnTo>
                  <a:lnTo>
                    <a:pt x="151" y="23"/>
                  </a:lnTo>
                  <a:lnTo>
                    <a:pt x="147" y="17"/>
                  </a:lnTo>
                  <a:lnTo>
                    <a:pt x="133" y="9"/>
                  </a:lnTo>
                  <a:lnTo>
                    <a:pt x="115" y="6"/>
                  </a:lnTo>
                  <a:lnTo>
                    <a:pt x="101" y="3"/>
                  </a:lnTo>
                  <a:lnTo>
                    <a:pt x="78" y="3"/>
                  </a:lnTo>
                  <a:lnTo>
                    <a:pt x="60" y="0"/>
                  </a:lnTo>
                  <a:lnTo>
                    <a:pt x="46" y="3"/>
                  </a:lnTo>
                  <a:lnTo>
                    <a:pt x="37" y="3"/>
                  </a:lnTo>
                  <a:lnTo>
                    <a:pt x="28"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55" name="Freeform 166"/>
            <p:cNvSpPr>
              <a:spLocks/>
            </p:cNvSpPr>
            <p:nvPr>
              <p:custDataLst>
                <p:tags r:id="rId154"/>
              </p:custDataLst>
            </p:nvPr>
          </p:nvSpPr>
          <p:spPr bwMode="gray">
            <a:xfrm>
              <a:off x="1785" y="2469"/>
              <a:ext cx="178" cy="93"/>
            </a:xfrm>
            <a:custGeom>
              <a:avLst/>
              <a:gdLst>
                <a:gd name="T0" fmla="*/ 58 w 174"/>
                <a:gd name="T1" fmla="*/ 5 h 102"/>
                <a:gd name="T2" fmla="*/ 49 w 174"/>
                <a:gd name="T3" fmla="*/ 5 h 102"/>
                <a:gd name="T4" fmla="*/ 14 w 174"/>
                <a:gd name="T5" fmla="*/ 5 h 102"/>
                <a:gd name="T6" fmla="*/ 14 w 174"/>
                <a:gd name="T7" fmla="*/ 5 h 102"/>
                <a:gd name="T8" fmla="*/ 9 w 174"/>
                <a:gd name="T9" fmla="*/ 5 h 102"/>
                <a:gd name="T10" fmla="*/ 5 w 174"/>
                <a:gd name="T11" fmla="*/ 5 h 102"/>
                <a:gd name="T12" fmla="*/ 0 w 174"/>
                <a:gd name="T13" fmla="*/ 5 h 102"/>
                <a:gd name="T14" fmla="*/ 0 w 174"/>
                <a:gd name="T15" fmla="*/ 5 h 102"/>
                <a:gd name="T16" fmla="*/ 5 w 174"/>
                <a:gd name="T17" fmla="*/ 5 h 102"/>
                <a:gd name="T18" fmla="*/ 9 w 174"/>
                <a:gd name="T19" fmla="*/ 7 h 102"/>
                <a:gd name="T20" fmla="*/ 14 w 174"/>
                <a:gd name="T21" fmla="*/ 8 h 102"/>
                <a:gd name="T22" fmla="*/ 49 w 174"/>
                <a:gd name="T23" fmla="*/ 9 h 102"/>
                <a:gd name="T24" fmla="*/ 63 w 174"/>
                <a:gd name="T25" fmla="*/ 10 h 102"/>
                <a:gd name="T26" fmla="*/ 86 w 174"/>
                <a:gd name="T27" fmla="*/ 10 h 102"/>
                <a:gd name="T28" fmla="*/ 116 w 174"/>
                <a:gd name="T29" fmla="*/ 10 h 102"/>
                <a:gd name="T30" fmla="*/ 140 w 174"/>
                <a:gd name="T31" fmla="*/ 10 h 102"/>
                <a:gd name="T32" fmla="*/ 171 w 174"/>
                <a:gd name="T33" fmla="*/ 10 h 102"/>
                <a:gd name="T34" fmla="*/ 190 w 174"/>
                <a:gd name="T35" fmla="*/ 10 h 102"/>
                <a:gd name="T36" fmla="*/ 214 w 174"/>
                <a:gd name="T37" fmla="*/ 10 h 102"/>
                <a:gd name="T38" fmla="*/ 238 w 174"/>
                <a:gd name="T39" fmla="*/ 9 h 102"/>
                <a:gd name="T40" fmla="*/ 255 w 174"/>
                <a:gd name="T41" fmla="*/ 9 h 102"/>
                <a:gd name="T42" fmla="*/ 273 w 174"/>
                <a:gd name="T43" fmla="*/ 8 h 102"/>
                <a:gd name="T44" fmla="*/ 290 w 174"/>
                <a:gd name="T45" fmla="*/ 7 h 102"/>
                <a:gd name="T46" fmla="*/ 305 w 174"/>
                <a:gd name="T47" fmla="*/ 6 h 102"/>
                <a:gd name="T48" fmla="*/ 313 w 174"/>
                <a:gd name="T49" fmla="*/ 5 h 102"/>
                <a:gd name="T50" fmla="*/ 313 w 174"/>
                <a:gd name="T51" fmla="*/ 5 h 102"/>
                <a:gd name="T52" fmla="*/ 313 w 174"/>
                <a:gd name="T53" fmla="*/ 5 h 102"/>
                <a:gd name="T54" fmla="*/ 305 w 174"/>
                <a:gd name="T55" fmla="*/ 5 h 102"/>
                <a:gd name="T56" fmla="*/ 305 w 174"/>
                <a:gd name="T57" fmla="*/ 5 h 102"/>
                <a:gd name="T58" fmla="*/ 290 w 174"/>
                <a:gd name="T59" fmla="*/ 5 h 102"/>
                <a:gd name="T60" fmla="*/ 283 w 174"/>
                <a:gd name="T61" fmla="*/ 5 h 102"/>
                <a:gd name="T62" fmla="*/ 262 w 174"/>
                <a:gd name="T63" fmla="*/ 5 h 102"/>
                <a:gd name="T64" fmla="*/ 244 w 174"/>
                <a:gd name="T65" fmla="*/ 0 h 102"/>
                <a:gd name="T66" fmla="*/ 229 w 174"/>
                <a:gd name="T67" fmla="*/ 0 h 102"/>
                <a:gd name="T68" fmla="*/ 207 w 174"/>
                <a:gd name="T69" fmla="*/ 0 h 102"/>
                <a:gd name="T70" fmla="*/ 190 w 174"/>
                <a:gd name="T71" fmla="*/ 0 h 102"/>
                <a:gd name="T72" fmla="*/ 171 w 174"/>
                <a:gd name="T73" fmla="*/ 0 h 102"/>
                <a:gd name="T74" fmla="*/ 140 w 174"/>
                <a:gd name="T75" fmla="*/ 0 h 102"/>
                <a:gd name="T76" fmla="*/ 127 w 174"/>
                <a:gd name="T77" fmla="*/ 0 h 102"/>
                <a:gd name="T78" fmla="*/ 106 w 174"/>
                <a:gd name="T79" fmla="*/ 0 h 102"/>
                <a:gd name="T80" fmla="*/ 86 w 174"/>
                <a:gd name="T81" fmla="*/ 0 h 102"/>
                <a:gd name="T82" fmla="*/ 63 w 174"/>
                <a:gd name="T83" fmla="*/ 3 h 102"/>
                <a:gd name="T84" fmla="*/ 58 w 174"/>
                <a:gd name="T85" fmla="*/ 5 h 102"/>
                <a:gd name="T86" fmla="*/ 58 w 174"/>
                <a:gd name="T87" fmla="*/ 5 h 1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74"/>
                <a:gd name="T133" fmla="*/ 0 h 102"/>
                <a:gd name="T134" fmla="*/ 174 w 174"/>
                <a:gd name="T135" fmla="*/ 102 h 10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74" h="102">
                  <a:moveTo>
                    <a:pt x="32" y="6"/>
                  </a:moveTo>
                  <a:lnTo>
                    <a:pt x="23" y="14"/>
                  </a:lnTo>
                  <a:lnTo>
                    <a:pt x="14" y="23"/>
                  </a:lnTo>
                  <a:lnTo>
                    <a:pt x="14" y="31"/>
                  </a:lnTo>
                  <a:lnTo>
                    <a:pt x="9" y="40"/>
                  </a:lnTo>
                  <a:lnTo>
                    <a:pt x="5" y="45"/>
                  </a:lnTo>
                  <a:lnTo>
                    <a:pt x="0" y="54"/>
                  </a:lnTo>
                  <a:lnTo>
                    <a:pt x="0" y="60"/>
                  </a:lnTo>
                  <a:lnTo>
                    <a:pt x="5" y="65"/>
                  </a:lnTo>
                  <a:lnTo>
                    <a:pt x="9" y="77"/>
                  </a:lnTo>
                  <a:lnTo>
                    <a:pt x="14" y="82"/>
                  </a:lnTo>
                  <a:lnTo>
                    <a:pt x="23" y="91"/>
                  </a:lnTo>
                  <a:lnTo>
                    <a:pt x="37" y="97"/>
                  </a:lnTo>
                  <a:lnTo>
                    <a:pt x="50" y="100"/>
                  </a:lnTo>
                  <a:lnTo>
                    <a:pt x="64" y="100"/>
                  </a:lnTo>
                  <a:lnTo>
                    <a:pt x="78" y="100"/>
                  </a:lnTo>
                  <a:lnTo>
                    <a:pt x="96" y="102"/>
                  </a:lnTo>
                  <a:lnTo>
                    <a:pt x="105" y="100"/>
                  </a:lnTo>
                  <a:lnTo>
                    <a:pt x="119" y="100"/>
                  </a:lnTo>
                  <a:lnTo>
                    <a:pt x="133" y="94"/>
                  </a:lnTo>
                  <a:lnTo>
                    <a:pt x="142" y="94"/>
                  </a:lnTo>
                  <a:lnTo>
                    <a:pt x="151" y="82"/>
                  </a:lnTo>
                  <a:lnTo>
                    <a:pt x="160" y="77"/>
                  </a:lnTo>
                  <a:lnTo>
                    <a:pt x="169" y="71"/>
                  </a:lnTo>
                  <a:lnTo>
                    <a:pt x="174" y="63"/>
                  </a:lnTo>
                  <a:lnTo>
                    <a:pt x="174" y="51"/>
                  </a:lnTo>
                  <a:lnTo>
                    <a:pt x="174" y="43"/>
                  </a:lnTo>
                  <a:lnTo>
                    <a:pt x="169" y="31"/>
                  </a:lnTo>
                  <a:lnTo>
                    <a:pt x="169" y="20"/>
                  </a:lnTo>
                  <a:lnTo>
                    <a:pt x="160" y="14"/>
                  </a:lnTo>
                  <a:lnTo>
                    <a:pt x="156" y="8"/>
                  </a:lnTo>
                  <a:lnTo>
                    <a:pt x="146" y="6"/>
                  </a:lnTo>
                  <a:lnTo>
                    <a:pt x="137" y="0"/>
                  </a:lnTo>
                  <a:lnTo>
                    <a:pt x="128" y="0"/>
                  </a:lnTo>
                  <a:lnTo>
                    <a:pt x="114" y="0"/>
                  </a:lnTo>
                  <a:lnTo>
                    <a:pt x="105" y="0"/>
                  </a:lnTo>
                  <a:lnTo>
                    <a:pt x="96" y="0"/>
                  </a:lnTo>
                  <a:lnTo>
                    <a:pt x="78" y="0"/>
                  </a:lnTo>
                  <a:lnTo>
                    <a:pt x="69" y="0"/>
                  </a:lnTo>
                  <a:lnTo>
                    <a:pt x="60" y="0"/>
                  </a:lnTo>
                  <a:lnTo>
                    <a:pt x="50" y="0"/>
                  </a:lnTo>
                  <a:lnTo>
                    <a:pt x="37" y="3"/>
                  </a:lnTo>
                  <a:lnTo>
                    <a:pt x="32" y="6"/>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56" name="Freeform 167"/>
            <p:cNvSpPr>
              <a:spLocks/>
            </p:cNvSpPr>
            <p:nvPr>
              <p:custDataLst>
                <p:tags r:id="rId155"/>
              </p:custDataLst>
            </p:nvPr>
          </p:nvSpPr>
          <p:spPr bwMode="gray">
            <a:xfrm>
              <a:off x="2047" y="2479"/>
              <a:ext cx="164" cy="93"/>
            </a:xfrm>
            <a:custGeom>
              <a:avLst/>
              <a:gdLst>
                <a:gd name="T0" fmla="*/ 58 w 160"/>
                <a:gd name="T1" fmla="*/ 3 h 103"/>
                <a:gd name="T2" fmla="*/ 18 w 160"/>
                <a:gd name="T3" fmla="*/ 5 h 103"/>
                <a:gd name="T4" fmla="*/ 14 w 160"/>
                <a:gd name="T5" fmla="*/ 5 h 103"/>
                <a:gd name="T6" fmla="*/ 9 w 160"/>
                <a:gd name="T7" fmla="*/ 5 h 103"/>
                <a:gd name="T8" fmla="*/ 0 w 160"/>
                <a:gd name="T9" fmla="*/ 5 h 103"/>
                <a:gd name="T10" fmla="*/ 0 w 160"/>
                <a:gd name="T11" fmla="*/ 5 h 103"/>
                <a:gd name="T12" fmla="*/ 0 w 160"/>
                <a:gd name="T13" fmla="*/ 5 h 103"/>
                <a:gd name="T14" fmla="*/ 0 w 160"/>
                <a:gd name="T15" fmla="*/ 5 h 103"/>
                <a:gd name="T16" fmla="*/ 0 w 160"/>
                <a:gd name="T17" fmla="*/ 5 h 103"/>
                <a:gd name="T18" fmla="*/ 0 w 160"/>
                <a:gd name="T19" fmla="*/ 5 h 103"/>
                <a:gd name="T20" fmla="*/ 9 w 160"/>
                <a:gd name="T21" fmla="*/ 5 h 103"/>
                <a:gd name="T22" fmla="*/ 18 w 160"/>
                <a:gd name="T23" fmla="*/ 6 h 103"/>
                <a:gd name="T24" fmla="*/ 58 w 160"/>
                <a:gd name="T25" fmla="*/ 7 h 103"/>
                <a:gd name="T26" fmla="*/ 74 w 160"/>
                <a:gd name="T27" fmla="*/ 7 h 103"/>
                <a:gd name="T28" fmla="*/ 101 w 160"/>
                <a:gd name="T29" fmla="*/ 7 h 103"/>
                <a:gd name="T30" fmla="*/ 137 w 160"/>
                <a:gd name="T31" fmla="*/ 7 h 103"/>
                <a:gd name="T32" fmla="*/ 164 w 160"/>
                <a:gd name="T33" fmla="*/ 8 h 103"/>
                <a:gd name="T34" fmla="*/ 194 w 160"/>
                <a:gd name="T35" fmla="*/ 7 h 103"/>
                <a:gd name="T36" fmla="*/ 216 w 160"/>
                <a:gd name="T37" fmla="*/ 7 h 103"/>
                <a:gd name="T38" fmla="*/ 234 w 160"/>
                <a:gd name="T39" fmla="*/ 7 h 103"/>
                <a:gd name="T40" fmla="*/ 252 w 160"/>
                <a:gd name="T41" fmla="*/ 7 h 103"/>
                <a:gd name="T42" fmla="*/ 278 w 160"/>
                <a:gd name="T43" fmla="*/ 5 h 103"/>
                <a:gd name="T44" fmla="*/ 295 w 160"/>
                <a:gd name="T45" fmla="*/ 5 h 103"/>
                <a:gd name="T46" fmla="*/ 295 w 160"/>
                <a:gd name="T47" fmla="*/ 5 h 103"/>
                <a:gd name="T48" fmla="*/ 302 w 160"/>
                <a:gd name="T49" fmla="*/ 5 h 103"/>
                <a:gd name="T50" fmla="*/ 302 w 160"/>
                <a:gd name="T51" fmla="*/ 5 h 103"/>
                <a:gd name="T52" fmla="*/ 295 w 160"/>
                <a:gd name="T53" fmla="*/ 5 h 103"/>
                <a:gd name="T54" fmla="*/ 286 w 160"/>
                <a:gd name="T55" fmla="*/ 5 h 103"/>
                <a:gd name="T56" fmla="*/ 278 w 160"/>
                <a:gd name="T57" fmla="*/ 5 h 103"/>
                <a:gd name="T58" fmla="*/ 252 w 160"/>
                <a:gd name="T59" fmla="*/ 5 h 103"/>
                <a:gd name="T60" fmla="*/ 224 w 160"/>
                <a:gd name="T61" fmla="*/ 5 h 103"/>
                <a:gd name="T62" fmla="*/ 181 w 160"/>
                <a:gd name="T63" fmla="*/ 3 h 103"/>
                <a:gd name="T64" fmla="*/ 145 w 160"/>
                <a:gd name="T65" fmla="*/ 3 h 103"/>
                <a:gd name="T66" fmla="*/ 101 w 160"/>
                <a:gd name="T67" fmla="*/ 0 h 103"/>
                <a:gd name="T68" fmla="*/ 74 w 160"/>
                <a:gd name="T69" fmla="*/ 0 h 103"/>
                <a:gd name="T70" fmla="*/ 58 w 160"/>
                <a:gd name="T71" fmla="*/ 0 h 103"/>
                <a:gd name="T72" fmla="*/ 58 w 160"/>
                <a:gd name="T73" fmla="*/ 3 h 103"/>
                <a:gd name="T74" fmla="*/ 58 w 160"/>
                <a:gd name="T75" fmla="*/ 3 h 1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0"/>
                <a:gd name="T115" fmla="*/ 0 h 103"/>
                <a:gd name="T116" fmla="*/ 160 w 160"/>
                <a:gd name="T117" fmla="*/ 103 h 10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0" h="103">
                  <a:moveTo>
                    <a:pt x="32" y="3"/>
                  </a:moveTo>
                  <a:lnTo>
                    <a:pt x="18" y="9"/>
                  </a:lnTo>
                  <a:lnTo>
                    <a:pt x="14" y="20"/>
                  </a:lnTo>
                  <a:lnTo>
                    <a:pt x="9" y="29"/>
                  </a:lnTo>
                  <a:lnTo>
                    <a:pt x="0" y="37"/>
                  </a:lnTo>
                  <a:lnTo>
                    <a:pt x="0" y="46"/>
                  </a:lnTo>
                  <a:lnTo>
                    <a:pt x="0" y="52"/>
                  </a:lnTo>
                  <a:lnTo>
                    <a:pt x="0" y="57"/>
                  </a:lnTo>
                  <a:lnTo>
                    <a:pt x="0" y="66"/>
                  </a:lnTo>
                  <a:lnTo>
                    <a:pt x="0" y="71"/>
                  </a:lnTo>
                  <a:lnTo>
                    <a:pt x="9" y="83"/>
                  </a:lnTo>
                  <a:lnTo>
                    <a:pt x="18" y="91"/>
                  </a:lnTo>
                  <a:lnTo>
                    <a:pt x="32" y="94"/>
                  </a:lnTo>
                  <a:lnTo>
                    <a:pt x="41" y="97"/>
                  </a:lnTo>
                  <a:lnTo>
                    <a:pt x="55" y="100"/>
                  </a:lnTo>
                  <a:lnTo>
                    <a:pt x="73" y="100"/>
                  </a:lnTo>
                  <a:lnTo>
                    <a:pt x="87" y="103"/>
                  </a:lnTo>
                  <a:lnTo>
                    <a:pt x="101" y="100"/>
                  </a:lnTo>
                  <a:lnTo>
                    <a:pt x="114" y="97"/>
                  </a:lnTo>
                  <a:lnTo>
                    <a:pt x="124" y="94"/>
                  </a:lnTo>
                  <a:lnTo>
                    <a:pt x="133" y="94"/>
                  </a:lnTo>
                  <a:lnTo>
                    <a:pt x="146" y="83"/>
                  </a:lnTo>
                  <a:lnTo>
                    <a:pt x="156" y="71"/>
                  </a:lnTo>
                  <a:lnTo>
                    <a:pt x="156" y="63"/>
                  </a:lnTo>
                  <a:lnTo>
                    <a:pt x="160" y="54"/>
                  </a:lnTo>
                  <a:lnTo>
                    <a:pt x="160" y="43"/>
                  </a:lnTo>
                  <a:lnTo>
                    <a:pt x="156" y="32"/>
                  </a:lnTo>
                  <a:lnTo>
                    <a:pt x="151" y="23"/>
                  </a:lnTo>
                  <a:lnTo>
                    <a:pt x="146" y="17"/>
                  </a:lnTo>
                  <a:lnTo>
                    <a:pt x="133" y="9"/>
                  </a:lnTo>
                  <a:lnTo>
                    <a:pt x="119" y="6"/>
                  </a:lnTo>
                  <a:lnTo>
                    <a:pt x="96" y="3"/>
                  </a:lnTo>
                  <a:lnTo>
                    <a:pt x="78" y="3"/>
                  </a:lnTo>
                  <a:lnTo>
                    <a:pt x="55" y="0"/>
                  </a:lnTo>
                  <a:lnTo>
                    <a:pt x="41" y="0"/>
                  </a:lnTo>
                  <a:lnTo>
                    <a:pt x="32" y="0"/>
                  </a:lnTo>
                  <a:lnTo>
                    <a:pt x="32"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57" name="Freeform 168"/>
            <p:cNvSpPr>
              <a:spLocks/>
            </p:cNvSpPr>
            <p:nvPr>
              <p:custDataLst>
                <p:tags r:id="rId156"/>
              </p:custDataLst>
            </p:nvPr>
          </p:nvSpPr>
          <p:spPr bwMode="gray">
            <a:xfrm>
              <a:off x="3963" y="2482"/>
              <a:ext cx="169" cy="90"/>
            </a:xfrm>
            <a:custGeom>
              <a:avLst/>
              <a:gdLst>
                <a:gd name="T0" fmla="*/ 58 w 165"/>
                <a:gd name="T1" fmla="*/ 3 h 100"/>
                <a:gd name="T2" fmla="*/ 49 w 165"/>
                <a:gd name="T3" fmla="*/ 5 h 100"/>
                <a:gd name="T4" fmla="*/ 14 w 165"/>
                <a:gd name="T5" fmla="*/ 5 h 100"/>
                <a:gd name="T6" fmla="*/ 5 w 165"/>
                <a:gd name="T7" fmla="*/ 5 h 100"/>
                <a:gd name="T8" fmla="*/ 5 w 165"/>
                <a:gd name="T9" fmla="*/ 5 h 100"/>
                <a:gd name="T10" fmla="*/ 5 w 165"/>
                <a:gd name="T11" fmla="*/ 5 h 100"/>
                <a:gd name="T12" fmla="*/ 0 w 165"/>
                <a:gd name="T13" fmla="*/ 5 h 100"/>
                <a:gd name="T14" fmla="*/ 0 w 165"/>
                <a:gd name="T15" fmla="*/ 5 h 100"/>
                <a:gd name="T16" fmla="*/ 5 w 165"/>
                <a:gd name="T17" fmla="*/ 5 h 100"/>
                <a:gd name="T18" fmla="*/ 5 w 165"/>
                <a:gd name="T19" fmla="*/ 5 h 100"/>
                <a:gd name="T20" fmla="*/ 14 w 165"/>
                <a:gd name="T21" fmla="*/ 5 h 100"/>
                <a:gd name="T22" fmla="*/ 49 w 165"/>
                <a:gd name="T23" fmla="*/ 6 h 100"/>
                <a:gd name="T24" fmla="*/ 64 w 165"/>
                <a:gd name="T25" fmla="*/ 6 h 100"/>
                <a:gd name="T26" fmla="*/ 82 w 165"/>
                <a:gd name="T27" fmla="*/ 7 h 100"/>
                <a:gd name="T28" fmla="*/ 113 w 165"/>
                <a:gd name="T29" fmla="*/ 7 h 100"/>
                <a:gd name="T30" fmla="*/ 143 w 165"/>
                <a:gd name="T31" fmla="*/ 7 h 100"/>
                <a:gd name="T32" fmla="*/ 170 w 165"/>
                <a:gd name="T33" fmla="*/ 7 h 100"/>
                <a:gd name="T34" fmla="*/ 187 w 165"/>
                <a:gd name="T35" fmla="*/ 7 h 100"/>
                <a:gd name="T36" fmla="*/ 214 w 165"/>
                <a:gd name="T37" fmla="*/ 7 h 100"/>
                <a:gd name="T38" fmla="*/ 237 w 165"/>
                <a:gd name="T39" fmla="*/ 6 h 100"/>
                <a:gd name="T40" fmla="*/ 255 w 165"/>
                <a:gd name="T41" fmla="*/ 6 h 100"/>
                <a:gd name="T42" fmla="*/ 276 w 165"/>
                <a:gd name="T43" fmla="*/ 5 h 100"/>
                <a:gd name="T44" fmla="*/ 291 w 165"/>
                <a:gd name="T45" fmla="*/ 5 h 100"/>
                <a:gd name="T46" fmla="*/ 298 w 165"/>
                <a:gd name="T47" fmla="*/ 5 h 100"/>
                <a:gd name="T48" fmla="*/ 306 w 165"/>
                <a:gd name="T49" fmla="*/ 5 h 100"/>
                <a:gd name="T50" fmla="*/ 306 w 165"/>
                <a:gd name="T51" fmla="*/ 5 h 100"/>
                <a:gd name="T52" fmla="*/ 298 w 165"/>
                <a:gd name="T53" fmla="*/ 5 h 100"/>
                <a:gd name="T54" fmla="*/ 283 w 165"/>
                <a:gd name="T55" fmla="*/ 5 h 100"/>
                <a:gd name="T56" fmla="*/ 276 w 165"/>
                <a:gd name="T57" fmla="*/ 5 h 100"/>
                <a:gd name="T58" fmla="*/ 247 w 165"/>
                <a:gd name="T59" fmla="*/ 5 h 100"/>
                <a:gd name="T60" fmla="*/ 221 w 165"/>
                <a:gd name="T61" fmla="*/ 5 h 100"/>
                <a:gd name="T62" fmla="*/ 206 w 165"/>
                <a:gd name="T63" fmla="*/ 3 h 100"/>
                <a:gd name="T64" fmla="*/ 178 w 165"/>
                <a:gd name="T65" fmla="*/ 3 h 100"/>
                <a:gd name="T66" fmla="*/ 170 w 165"/>
                <a:gd name="T67" fmla="*/ 3 h 100"/>
                <a:gd name="T68" fmla="*/ 143 w 165"/>
                <a:gd name="T69" fmla="*/ 3 h 100"/>
                <a:gd name="T70" fmla="*/ 113 w 165"/>
                <a:gd name="T71" fmla="*/ 0 h 100"/>
                <a:gd name="T72" fmla="*/ 72 w 165"/>
                <a:gd name="T73" fmla="*/ 3 h 100"/>
                <a:gd name="T74" fmla="*/ 64 w 165"/>
                <a:gd name="T75" fmla="*/ 3 h 100"/>
                <a:gd name="T76" fmla="*/ 58 w 165"/>
                <a:gd name="T77" fmla="*/ 3 h 100"/>
                <a:gd name="T78" fmla="*/ 58 w 165"/>
                <a:gd name="T79" fmla="*/ 3 h 1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5"/>
                <a:gd name="T121" fmla="*/ 0 h 100"/>
                <a:gd name="T122" fmla="*/ 165 w 165"/>
                <a:gd name="T123" fmla="*/ 100 h 1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5" h="100">
                  <a:moveTo>
                    <a:pt x="32" y="3"/>
                  </a:moveTo>
                  <a:lnTo>
                    <a:pt x="23" y="12"/>
                  </a:lnTo>
                  <a:lnTo>
                    <a:pt x="14" y="20"/>
                  </a:lnTo>
                  <a:lnTo>
                    <a:pt x="5" y="29"/>
                  </a:lnTo>
                  <a:lnTo>
                    <a:pt x="5" y="37"/>
                  </a:lnTo>
                  <a:lnTo>
                    <a:pt x="5" y="46"/>
                  </a:lnTo>
                  <a:lnTo>
                    <a:pt x="0" y="51"/>
                  </a:lnTo>
                  <a:lnTo>
                    <a:pt x="0" y="57"/>
                  </a:lnTo>
                  <a:lnTo>
                    <a:pt x="5" y="66"/>
                  </a:lnTo>
                  <a:lnTo>
                    <a:pt x="5" y="74"/>
                  </a:lnTo>
                  <a:lnTo>
                    <a:pt x="14" y="83"/>
                  </a:lnTo>
                  <a:lnTo>
                    <a:pt x="23" y="91"/>
                  </a:lnTo>
                  <a:lnTo>
                    <a:pt x="37" y="94"/>
                  </a:lnTo>
                  <a:lnTo>
                    <a:pt x="46" y="100"/>
                  </a:lnTo>
                  <a:lnTo>
                    <a:pt x="60" y="100"/>
                  </a:lnTo>
                  <a:lnTo>
                    <a:pt x="78" y="100"/>
                  </a:lnTo>
                  <a:lnTo>
                    <a:pt x="92" y="100"/>
                  </a:lnTo>
                  <a:lnTo>
                    <a:pt x="101" y="100"/>
                  </a:lnTo>
                  <a:lnTo>
                    <a:pt x="115" y="100"/>
                  </a:lnTo>
                  <a:lnTo>
                    <a:pt x="128" y="94"/>
                  </a:lnTo>
                  <a:lnTo>
                    <a:pt x="137" y="91"/>
                  </a:lnTo>
                  <a:lnTo>
                    <a:pt x="147" y="83"/>
                  </a:lnTo>
                  <a:lnTo>
                    <a:pt x="156" y="74"/>
                  </a:lnTo>
                  <a:lnTo>
                    <a:pt x="160" y="63"/>
                  </a:lnTo>
                  <a:lnTo>
                    <a:pt x="165" y="54"/>
                  </a:lnTo>
                  <a:lnTo>
                    <a:pt x="165" y="43"/>
                  </a:lnTo>
                  <a:lnTo>
                    <a:pt x="160" y="34"/>
                  </a:lnTo>
                  <a:lnTo>
                    <a:pt x="151" y="26"/>
                  </a:lnTo>
                  <a:lnTo>
                    <a:pt x="147" y="17"/>
                  </a:lnTo>
                  <a:lnTo>
                    <a:pt x="133" y="9"/>
                  </a:lnTo>
                  <a:lnTo>
                    <a:pt x="119" y="6"/>
                  </a:lnTo>
                  <a:lnTo>
                    <a:pt x="110" y="3"/>
                  </a:lnTo>
                  <a:lnTo>
                    <a:pt x="96" y="3"/>
                  </a:lnTo>
                  <a:lnTo>
                    <a:pt x="92" y="3"/>
                  </a:lnTo>
                  <a:lnTo>
                    <a:pt x="78" y="3"/>
                  </a:lnTo>
                  <a:lnTo>
                    <a:pt x="60" y="0"/>
                  </a:lnTo>
                  <a:lnTo>
                    <a:pt x="41" y="3"/>
                  </a:lnTo>
                  <a:lnTo>
                    <a:pt x="37" y="3"/>
                  </a:lnTo>
                  <a:lnTo>
                    <a:pt x="32"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58" name="Freeform 169"/>
            <p:cNvSpPr>
              <a:spLocks/>
            </p:cNvSpPr>
            <p:nvPr>
              <p:custDataLst>
                <p:tags r:id="rId157"/>
              </p:custDataLst>
            </p:nvPr>
          </p:nvSpPr>
          <p:spPr bwMode="gray">
            <a:xfrm>
              <a:off x="4212" y="2453"/>
              <a:ext cx="168" cy="91"/>
            </a:xfrm>
            <a:custGeom>
              <a:avLst/>
              <a:gdLst>
                <a:gd name="T0" fmla="*/ 62 w 164"/>
                <a:gd name="T1" fmla="*/ 3 h 99"/>
                <a:gd name="T2" fmla="*/ 48 w 164"/>
                <a:gd name="T3" fmla="*/ 6 h 99"/>
                <a:gd name="T4" fmla="*/ 18 w 164"/>
                <a:gd name="T5" fmla="*/ 6 h 99"/>
                <a:gd name="T6" fmla="*/ 9 w 164"/>
                <a:gd name="T7" fmla="*/ 6 h 99"/>
                <a:gd name="T8" fmla="*/ 9 w 164"/>
                <a:gd name="T9" fmla="*/ 6 h 99"/>
                <a:gd name="T10" fmla="*/ 4 w 164"/>
                <a:gd name="T11" fmla="*/ 6 h 99"/>
                <a:gd name="T12" fmla="*/ 0 w 164"/>
                <a:gd name="T13" fmla="*/ 6 h 99"/>
                <a:gd name="T14" fmla="*/ 0 w 164"/>
                <a:gd name="T15" fmla="*/ 6 h 99"/>
                <a:gd name="T16" fmla="*/ 4 w 164"/>
                <a:gd name="T17" fmla="*/ 6 h 99"/>
                <a:gd name="T18" fmla="*/ 9 w 164"/>
                <a:gd name="T19" fmla="*/ 8 h 99"/>
                <a:gd name="T20" fmla="*/ 18 w 164"/>
                <a:gd name="T21" fmla="*/ 9 h 99"/>
                <a:gd name="T22" fmla="*/ 48 w 164"/>
                <a:gd name="T23" fmla="*/ 10 h 99"/>
                <a:gd name="T24" fmla="*/ 62 w 164"/>
                <a:gd name="T25" fmla="*/ 11 h 99"/>
                <a:gd name="T26" fmla="*/ 90 w 164"/>
                <a:gd name="T27" fmla="*/ 11 h 99"/>
                <a:gd name="T28" fmla="*/ 122 w 164"/>
                <a:gd name="T29" fmla="*/ 11 h 99"/>
                <a:gd name="T30" fmla="*/ 142 w 164"/>
                <a:gd name="T31" fmla="*/ 11 h 99"/>
                <a:gd name="T32" fmla="*/ 169 w 164"/>
                <a:gd name="T33" fmla="*/ 12 h 99"/>
                <a:gd name="T34" fmla="*/ 198 w 164"/>
                <a:gd name="T35" fmla="*/ 11 h 99"/>
                <a:gd name="T36" fmla="*/ 228 w 164"/>
                <a:gd name="T37" fmla="*/ 11 h 99"/>
                <a:gd name="T38" fmla="*/ 238 w 164"/>
                <a:gd name="T39" fmla="*/ 11 h 99"/>
                <a:gd name="T40" fmla="*/ 264 w 164"/>
                <a:gd name="T41" fmla="*/ 10 h 99"/>
                <a:gd name="T42" fmla="*/ 282 w 164"/>
                <a:gd name="T43" fmla="*/ 9 h 99"/>
                <a:gd name="T44" fmla="*/ 297 w 164"/>
                <a:gd name="T45" fmla="*/ 8 h 99"/>
                <a:gd name="T46" fmla="*/ 305 w 164"/>
                <a:gd name="T47" fmla="*/ 6 h 99"/>
                <a:gd name="T48" fmla="*/ 305 w 164"/>
                <a:gd name="T49" fmla="*/ 6 h 99"/>
                <a:gd name="T50" fmla="*/ 305 w 164"/>
                <a:gd name="T51" fmla="*/ 6 h 99"/>
                <a:gd name="T52" fmla="*/ 297 w 164"/>
                <a:gd name="T53" fmla="*/ 6 h 99"/>
                <a:gd name="T54" fmla="*/ 290 w 164"/>
                <a:gd name="T55" fmla="*/ 6 h 99"/>
                <a:gd name="T56" fmla="*/ 282 w 164"/>
                <a:gd name="T57" fmla="*/ 6 h 99"/>
                <a:gd name="T58" fmla="*/ 256 w 164"/>
                <a:gd name="T59" fmla="*/ 5 h 99"/>
                <a:gd name="T60" fmla="*/ 228 w 164"/>
                <a:gd name="T61" fmla="*/ 3 h 99"/>
                <a:gd name="T62" fmla="*/ 205 w 164"/>
                <a:gd name="T63" fmla="*/ 3 h 99"/>
                <a:gd name="T64" fmla="*/ 186 w 164"/>
                <a:gd name="T65" fmla="*/ 0 h 99"/>
                <a:gd name="T66" fmla="*/ 169 w 164"/>
                <a:gd name="T67" fmla="*/ 0 h 99"/>
                <a:gd name="T68" fmla="*/ 150 w 164"/>
                <a:gd name="T69" fmla="*/ 0 h 99"/>
                <a:gd name="T70" fmla="*/ 122 w 164"/>
                <a:gd name="T71" fmla="*/ 0 h 99"/>
                <a:gd name="T72" fmla="*/ 80 w 164"/>
                <a:gd name="T73" fmla="*/ 0 h 99"/>
                <a:gd name="T74" fmla="*/ 62 w 164"/>
                <a:gd name="T75" fmla="*/ 0 h 99"/>
                <a:gd name="T76" fmla="*/ 62 w 164"/>
                <a:gd name="T77" fmla="*/ 3 h 99"/>
                <a:gd name="T78" fmla="*/ 62 w 164"/>
                <a:gd name="T79" fmla="*/ 3 h 9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4"/>
                <a:gd name="T121" fmla="*/ 0 h 99"/>
                <a:gd name="T122" fmla="*/ 164 w 164"/>
                <a:gd name="T123" fmla="*/ 99 h 9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4" h="99">
                  <a:moveTo>
                    <a:pt x="36" y="3"/>
                  </a:moveTo>
                  <a:lnTo>
                    <a:pt x="22" y="11"/>
                  </a:lnTo>
                  <a:lnTo>
                    <a:pt x="18" y="17"/>
                  </a:lnTo>
                  <a:lnTo>
                    <a:pt x="9" y="28"/>
                  </a:lnTo>
                  <a:lnTo>
                    <a:pt x="9" y="37"/>
                  </a:lnTo>
                  <a:lnTo>
                    <a:pt x="4" y="45"/>
                  </a:lnTo>
                  <a:lnTo>
                    <a:pt x="0" y="51"/>
                  </a:lnTo>
                  <a:lnTo>
                    <a:pt x="0" y="57"/>
                  </a:lnTo>
                  <a:lnTo>
                    <a:pt x="4" y="62"/>
                  </a:lnTo>
                  <a:lnTo>
                    <a:pt x="9" y="74"/>
                  </a:lnTo>
                  <a:lnTo>
                    <a:pt x="18" y="80"/>
                  </a:lnTo>
                  <a:lnTo>
                    <a:pt x="22" y="88"/>
                  </a:lnTo>
                  <a:lnTo>
                    <a:pt x="36" y="94"/>
                  </a:lnTo>
                  <a:lnTo>
                    <a:pt x="50" y="97"/>
                  </a:lnTo>
                  <a:lnTo>
                    <a:pt x="64" y="97"/>
                  </a:lnTo>
                  <a:lnTo>
                    <a:pt x="77" y="97"/>
                  </a:lnTo>
                  <a:lnTo>
                    <a:pt x="91" y="99"/>
                  </a:lnTo>
                  <a:lnTo>
                    <a:pt x="105" y="97"/>
                  </a:lnTo>
                  <a:lnTo>
                    <a:pt x="123" y="97"/>
                  </a:lnTo>
                  <a:lnTo>
                    <a:pt x="128" y="94"/>
                  </a:lnTo>
                  <a:lnTo>
                    <a:pt x="141" y="88"/>
                  </a:lnTo>
                  <a:lnTo>
                    <a:pt x="150" y="80"/>
                  </a:lnTo>
                  <a:lnTo>
                    <a:pt x="159" y="71"/>
                  </a:lnTo>
                  <a:lnTo>
                    <a:pt x="164" y="60"/>
                  </a:lnTo>
                  <a:lnTo>
                    <a:pt x="164" y="51"/>
                  </a:lnTo>
                  <a:lnTo>
                    <a:pt x="164" y="40"/>
                  </a:lnTo>
                  <a:lnTo>
                    <a:pt x="159" y="31"/>
                  </a:lnTo>
                  <a:lnTo>
                    <a:pt x="155" y="23"/>
                  </a:lnTo>
                  <a:lnTo>
                    <a:pt x="150" y="17"/>
                  </a:lnTo>
                  <a:lnTo>
                    <a:pt x="137" y="5"/>
                  </a:lnTo>
                  <a:lnTo>
                    <a:pt x="123" y="3"/>
                  </a:lnTo>
                  <a:lnTo>
                    <a:pt x="109" y="3"/>
                  </a:lnTo>
                  <a:lnTo>
                    <a:pt x="100" y="0"/>
                  </a:lnTo>
                  <a:lnTo>
                    <a:pt x="91" y="0"/>
                  </a:lnTo>
                  <a:lnTo>
                    <a:pt x="82" y="0"/>
                  </a:lnTo>
                  <a:lnTo>
                    <a:pt x="64" y="0"/>
                  </a:lnTo>
                  <a:lnTo>
                    <a:pt x="45" y="0"/>
                  </a:lnTo>
                  <a:lnTo>
                    <a:pt x="36" y="0"/>
                  </a:lnTo>
                  <a:lnTo>
                    <a:pt x="36"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59" name="Freeform 170"/>
            <p:cNvSpPr>
              <a:spLocks/>
            </p:cNvSpPr>
            <p:nvPr>
              <p:custDataLst>
                <p:tags r:id="rId158"/>
              </p:custDataLst>
            </p:nvPr>
          </p:nvSpPr>
          <p:spPr bwMode="gray">
            <a:xfrm>
              <a:off x="3668" y="2508"/>
              <a:ext cx="169" cy="87"/>
            </a:xfrm>
            <a:custGeom>
              <a:avLst/>
              <a:gdLst>
                <a:gd name="T0" fmla="*/ 58 w 165"/>
                <a:gd name="T1" fmla="*/ 0 h 96"/>
                <a:gd name="T2" fmla="*/ 19 w 165"/>
                <a:gd name="T3" fmla="*/ 5 h 96"/>
                <a:gd name="T4" fmla="*/ 19 w 165"/>
                <a:gd name="T5" fmla="*/ 5 h 96"/>
                <a:gd name="T6" fmla="*/ 10 w 165"/>
                <a:gd name="T7" fmla="*/ 5 h 96"/>
                <a:gd name="T8" fmla="*/ 5 w 165"/>
                <a:gd name="T9" fmla="*/ 5 h 96"/>
                <a:gd name="T10" fmla="*/ 0 w 165"/>
                <a:gd name="T11" fmla="*/ 5 h 96"/>
                <a:gd name="T12" fmla="*/ 0 w 165"/>
                <a:gd name="T13" fmla="*/ 5 h 96"/>
                <a:gd name="T14" fmla="*/ 0 w 165"/>
                <a:gd name="T15" fmla="*/ 5 h 96"/>
                <a:gd name="T16" fmla="*/ 0 w 165"/>
                <a:gd name="T17" fmla="*/ 5 h 96"/>
                <a:gd name="T18" fmla="*/ 5 w 165"/>
                <a:gd name="T19" fmla="*/ 5 h 96"/>
                <a:gd name="T20" fmla="*/ 10 w 165"/>
                <a:gd name="T21" fmla="*/ 6 h 96"/>
                <a:gd name="T22" fmla="*/ 19 w 165"/>
                <a:gd name="T23" fmla="*/ 7 h 96"/>
                <a:gd name="T24" fmla="*/ 58 w 165"/>
                <a:gd name="T25" fmla="*/ 8 h 96"/>
                <a:gd name="T26" fmla="*/ 82 w 165"/>
                <a:gd name="T27" fmla="*/ 8 h 96"/>
                <a:gd name="T28" fmla="*/ 113 w 165"/>
                <a:gd name="T29" fmla="*/ 8 h 96"/>
                <a:gd name="T30" fmla="*/ 137 w 165"/>
                <a:gd name="T31" fmla="*/ 8 h 96"/>
                <a:gd name="T32" fmla="*/ 170 w 165"/>
                <a:gd name="T33" fmla="*/ 8 h 96"/>
                <a:gd name="T34" fmla="*/ 199 w 165"/>
                <a:gd name="T35" fmla="*/ 8 h 96"/>
                <a:gd name="T36" fmla="*/ 214 w 165"/>
                <a:gd name="T37" fmla="*/ 8 h 96"/>
                <a:gd name="T38" fmla="*/ 237 w 165"/>
                <a:gd name="T39" fmla="*/ 7 h 96"/>
                <a:gd name="T40" fmla="*/ 257 w 165"/>
                <a:gd name="T41" fmla="*/ 7 h 96"/>
                <a:gd name="T42" fmla="*/ 276 w 165"/>
                <a:gd name="T43" fmla="*/ 6 h 96"/>
                <a:gd name="T44" fmla="*/ 291 w 165"/>
                <a:gd name="T45" fmla="*/ 5 h 96"/>
                <a:gd name="T46" fmla="*/ 298 w 165"/>
                <a:gd name="T47" fmla="*/ 5 h 96"/>
                <a:gd name="T48" fmla="*/ 306 w 165"/>
                <a:gd name="T49" fmla="*/ 5 h 96"/>
                <a:gd name="T50" fmla="*/ 298 w 165"/>
                <a:gd name="T51" fmla="*/ 5 h 96"/>
                <a:gd name="T52" fmla="*/ 291 w 165"/>
                <a:gd name="T53" fmla="*/ 5 h 96"/>
                <a:gd name="T54" fmla="*/ 283 w 165"/>
                <a:gd name="T55" fmla="*/ 5 h 96"/>
                <a:gd name="T56" fmla="*/ 283 w 165"/>
                <a:gd name="T57" fmla="*/ 5 h 96"/>
                <a:gd name="T58" fmla="*/ 247 w 165"/>
                <a:gd name="T59" fmla="*/ 5 h 96"/>
                <a:gd name="T60" fmla="*/ 221 w 165"/>
                <a:gd name="T61" fmla="*/ 2 h 96"/>
                <a:gd name="T62" fmla="*/ 206 w 165"/>
                <a:gd name="T63" fmla="*/ 0 h 96"/>
                <a:gd name="T64" fmla="*/ 178 w 165"/>
                <a:gd name="T65" fmla="*/ 0 h 96"/>
                <a:gd name="T66" fmla="*/ 170 w 165"/>
                <a:gd name="T67" fmla="*/ 0 h 96"/>
                <a:gd name="T68" fmla="*/ 151 w 165"/>
                <a:gd name="T69" fmla="*/ 0 h 96"/>
                <a:gd name="T70" fmla="*/ 113 w 165"/>
                <a:gd name="T71" fmla="*/ 0 h 96"/>
                <a:gd name="T72" fmla="*/ 82 w 165"/>
                <a:gd name="T73" fmla="*/ 0 h 96"/>
                <a:gd name="T74" fmla="*/ 64 w 165"/>
                <a:gd name="T75" fmla="*/ 0 h 96"/>
                <a:gd name="T76" fmla="*/ 58 w 165"/>
                <a:gd name="T77" fmla="*/ 0 h 96"/>
                <a:gd name="T78" fmla="*/ 58 w 165"/>
                <a:gd name="T79" fmla="*/ 0 h 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5"/>
                <a:gd name="T121" fmla="*/ 0 h 96"/>
                <a:gd name="T122" fmla="*/ 165 w 165"/>
                <a:gd name="T123" fmla="*/ 96 h 9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5" h="96">
                  <a:moveTo>
                    <a:pt x="32" y="0"/>
                  </a:moveTo>
                  <a:lnTo>
                    <a:pt x="19" y="8"/>
                  </a:lnTo>
                  <a:lnTo>
                    <a:pt x="19" y="20"/>
                  </a:lnTo>
                  <a:lnTo>
                    <a:pt x="10" y="28"/>
                  </a:lnTo>
                  <a:lnTo>
                    <a:pt x="5" y="37"/>
                  </a:lnTo>
                  <a:lnTo>
                    <a:pt x="0" y="39"/>
                  </a:lnTo>
                  <a:lnTo>
                    <a:pt x="0" y="48"/>
                  </a:lnTo>
                  <a:lnTo>
                    <a:pt x="0" y="57"/>
                  </a:lnTo>
                  <a:lnTo>
                    <a:pt x="0" y="62"/>
                  </a:lnTo>
                  <a:lnTo>
                    <a:pt x="5" y="71"/>
                  </a:lnTo>
                  <a:lnTo>
                    <a:pt x="10" y="82"/>
                  </a:lnTo>
                  <a:lnTo>
                    <a:pt x="19" y="85"/>
                  </a:lnTo>
                  <a:lnTo>
                    <a:pt x="32" y="94"/>
                  </a:lnTo>
                  <a:lnTo>
                    <a:pt x="46" y="94"/>
                  </a:lnTo>
                  <a:lnTo>
                    <a:pt x="60" y="96"/>
                  </a:lnTo>
                  <a:lnTo>
                    <a:pt x="74" y="96"/>
                  </a:lnTo>
                  <a:lnTo>
                    <a:pt x="92" y="96"/>
                  </a:lnTo>
                  <a:lnTo>
                    <a:pt x="106" y="96"/>
                  </a:lnTo>
                  <a:lnTo>
                    <a:pt x="115" y="94"/>
                  </a:lnTo>
                  <a:lnTo>
                    <a:pt x="128" y="91"/>
                  </a:lnTo>
                  <a:lnTo>
                    <a:pt x="138" y="88"/>
                  </a:lnTo>
                  <a:lnTo>
                    <a:pt x="147" y="79"/>
                  </a:lnTo>
                  <a:lnTo>
                    <a:pt x="156" y="71"/>
                  </a:lnTo>
                  <a:lnTo>
                    <a:pt x="160" y="62"/>
                  </a:lnTo>
                  <a:lnTo>
                    <a:pt x="165" y="51"/>
                  </a:lnTo>
                  <a:lnTo>
                    <a:pt x="160" y="39"/>
                  </a:lnTo>
                  <a:lnTo>
                    <a:pt x="156" y="28"/>
                  </a:lnTo>
                  <a:lnTo>
                    <a:pt x="151" y="20"/>
                  </a:lnTo>
                  <a:lnTo>
                    <a:pt x="151" y="14"/>
                  </a:lnTo>
                  <a:lnTo>
                    <a:pt x="133" y="5"/>
                  </a:lnTo>
                  <a:lnTo>
                    <a:pt x="119" y="2"/>
                  </a:lnTo>
                  <a:lnTo>
                    <a:pt x="110" y="0"/>
                  </a:lnTo>
                  <a:lnTo>
                    <a:pt x="96" y="0"/>
                  </a:lnTo>
                  <a:lnTo>
                    <a:pt x="92" y="0"/>
                  </a:lnTo>
                  <a:lnTo>
                    <a:pt x="83" y="0"/>
                  </a:lnTo>
                  <a:lnTo>
                    <a:pt x="60" y="0"/>
                  </a:lnTo>
                  <a:lnTo>
                    <a:pt x="46" y="0"/>
                  </a:lnTo>
                  <a:lnTo>
                    <a:pt x="37" y="0"/>
                  </a:lnTo>
                  <a:lnTo>
                    <a:pt x="32"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60" name="Freeform 171"/>
            <p:cNvSpPr>
              <a:spLocks/>
            </p:cNvSpPr>
            <p:nvPr>
              <p:custDataLst>
                <p:tags r:id="rId159"/>
              </p:custDataLst>
            </p:nvPr>
          </p:nvSpPr>
          <p:spPr bwMode="gray">
            <a:xfrm>
              <a:off x="2717" y="2050"/>
              <a:ext cx="197" cy="621"/>
            </a:xfrm>
            <a:custGeom>
              <a:avLst/>
              <a:gdLst>
                <a:gd name="T0" fmla="*/ 132 w 192"/>
                <a:gd name="T1" fmla="*/ 10 h 681"/>
                <a:gd name="T2" fmla="*/ 94 w 192"/>
                <a:gd name="T3" fmla="*/ 15 h 681"/>
                <a:gd name="T4" fmla="*/ 66 w 192"/>
                <a:gd name="T5" fmla="*/ 19 h 681"/>
                <a:gd name="T6" fmla="*/ 49 w 192"/>
                <a:gd name="T7" fmla="*/ 24 h 681"/>
                <a:gd name="T8" fmla="*/ 13 w 192"/>
                <a:gd name="T9" fmla="*/ 29 h 681"/>
                <a:gd name="T10" fmla="*/ 9 w 192"/>
                <a:gd name="T11" fmla="*/ 33 h 681"/>
                <a:gd name="T12" fmla="*/ 4 w 192"/>
                <a:gd name="T13" fmla="*/ 36 h 681"/>
                <a:gd name="T14" fmla="*/ 0 w 192"/>
                <a:gd name="T15" fmla="*/ 39 h 681"/>
                <a:gd name="T16" fmla="*/ 0 w 192"/>
                <a:gd name="T17" fmla="*/ 43 h 681"/>
                <a:gd name="T18" fmla="*/ 0 w 192"/>
                <a:gd name="T19" fmla="*/ 47 h 681"/>
                <a:gd name="T20" fmla="*/ 0 w 192"/>
                <a:gd name="T21" fmla="*/ 51 h 681"/>
                <a:gd name="T22" fmla="*/ 0 w 192"/>
                <a:gd name="T23" fmla="*/ 54 h 681"/>
                <a:gd name="T24" fmla="*/ 0 w 192"/>
                <a:gd name="T25" fmla="*/ 56 h 681"/>
                <a:gd name="T26" fmla="*/ 0 w 192"/>
                <a:gd name="T27" fmla="*/ 57 h 681"/>
                <a:gd name="T28" fmla="*/ 4 w 192"/>
                <a:gd name="T29" fmla="*/ 60 h 681"/>
                <a:gd name="T30" fmla="*/ 13 w 192"/>
                <a:gd name="T31" fmla="*/ 61 h 681"/>
                <a:gd name="T32" fmla="*/ 18 w 192"/>
                <a:gd name="T33" fmla="*/ 61 h 681"/>
                <a:gd name="T34" fmla="*/ 49 w 192"/>
                <a:gd name="T35" fmla="*/ 57 h 681"/>
                <a:gd name="T36" fmla="*/ 49 w 192"/>
                <a:gd name="T37" fmla="*/ 56 h 681"/>
                <a:gd name="T38" fmla="*/ 49 w 192"/>
                <a:gd name="T39" fmla="*/ 54 h 681"/>
                <a:gd name="T40" fmla="*/ 53 w 192"/>
                <a:gd name="T41" fmla="*/ 51 h 681"/>
                <a:gd name="T42" fmla="*/ 53 w 192"/>
                <a:gd name="T43" fmla="*/ 47 h 681"/>
                <a:gd name="T44" fmla="*/ 66 w 192"/>
                <a:gd name="T45" fmla="*/ 47 h 681"/>
                <a:gd name="T46" fmla="*/ 66 w 192"/>
                <a:gd name="T47" fmla="*/ 43 h 681"/>
                <a:gd name="T48" fmla="*/ 76 w 192"/>
                <a:gd name="T49" fmla="*/ 39 h 681"/>
                <a:gd name="T50" fmla="*/ 84 w 192"/>
                <a:gd name="T51" fmla="*/ 37 h 681"/>
                <a:gd name="T52" fmla="*/ 94 w 192"/>
                <a:gd name="T53" fmla="*/ 36 h 681"/>
                <a:gd name="T54" fmla="*/ 118 w 192"/>
                <a:gd name="T55" fmla="*/ 33 h 681"/>
                <a:gd name="T56" fmla="*/ 126 w 192"/>
                <a:gd name="T57" fmla="*/ 30 h 681"/>
                <a:gd name="T58" fmla="*/ 132 w 192"/>
                <a:gd name="T59" fmla="*/ 26 h 681"/>
                <a:gd name="T60" fmla="*/ 148 w 192"/>
                <a:gd name="T61" fmla="*/ 23 h 681"/>
                <a:gd name="T62" fmla="*/ 159 w 192"/>
                <a:gd name="T63" fmla="*/ 21 h 681"/>
                <a:gd name="T64" fmla="*/ 168 w 192"/>
                <a:gd name="T65" fmla="*/ 19 h 681"/>
                <a:gd name="T66" fmla="*/ 176 w 192"/>
                <a:gd name="T67" fmla="*/ 17 h 681"/>
                <a:gd name="T68" fmla="*/ 190 w 192"/>
                <a:gd name="T69" fmla="*/ 15 h 681"/>
                <a:gd name="T70" fmla="*/ 196 w 192"/>
                <a:gd name="T71" fmla="*/ 14 h 681"/>
                <a:gd name="T72" fmla="*/ 211 w 192"/>
                <a:gd name="T73" fmla="*/ 12 h 681"/>
                <a:gd name="T74" fmla="*/ 228 w 192"/>
                <a:gd name="T75" fmla="*/ 10 h 681"/>
                <a:gd name="T76" fmla="*/ 276 w 192"/>
                <a:gd name="T77" fmla="*/ 7 h 681"/>
                <a:gd name="T78" fmla="*/ 318 w 192"/>
                <a:gd name="T79" fmla="*/ 5 h 681"/>
                <a:gd name="T80" fmla="*/ 356 w 192"/>
                <a:gd name="T81" fmla="*/ 5 h 681"/>
                <a:gd name="T82" fmla="*/ 375 w 192"/>
                <a:gd name="T83" fmla="*/ 0 h 681"/>
                <a:gd name="T84" fmla="*/ 318 w 192"/>
                <a:gd name="T85" fmla="*/ 5 h 681"/>
                <a:gd name="T86" fmla="*/ 205 w 192"/>
                <a:gd name="T87" fmla="*/ 5 h 681"/>
                <a:gd name="T88" fmla="*/ 159 w 192"/>
                <a:gd name="T89" fmla="*/ 6 h 68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92"/>
                <a:gd name="T136" fmla="*/ 0 h 681"/>
                <a:gd name="T137" fmla="*/ 192 w 192"/>
                <a:gd name="T138" fmla="*/ 681 h 68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92" h="681">
                  <a:moveTo>
                    <a:pt x="82" y="69"/>
                  </a:moveTo>
                  <a:lnTo>
                    <a:pt x="73" y="86"/>
                  </a:lnTo>
                  <a:lnTo>
                    <a:pt x="68" y="103"/>
                  </a:lnTo>
                  <a:lnTo>
                    <a:pt x="59" y="123"/>
                  </a:lnTo>
                  <a:lnTo>
                    <a:pt x="59" y="140"/>
                  </a:lnTo>
                  <a:lnTo>
                    <a:pt x="50" y="160"/>
                  </a:lnTo>
                  <a:lnTo>
                    <a:pt x="45" y="177"/>
                  </a:lnTo>
                  <a:lnTo>
                    <a:pt x="41" y="194"/>
                  </a:lnTo>
                  <a:lnTo>
                    <a:pt x="36" y="211"/>
                  </a:lnTo>
                  <a:lnTo>
                    <a:pt x="32" y="228"/>
                  </a:lnTo>
                  <a:lnTo>
                    <a:pt x="27" y="245"/>
                  </a:lnTo>
                  <a:lnTo>
                    <a:pt x="23" y="262"/>
                  </a:lnTo>
                  <a:lnTo>
                    <a:pt x="23" y="279"/>
                  </a:lnTo>
                  <a:lnTo>
                    <a:pt x="18" y="297"/>
                  </a:lnTo>
                  <a:lnTo>
                    <a:pt x="13" y="314"/>
                  </a:lnTo>
                  <a:lnTo>
                    <a:pt x="13" y="328"/>
                  </a:lnTo>
                  <a:lnTo>
                    <a:pt x="13" y="345"/>
                  </a:lnTo>
                  <a:lnTo>
                    <a:pt x="9" y="362"/>
                  </a:lnTo>
                  <a:lnTo>
                    <a:pt x="4" y="376"/>
                  </a:lnTo>
                  <a:lnTo>
                    <a:pt x="4" y="391"/>
                  </a:lnTo>
                  <a:lnTo>
                    <a:pt x="4" y="405"/>
                  </a:lnTo>
                  <a:lnTo>
                    <a:pt x="0" y="419"/>
                  </a:lnTo>
                  <a:lnTo>
                    <a:pt x="0" y="433"/>
                  </a:lnTo>
                  <a:lnTo>
                    <a:pt x="0" y="445"/>
                  </a:lnTo>
                  <a:lnTo>
                    <a:pt x="0" y="462"/>
                  </a:lnTo>
                  <a:lnTo>
                    <a:pt x="0" y="476"/>
                  </a:lnTo>
                  <a:lnTo>
                    <a:pt x="0" y="487"/>
                  </a:lnTo>
                  <a:lnTo>
                    <a:pt x="0" y="502"/>
                  </a:lnTo>
                  <a:lnTo>
                    <a:pt x="0" y="513"/>
                  </a:lnTo>
                  <a:lnTo>
                    <a:pt x="0" y="524"/>
                  </a:lnTo>
                  <a:lnTo>
                    <a:pt x="0" y="536"/>
                  </a:lnTo>
                  <a:lnTo>
                    <a:pt x="0" y="550"/>
                  </a:lnTo>
                  <a:lnTo>
                    <a:pt x="0" y="561"/>
                  </a:lnTo>
                  <a:lnTo>
                    <a:pt x="0" y="570"/>
                  </a:lnTo>
                  <a:lnTo>
                    <a:pt x="0" y="578"/>
                  </a:lnTo>
                  <a:lnTo>
                    <a:pt x="0" y="590"/>
                  </a:lnTo>
                  <a:lnTo>
                    <a:pt x="0" y="598"/>
                  </a:lnTo>
                  <a:lnTo>
                    <a:pt x="0" y="607"/>
                  </a:lnTo>
                  <a:lnTo>
                    <a:pt x="0" y="615"/>
                  </a:lnTo>
                  <a:lnTo>
                    <a:pt x="0" y="621"/>
                  </a:lnTo>
                  <a:lnTo>
                    <a:pt x="0" y="630"/>
                  </a:lnTo>
                  <a:lnTo>
                    <a:pt x="0" y="635"/>
                  </a:lnTo>
                  <a:lnTo>
                    <a:pt x="0" y="641"/>
                  </a:lnTo>
                  <a:lnTo>
                    <a:pt x="4" y="650"/>
                  </a:lnTo>
                  <a:lnTo>
                    <a:pt x="4" y="655"/>
                  </a:lnTo>
                  <a:lnTo>
                    <a:pt x="4" y="664"/>
                  </a:lnTo>
                  <a:lnTo>
                    <a:pt x="9" y="675"/>
                  </a:lnTo>
                  <a:lnTo>
                    <a:pt x="13" y="681"/>
                  </a:lnTo>
                  <a:lnTo>
                    <a:pt x="18" y="678"/>
                  </a:lnTo>
                  <a:lnTo>
                    <a:pt x="18" y="675"/>
                  </a:lnTo>
                  <a:lnTo>
                    <a:pt x="18" y="667"/>
                  </a:lnTo>
                  <a:lnTo>
                    <a:pt x="23" y="655"/>
                  </a:lnTo>
                  <a:lnTo>
                    <a:pt x="23" y="647"/>
                  </a:lnTo>
                  <a:lnTo>
                    <a:pt x="23" y="638"/>
                  </a:lnTo>
                  <a:lnTo>
                    <a:pt x="23" y="630"/>
                  </a:lnTo>
                  <a:lnTo>
                    <a:pt x="23" y="624"/>
                  </a:lnTo>
                  <a:lnTo>
                    <a:pt x="23" y="615"/>
                  </a:lnTo>
                  <a:lnTo>
                    <a:pt x="23" y="607"/>
                  </a:lnTo>
                  <a:lnTo>
                    <a:pt x="23" y="598"/>
                  </a:lnTo>
                  <a:lnTo>
                    <a:pt x="23" y="590"/>
                  </a:lnTo>
                  <a:lnTo>
                    <a:pt x="23" y="581"/>
                  </a:lnTo>
                  <a:lnTo>
                    <a:pt x="23" y="573"/>
                  </a:lnTo>
                  <a:lnTo>
                    <a:pt x="27" y="564"/>
                  </a:lnTo>
                  <a:lnTo>
                    <a:pt x="27" y="553"/>
                  </a:lnTo>
                  <a:lnTo>
                    <a:pt x="27" y="541"/>
                  </a:lnTo>
                  <a:lnTo>
                    <a:pt x="27" y="533"/>
                  </a:lnTo>
                  <a:lnTo>
                    <a:pt x="32" y="524"/>
                  </a:lnTo>
                  <a:lnTo>
                    <a:pt x="32" y="516"/>
                  </a:lnTo>
                  <a:lnTo>
                    <a:pt x="36" y="504"/>
                  </a:lnTo>
                  <a:lnTo>
                    <a:pt x="36" y="493"/>
                  </a:lnTo>
                  <a:lnTo>
                    <a:pt x="36" y="485"/>
                  </a:lnTo>
                  <a:lnTo>
                    <a:pt x="36" y="473"/>
                  </a:lnTo>
                  <a:lnTo>
                    <a:pt x="41" y="465"/>
                  </a:lnTo>
                  <a:lnTo>
                    <a:pt x="41" y="453"/>
                  </a:lnTo>
                  <a:lnTo>
                    <a:pt x="41" y="442"/>
                  </a:lnTo>
                  <a:lnTo>
                    <a:pt x="45" y="430"/>
                  </a:lnTo>
                  <a:lnTo>
                    <a:pt x="45" y="422"/>
                  </a:lnTo>
                  <a:lnTo>
                    <a:pt x="45" y="410"/>
                  </a:lnTo>
                  <a:lnTo>
                    <a:pt x="45" y="402"/>
                  </a:lnTo>
                  <a:lnTo>
                    <a:pt x="50" y="391"/>
                  </a:lnTo>
                  <a:lnTo>
                    <a:pt x="50" y="379"/>
                  </a:lnTo>
                  <a:lnTo>
                    <a:pt x="50" y="371"/>
                  </a:lnTo>
                  <a:lnTo>
                    <a:pt x="55" y="359"/>
                  </a:lnTo>
                  <a:lnTo>
                    <a:pt x="59" y="348"/>
                  </a:lnTo>
                  <a:lnTo>
                    <a:pt x="59" y="336"/>
                  </a:lnTo>
                  <a:lnTo>
                    <a:pt x="59" y="328"/>
                  </a:lnTo>
                  <a:lnTo>
                    <a:pt x="64" y="316"/>
                  </a:lnTo>
                  <a:lnTo>
                    <a:pt x="64" y="305"/>
                  </a:lnTo>
                  <a:lnTo>
                    <a:pt x="68" y="297"/>
                  </a:lnTo>
                  <a:lnTo>
                    <a:pt x="68" y="285"/>
                  </a:lnTo>
                  <a:lnTo>
                    <a:pt x="68" y="277"/>
                  </a:lnTo>
                  <a:lnTo>
                    <a:pt x="68" y="265"/>
                  </a:lnTo>
                  <a:lnTo>
                    <a:pt x="77" y="257"/>
                  </a:lnTo>
                  <a:lnTo>
                    <a:pt x="77" y="248"/>
                  </a:lnTo>
                  <a:lnTo>
                    <a:pt x="77" y="240"/>
                  </a:lnTo>
                  <a:lnTo>
                    <a:pt x="82" y="228"/>
                  </a:lnTo>
                  <a:lnTo>
                    <a:pt x="82" y="223"/>
                  </a:lnTo>
                  <a:lnTo>
                    <a:pt x="82" y="211"/>
                  </a:lnTo>
                  <a:lnTo>
                    <a:pt x="87" y="205"/>
                  </a:lnTo>
                  <a:lnTo>
                    <a:pt x="87" y="197"/>
                  </a:lnTo>
                  <a:lnTo>
                    <a:pt x="91" y="188"/>
                  </a:lnTo>
                  <a:lnTo>
                    <a:pt x="91" y="183"/>
                  </a:lnTo>
                  <a:lnTo>
                    <a:pt x="91" y="174"/>
                  </a:lnTo>
                  <a:lnTo>
                    <a:pt x="96" y="168"/>
                  </a:lnTo>
                  <a:lnTo>
                    <a:pt x="96" y="163"/>
                  </a:lnTo>
                  <a:lnTo>
                    <a:pt x="96" y="154"/>
                  </a:lnTo>
                  <a:lnTo>
                    <a:pt x="100" y="148"/>
                  </a:lnTo>
                  <a:lnTo>
                    <a:pt x="100" y="146"/>
                  </a:lnTo>
                  <a:lnTo>
                    <a:pt x="100" y="137"/>
                  </a:lnTo>
                  <a:lnTo>
                    <a:pt x="105" y="129"/>
                  </a:lnTo>
                  <a:lnTo>
                    <a:pt x="109" y="123"/>
                  </a:lnTo>
                  <a:lnTo>
                    <a:pt x="114" y="114"/>
                  </a:lnTo>
                  <a:lnTo>
                    <a:pt x="114" y="111"/>
                  </a:lnTo>
                  <a:lnTo>
                    <a:pt x="118" y="103"/>
                  </a:lnTo>
                  <a:lnTo>
                    <a:pt x="123" y="94"/>
                  </a:lnTo>
                  <a:lnTo>
                    <a:pt x="132" y="86"/>
                  </a:lnTo>
                  <a:lnTo>
                    <a:pt x="141" y="74"/>
                  </a:lnTo>
                  <a:lnTo>
                    <a:pt x="150" y="66"/>
                  </a:lnTo>
                  <a:lnTo>
                    <a:pt x="155" y="57"/>
                  </a:lnTo>
                  <a:lnTo>
                    <a:pt x="164" y="46"/>
                  </a:lnTo>
                  <a:lnTo>
                    <a:pt x="169" y="37"/>
                  </a:lnTo>
                  <a:lnTo>
                    <a:pt x="178" y="26"/>
                  </a:lnTo>
                  <a:lnTo>
                    <a:pt x="182" y="20"/>
                  </a:lnTo>
                  <a:lnTo>
                    <a:pt x="187" y="12"/>
                  </a:lnTo>
                  <a:lnTo>
                    <a:pt x="187" y="9"/>
                  </a:lnTo>
                  <a:lnTo>
                    <a:pt x="192" y="0"/>
                  </a:lnTo>
                  <a:lnTo>
                    <a:pt x="187" y="0"/>
                  </a:lnTo>
                  <a:lnTo>
                    <a:pt x="178" y="6"/>
                  </a:lnTo>
                  <a:lnTo>
                    <a:pt x="164" y="15"/>
                  </a:lnTo>
                  <a:lnTo>
                    <a:pt x="146" y="26"/>
                  </a:lnTo>
                  <a:lnTo>
                    <a:pt x="123" y="37"/>
                  </a:lnTo>
                  <a:lnTo>
                    <a:pt x="105" y="49"/>
                  </a:lnTo>
                  <a:lnTo>
                    <a:pt x="96" y="57"/>
                  </a:lnTo>
                  <a:lnTo>
                    <a:pt x="82" y="66"/>
                  </a:lnTo>
                  <a:lnTo>
                    <a:pt x="82" y="6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61" name="Freeform 172"/>
            <p:cNvSpPr>
              <a:spLocks/>
            </p:cNvSpPr>
            <p:nvPr>
              <p:custDataLst>
                <p:tags r:id="rId160"/>
              </p:custDataLst>
            </p:nvPr>
          </p:nvSpPr>
          <p:spPr bwMode="gray">
            <a:xfrm>
              <a:off x="2656" y="2138"/>
              <a:ext cx="605" cy="46"/>
            </a:xfrm>
            <a:custGeom>
              <a:avLst/>
              <a:gdLst>
                <a:gd name="T0" fmla="*/ 132 w 590"/>
                <a:gd name="T1" fmla="*/ 5 h 51"/>
                <a:gd name="T2" fmla="*/ 195 w 590"/>
                <a:gd name="T3" fmla="*/ 5 h 51"/>
                <a:gd name="T4" fmla="*/ 263 w 590"/>
                <a:gd name="T5" fmla="*/ 5 h 51"/>
                <a:gd name="T6" fmla="*/ 323 w 590"/>
                <a:gd name="T7" fmla="*/ 3 h 51"/>
                <a:gd name="T8" fmla="*/ 385 w 590"/>
                <a:gd name="T9" fmla="*/ 0 h 51"/>
                <a:gd name="T10" fmla="*/ 439 w 590"/>
                <a:gd name="T11" fmla="*/ 0 h 51"/>
                <a:gd name="T12" fmla="*/ 502 w 590"/>
                <a:gd name="T13" fmla="*/ 0 h 51"/>
                <a:gd name="T14" fmla="*/ 554 w 590"/>
                <a:gd name="T15" fmla="*/ 0 h 51"/>
                <a:gd name="T16" fmla="*/ 607 w 590"/>
                <a:gd name="T17" fmla="*/ 3 h 51"/>
                <a:gd name="T18" fmla="*/ 658 w 590"/>
                <a:gd name="T19" fmla="*/ 3 h 51"/>
                <a:gd name="T20" fmla="*/ 710 w 590"/>
                <a:gd name="T21" fmla="*/ 5 h 51"/>
                <a:gd name="T22" fmla="*/ 756 w 590"/>
                <a:gd name="T23" fmla="*/ 5 h 51"/>
                <a:gd name="T24" fmla="*/ 799 w 590"/>
                <a:gd name="T25" fmla="*/ 5 h 51"/>
                <a:gd name="T26" fmla="*/ 842 w 590"/>
                <a:gd name="T27" fmla="*/ 5 h 51"/>
                <a:gd name="T28" fmla="*/ 895 w 590"/>
                <a:gd name="T29" fmla="*/ 5 h 51"/>
                <a:gd name="T30" fmla="*/ 966 w 590"/>
                <a:gd name="T31" fmla="*/ 5 h 51"/>
                <a:gd name="T32" fmla="*/ 1026 w 590"/>
                <a:gd name="T33" fmla="*/ 5 h 51"/>
                <a:gd name="T34" fmla="*/ 1064 w 590"/>
                <a:gd name="T35" fmla="*/ 5 h 51"/>
                <a:gd name="T36" fmla="*/ 1105 w 590"/>
                <a:gd name="T37" fmla="*/ 5 h 51"/>
                <a:gd name="T38" fmla="*/ 1132 w 590"/>
                <a:gd name="T39" fmla="*/ 5 h 51"/>
                <a:gd name="T40" fmla="*/ 1132 w 590"/>
                <a:gd name="T41" fmla="*/ 5 h 51"/>
                <a:gd name="T42" fmla="*/ 1099 w 590"/>
                <a:gd name="T43" fmla="*/ 5 h 51"/>
                <a:gd name="T44" fmla="*/ 1052 w 590"/>
                <a:gd name="T45" fmla="*/ 5 h 51"/>
                <a:gd name="T46" fmla="*/ 1012 w 590"/>
                <a:gd name="T47" fmla="*/ 5 h 51"/>
                <a:gd name="T48" fmla="*/ 966 w 590"/>
                <a:gd name="T49" fmla="*/ 5 h 51"/>
                <a:gd name="T50" fmla="*/ 904 w 590"/>
                <a:gd name="T51" fmla="*/ 5 h 51"/>
                <a:gd name="T52" fmla="*/ 852 w 590"/>
                <a:gd name="T53" fmla="*/ 5 h 51"/>
                <a:gd name="T54" fmla="*/ 790 w 590"/>
                <a:gd name="T55" fmla="*/ 5 h 51"/>
                <a:gd name="T56" fmla="*/ 739 w 590"/>
                <a:gd name="T57" fmla="*/ 5 h 51"/>
                <a:gd name="T58" fmla="*/ 675 w 590"/>
                <a:gd name="T59" fmla="*/ 5 h 51"/>
                <a:gd name="T60" fmla="*/ 613 w 590"/>
                <a:gd name="T61" fmla="*/ 5 h 51"/>
                <a:gd name="T62" fmla="*/ 563 w 590"/>
                <a:gd name="T63" fmla="*/ 5 h 51"/>
                <a:gd name="T64" fmla="*/ 509 w 590"/>
                <a:gd name="T65" fmla="*/ 5 h 51"/>
                <a:gd name="T66" fmla="*/ 458 w 590"/>
                <a:gd name="T67" fmla="*/ 5 h 51"/>
                <a:gd name="T68" fmla="*/ 414 w 590"/>
                <a:gd name="T69" fmla="*/ 5 h 51"/>
                <a:gd name="T70" fmla="*/ 368 w 590"/>
                <a:gd name="T71" fmla="*/ 5 h 51"/>
                <a:gd name="T72" fmla="*/ 323 w 590"/>
                <a:gd name="T73" fmla="*/ 5 h 51"/>
                <a:gd name="T74" fmla="*/ 274 w 590"/>
                <a:gd name="T75" fmla="*/ 5 h 51"/>
                <a:gd name="T76" fmla="*/ 210 w 590"/>
                <a:gd name="T77" fmla="*/ 5 h 51"/>
                <a:gd name="T78" fmla="*/ 147 w 590"/>
                <a:gd name="T79" fmla="*/ 5 h 51"/>
                <a:gd name="T80" fmla="*/ 84 w 590"/>
                <a:gd name="T81" fmla="*/ 5 h 51"/>
                <a:gd name="T82" fmla="*/ 19 w 590"/>
                <a:gd name="T83" fmla="*/ 5 h 51"/>
                <a:gd name="T84" fmla="*/ 94 w 590"/>
                <a:gd name="T85" fmla="*/ 5 h 5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90"/>
                <a:gd name="T130" fmla="*/ 0 h 51"/>
                <a:gd name="T131" fmla="*/ 590 w 590"/>
                <a:gd name="T132" fmla="*/ 51 h 5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90" h="51">
                  <a:moveTo>
                    <a:pt x="51" y="14"/>
                  </a:moveTo>
                  <a:lnTo>
                    <a:pt x="69" y="12"/>
                  </a:lnTo>
                  <a:lnTo>
                    <a:pt x="83" y="9"/>
                  </a:lnTo>
                  <a:lnTo>
                    <a:pt x="101" y="6"/>
                  </a:lnTo>
                  <a:lnTo>
                    <a:pt x="119" y="6"/>
                  </a:lnTo>
                  <a:lnTo>
                    <a:pt x="137" y="6"/>
                  </a:lnTo>
                  <a:lnTo>
                    <a:pt x="151" y="3"/>
                  </a:lnTo>
                  <a:lnTo>
                    <a:pt x="169" y="3"/>
                  </a:lnTo>
                  <a:lnTo>
                    <a:pt x="183" y="3"/>
                  </a:lnTo>
                  <a:lnTo>
                    <a:pt x="201" y="0"/>
                  </a:lnTo>
                  <a:lnTo>
                    <a:pt x="215" y="0"/>
                  </a:lnTo>
                  <a:lnTo>
                    <a:pt x="229" y="0"/>
                  </a:lnTo>
                  <a:lnTo>
                    <a:pt x="247" y="0"/>
                  </a:lnTo>
                  <a:lnTo>
                    <a:pt x="261" y="0"/>
                  </a:lnTo>
                  <a:lnTo>
                    <a:pt x="274" y="0"/>
                  </a:lnTo>
                  <a:lnTo>
                    <a:pt x="288" y="0"/>
                  </a:lnTo>
                  <a:lnTo>
                    <a:pt x="306" y="3"/>
                  </a:lnTo>
                  <a:lnTo>
                    <a:pt x="316" y="3"/>
                  </a:lnTo>
                  <a:lnTo>
                    <a:pt x="334" y="3"/>
                  </a:lnTo>
                  <a:lnTo>
                    <a:pt x="343" y="3"/>
                  </a:lnTo>
                  <a:lnTo>
                    <a:pt x="357" y="6"/>
                  </a:lnTo>
                  <a:lnTo>
                    <a:pt x="370" y="6"/>
                  </a:lnTo>
                  <a:lnTo>
                    <a:pt x="384" y="6"/>
                  </a:lnTo>
                  <a:lnTo>
                    <a:pt x="393" y="6"/>
                  </a:lnTo>
                  <a:lnTo>
                    <a:pt x="407" y="9"/>
                  </a:lnTo>
                  <a:lnTo>
                    <a:pt x="416" y="9"/>
                  </a:lnTo>
                  <a:lnTo>
                    <a:pt x="425" y="12"/>
                  </a:lnTo>
                  <a:lnTo>
                    <a:pt x="439" y="14"/>
                  </a:lnTo>
                  <a:lnTo>
                    <a:pt x="448" y="14"/>
                  </a:lnTo>
                  <a:lnTo>
                    <a:pt x="466" y="17"/>
                  </a:lnTo>
                  <a:lnTo>
                    <a:pt x="489" y="20"/>
                  </a:lnTo>
                  <a:lnTo>
                    <a:pt x="503" y="26"/>
                  </a:lnTo>
                  <a:lnTo>
                    <a:pt x="521" y="26"/>
                  </a:lnTo>
                  <a:lnTo>
                    <a:pt x="535" y="29"/>
                  </a:lnTo>
                  <a:lnTo>
                    <a:pt x="549" y="34"/>
                  </a:lnTo>
                  <a:lnTo>
                    <a:pt x="553" y="37"/>
                  </a:lnTo>
                  <a:lnTo>
                    <a:pt x="567" y="40"/>
                  </a:lnTo>
                  <a:lnTo>
                    <a:pt x="576" y="43"/>
                  </a:lnTo>
                  <a:lnTo>
                    <a:pt x="581" y="49"/>
                  </a:lnTo>
                  <a:lnTo>
                    <a:pt x="590" y="49"/>
                  </a:lnTo>
                  <a:lnTo>
                    <a:pt x="590" y="51"/>
                  </a:lnTo>
                  <a:lnTo>
                    <a:pt x="581" y="51"/>
                  </a:lnTo>
                  <a:lnTo>
                    <a:pt x="572" y="49"/>
                  </a:lnTo>
                  <a:lnTo>
                    <a:pt x="558" y="49"/>
                  </a:lnTo>
                  <a:lnTo>
                    <a:pt x="549" y="43"/>
                  </a:lnTo>
                  <a:lnTo>
                    <a:pt x="540" y="43"/>
                  </a:lnTo>
                  <a:lnTo>
                    <a:pt x="526" y="40"/>
                  </a:lnTo>
                  <a:lnTo>
                    <a:pt x="517" y="40"/>
                  </a:lnTo>
                  <a:lnTo>
                    <a:pt x="503" y="37"/>
                  </a:lnTo>
                  <a:lnTo>
                    <a:pt x="489" y="37"/>
                  </a:lnTo>
                  <a:lnTo>
                    <a:pt x="471" y="34"/>
                  </a:lnTo>
                  <a:lnTo>
                    <a:pt x="457" y="34"/>
                  </a:lnTo>
                  <a:lnTo>
                    <a:pt x="444" y="32"/>
                  </a:lnTo>
                  <a:lnTo>
                    <a:pt x="425" y="32"/>
                  </a:lnTo>
                  <a:lnTo>
                    <a:pt x="412" y="32"/>
                  </a:lnTo>
                  <a:lnTo>
                    <a:pt x="398" y="29"/>
                  </a:lnTo>
                  <a:lnTo>
                    <a:pt x="384" y="29"/>
                  </a:lnTo>
                  <a:lnTo>
                    <a:pt x="370" y="29"/>
                  </a:lnTo>
                  <a:lnTo>
                    <a:pt x="352" y="26"/>
                  </a:lnTo>
                  <a:lnTo>
                    <a:pt x="334" y="26"/>
                  </a:lnTo>
                  <a:lnTo>
                    <a:pt x="320" y="26"/>
                  </a:lnTo>
                  <a:lnTo>
                    <a:pt x="306" y="26"/>
                  </a:lnTo>
                  <a:lnTo>
                    <a:pt x="293" y="26"/>
                  </a:lnTo>
                  <a:lnTo>
                    <a:pt x="279" y="26"/>
                  </a:lnTo>
                  <a:lnTo>
                    <a:pt x="265" y="26"/>
                  </a:lnTo>
                  <a:lnTo>
                    <a:pt x="252" y="26"/>
                  </a:lnTo>
                  <a:lnTo>
                    <a:pt x="238" y="26"/>
                  </a:lnTo>
                  <a:lnTo>
                    <a:pt x="229" y="26"/>
                  </a:lnTo>
                  <a:lnTo>
                    <a:pt x="215" y="26"/>
                  </a:lnTo>
                  <a:lnTo>
                    <a:pt x="210" y="26"/>
                  </a:lnTo>
                  <a:lnTo>
                    <a:pt x="192" y="26"/>
                  </a:lnTo>
                  <a:lnTo>
                    <a:pt x="183" y="29"/>
                  </a:lnTo>
                  <a:lnTo>
                    <a:pt x="169" y="29"/>
                  </a:lnTo>
                  <a:lnTo>
                    <a:pt x="156" y="29"/>
                  </a:lnTo>
                  <a:lnTo>
                    <a:pt x="142" y="32"/>
                  </a:lnTo>
                  <a:lnTo>
                    <a:pt x="128" y="34"/>
                  </a:lnTo>
                  <a:lnTo>
                    <a:pt x="110" y="34"/>
                  </a:lnTo>
                  <a:lnTo>
                    <a:pt x="96" y="37"/>
                  </a:lnTo>
                  <a:lnTo>
                    <a:pt x="78" y="37"/>
                  </a:lnTo>
                  <a:lnTo>
                    <a:pt x="64" y="40"/>
                  </a:lnTo>
                  <a:lnTo>
                    <a:pt x="46" y="40"/>
                  </a:lnTo>
                  <a:lnTo>
                    <a:pt x="32" y="40"/>
                  </a:lnTo>
                  <a:lnTo>
                    <a:pt x="19" y="43"/>
                  </a:lnTo>
                  <a:lnTo>
                    <a:pt x="0" y="46"/>
                  </a:lnTo>
                  <a:lnTo>
                    <a:pt x="51" y="1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62" name="Freeform 173"/>
            <p:cNvSpPr>
              <a:spLocks/>
            </p:cNvSpPr>
            <p:nvPr>
              <p:custDataLst>
                <p:tags r:id="rId161"/>
              </p:custDataLst>
            </p:nvPr>
          </p:nvSpPr>
          <p:spPr bwMode="gray">
            <a:xfrm>
              <a:off x="2632" y="2239"/>
              <a:ext cx="643" cy="58"/>
            </a:xfrm>
            <a:custGeom>
              <a:avLst/>
              <a:gdLst>
                <a:gd name="T0" fmla="*/ 95 w 627"/>
                <a:gd name="T1" fmla="*/ 6 h 63"/>
                <a:gd name="T2" fmla="*/ 140 w 627"/>
                <a:gd name="T3" fmla="*/ 6 h 63"/>
                <a:gd name="T4" fmla="*/ 195 w 627"/>
                <a:gd name="T5" fmla="*/ 6 h 63"/>
                <a:gd name="T6" fmla="*/ 244 w 627"/>
                <a:gd name="T7" fmla="*/ 6 h 63"/>
                <a:gd name="T8" fmla="*/ 298 w 627"/>
                <a:gd name="T9" fmla="*/ 6 h 63"/>
                <a:gd name="T10" fmla="*/ 353 w 627"/>
                <a:gd name="T11" fmla="*/ 6 h 63"/>
                <a:gd name="T12" fmla="*/ 414 w 627"/>
                <a:gd name="T13" fmla="*/ 6 h 63"/>
                <a:gd name="T14" fmla="*/ 469 w 627"/>
                <a:gd name="T15" fmla="*/ 3 h 63"/>
                <a:gd name="T16" fmla="*/ 520 w 627"/>
                <a:gd name="T17" fmla="*/ 0 h 63"/>
                <a:gd name="T18" fmla="*/ 581 w 627"/>
                <a:gd name="T19" fmla="*/ 0 h 63"/>
                <a:gd name="T20" fmla="*/ 635 w 627"/>
                <a:gd name="T21" fmla="*/ 0 h 63"/>
                <a:gd name="T22" fmla="*/ 687 w 627"/>
                <a:gd name="T23" fmla="*/ 0 h 63"/>
                <a:gd name="T24" fmla="*/ 740 w 627"/>
                <a:gd name="T25" fmla="*/ 0 h 63"/>
                <a:gd name="T26" fmla="*/ 783 w 627"/>
                <a:gd name="T27" fmla="*/ 0 h 63"/>
                <a:gd name="T28" fmla="*/ 828 w 627"/>
                <a:gd name="T29" fmla="*/ 0 h 63"/>
                <a:gd name="T30" fmla="*/ 891 w 627"/>
                <a:gd name="T31" fmla="*/ 0 h 63"/>
                <a:gd name="T32" fmla="*/ 924 w 627"/>
                <a:gd name="T33" fmla="*/ 3 h 63"/>
                <a:gd name="T34" fmla="*/ 969 w 627"/>
                <a:gd name="T35" fmla="*/ 3 h 63"/>
                <a:gd name="T36" fmla="*/ 1029 w 627"/>
                <a:gd name="T37" fmla="*/ 6 h 63"/>
                <a:gd name="T38" fmla="*/ 1093 w 627"/>
                <a:gd name="T39" fmla="*/ 6 h 63"/>
                <a:gd name="T40" fmla="*/ 1148 w 627"/>
                <a:gd name="T41" fmla="*/ 6 h 63"/>
                <a:gd name="T42" fmla="*/ 1188 w 627"/>
                <a:gd name="T43" fmla="*/ 6 h 63"/>
                <a:gd name="T44" fmla="*/ 1197 w 627"/>
                <a:gd name="T45" fmla="*/ 6 h 63"/>
                <a:gd name="T46" fmla="*/ 1181 w 627"/>
                <a:gd name="T47" fmla="*/ 6 h 63"/>
                <a:gd name="T48" fmla="*/ 1136 w 627"/>
                <a:gd name="T49" fmla="*/ 6 h 63"/>
                <a:gd name="T50" fmla="*/ 1093 w 627"/>
                <a:gd name="T51" fmla="*/ 6 h 63"/>
                <a:gd name="T52" fmla="*/ 1029 w 627"/>
                <a:gd name="T53" fmla="*/ 6 h 63"/>
                <a:gd name="T54" fmla="*/ 962 w 627"/>
                <a:gd name="T55" fmla="*/ 6 h 63"/>
                <a:gd name="T56" fmla="*/ 900 w 627"/>
                <a:gd name="T57" fmla="*/ 6 h 63"/>
                <a:gd name="T58" fmla="*/ 828 w 627"/>
                <a:gd name="T59" fmla="*/ 6 h 63"/>
                <a:gd name="T60" fmla="*/ 757 w 627"/>
                <a:gd name="T61" fmla="*/ 6 h 63"/>
                <a:gd name="T62" fmla="*/ 705 w 627"/>
                <a:gd name="T63" fmla="*/ 6 h 63"/>
                <a:gd name="T64" fmla="*/ 659 w 627"/>
                <a:gd name="T65" fmla="*/ 6 h 63"/>
                <a:gd name="T66" fmla="*/ 615 w 627"/>
                <a:gd name="T67" fmla="*/ 6 h 63"/>
                <a:gd name="T68" fmla="*/ 563 w 627"/>
                <a:gd name="T69" fmla="*/ 6 h 63"/>
                <a:gd name="T70" fmla="*/ 520 w 627"/>
                <a:gd name="T71" fmla="*/ 6 h 63"/>
                <a:gd name="T72" fmla="*/ 458 w 627"/>
                <a:gd name="T73" fmla="*/ 6 h 63"/>
                <a:gd name="T74" fmla="*/ 406 w 627"/>
                <a:gd name="T75" fmla="*/ 6 h 63"/>
                <a:gd name="T76" fmla="*/ 353 w 627"/>
                <a:gd name="T77" fmla="*/ 6 h 63"/>
                <a:gd name="T78" fmla="*/ 306 w 627"/>
                <a:gd name="T79" fmla="*/ 6 h 63"/>
                <a:gd name="T80" fmla="*/ 255 w 627"/>
                <a:gd name="T81" fmla="*/ 6 h 63"/>
                <a:gd name="T82" fmla="*/ 210 w 627"/>
                <a:gd name="T83" fmla="*/ 6 h 63"/>
                <a:gd name="T84" fmla="*/ 176 w 627"/>
                <a:gd name="T85" fmla="*/ 6 h 63"/>
                <a:gd name="T86" fmla="*/ 125 w 627"/>
                <a:gd name="T87" fmla="*/ 6 h 63"/>
                <a:gd name="T88" fmla="*/ 54 w 627"/>
                <a:gd name="T89" fmla="*/ 6 h 63"/>
                <a:gd name="T90" fmla="*/ 67 w 627"/>
                <a:gd name="T91" fmla="*/ 6 h 6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27"/>
                <a:gd name="T139" fmla="*/ 0 h 63"/>
                <a:gd name="T140" fmla="*/ 627 w 627"/>
                <a:gd name="T141" fmla="*/ 63 h 6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27" h="63">
                  <a:moveTo>
                    <a:pt x="37" y="37"/>
                  </a:moveTo>
                  <a:lnTo>
                    <a:pt x="51" y="34"/>
                  </a:lnTo>
                  <a:lnTo>
                    <a:pt x="64" y="29"/>
                  </a:lnTo>
                  <a:lnTo>
                    <a:pt x="74" y="26"/>
                  </a:lnTo>
                  <a:lnTo>
                    <a:pt x="87" y="23"/>
                  </a:lnTo>
                  <a:lnTo>
                    <a:pt x="101" y="20"/>
                  </a:lnTo>
                  <a:lnTo>
                    <a:pt x="115" y="17"/>
                  </a:lnTo>
                  <a:lnTo>
                    <a:pt x="128" y="15"/>
                  </a:lnTo>
                  <a:lnTo>
                    <a:pt x="142" y="15"/>
                  </a:lnTo>
                  <a:lnTo>
                    <a:pt x="156" y="12"/>
                  </a:lnTo>
                  <a:lnTo>
                    <a:pt x="170" y="9"/>
                  </a:lnTo>
                  <a:lnTo>
                    <a:pt x="183" y="6"/>
                  </a:lnTo>
                  <a:lnTo>
                    <a:pt x="197" y="6"/>
                  </a:lnTo>
                  <a:lnTo>
                    <a:pt x="215" y="6"/>
                  </a:lnTo>
                  <a:lnTo>
                    <a:pt x="229" y="3"/>
                  </a:lnTo>
                  <a:lnTo>
                    <a:pt x="243" y="3"/>
                  </a:lnTo>
                  <a:lnTo>
                    <a:pt x="261" y="3"/>
                  </a:lnTo>
                  <a:lnTo>
                    <a:pt x="270" y="0"/>
                  </a:lnTo>
                  <a:lnTo>
                    <a:pt x="288" y="0"/>
                  </a:lnTo>
                  <a:lnTo>
                    <a:pt x="302" y="0"/>
                  </a:lnTo>
                  <a:lnTo>
                    <a:pt x="316" y="0"/>
                  </a:lnTo>
                  <a:lnTo>
                    <a:pt x="329" y="0"/>
                  </a:lnTo>
                  <a:lnTo>
                    <a:pt x="339" y="0"/>
                  </a:lnTo>
                  <a:lnTo>
                    <a:pt x="357" y="0"/>
                  </a:lnTo>
                  <a:lnTo>
                    <a:pt x="375" y="0"/>
                  </a:lnTo>
                  <a:lnTo>
                    <a:pt x="384" y="0"/>
                  </a:lnTo>
                  <a:lnTo>
                    <a:pt x="393" y="0"/>
                  </a:lnTo>
                  <a:lnTo>
                    <a:pt x="407" y="0"/>
                  </a:lnTo>
                  <a:lnTo>
                    <a:pt x="421" y="0"/>
                  </a:lnTo>
                  <a:lnTo>
                    <a:pt x="430" y="0"/>
                  </a:lnTo>
                  <a:lnTo>
                    <a:pt x="444" y="0"/>
                  </a:lnTo>
                  <a:lnTo>
                    <a:pt x="462" y="0"/>
                  </a:lnTo>
                  <a:lnTo>
                    <a:pt x="471" y="3"/>
                  </a:lnTo>
                  <a:lnTo>
                    <a:pt x="480" y="3"/>
                  </a:lnTo>
                  <a:lnTo>
                    <a:pt x="494" y="3"/>
                  </a:lnTo>
                  <a:lnTo>
                    <a:pt x="503" y="3"/>
                  </a:lnTo>
                  <a:lnTo>
                    <a:pt x="517" y="6"/>
                  </a:lnTo>
                  <a:lnTo>
                    <a:pt x="535" y="6"/>
                  </a:lnTo>
                  <a:lnTo>
                    <a:pt x="553" y="9"/>
                  </a:lnTo>
                  <a:lnTo>
                    <a:pt x="567" y="9"/>
                  </a:lnTo>
                  <a:lnTo>
                    <a:pt x="581" y="12"/>
                  </a:lnTo>
                  <a:lnTo>
                    <a:pt x="595" y="15"/>
                  </a:lnTo>
                  <a:lnTo>
                    <a:pt x="604" y="15"/>
                  </a:lnTo>
                  <a:lnTo>
                    <a:pt x="617" y="17"/>
                  </a:lnTo>
                  <a:lnTo>
                    <a:pt x="627" y="20"/>
                  </a:lnTo>
                  <a:lnTo>
                    <a:pt x="622" y="20"/>
                  </a:lnTo>
                  <a:lnTo>
                    <a:pt x="617" y="20"/>
                  </a:lnTo>
                  <a:lnTo>
                    <a:pt x="613" y="20"/>
                  </a:lnTo>
                  <a:lnTo>
                    <a:pt x="604" y="23"/>
                  </a:lnTo>
                  <a:lnTo>
                    <a:pt x="590" y="20"/>
                  </a:lnTo>
                  <a:lnTo>
                    <a:pt x="576" y="20"/>
                  </a:lnTo>
                  <a:lnTo>
                    <a:pt x="567" y="20"/>
                  </a:lnTo>
                  <a:lnTo>
                    <a:pt x="558" y="20"/>
                  </a:lnTo>
                  <a:lnTo>
                    <a:pt x="535" y="17"/>
                  </a:lnTo>
                  <a:lnTo>
                    <a:pt x="517" y="17"/>
                  </a:lnTo>
                  <a:lnTo>
                    <a:pt x="499" y="17"/>
                  </a:lnTo>
                  <a:lnTo>
                    <a:pt x="485" y="17"/>
                  </a:lnTo>
                  <a:lnTo>
                    <a:pt x="467" y="17"/>
                  </a:lnTo>
                  <a:lnTo>
                    <a:pt x="448" y="17"/>
                  </a:lnTo>
                  <a:lnTo>
                    <a:pt x="430" y="17"/>
                  </a:lnTo>
                  <a:lnTo>
                    <a:pt x="416" y="17"/>
                  </a:lnTo>
                  <a:lnTo>
                    <a:pt x="393" y="17"/>
                  </a:lnTo>
                  <a:lnTo>
                    <a:pt x="375" y="20"/>
                  </a:lnTo>
                  <a:lnTo>
                    <a:pt x="366" y="20"/>
                  </a:lnTo>
                  <a:lnTo>
                    <a:pt x="357" y="20"/>
                  </a:lnTo>
                  <a:lnTo>
                    <a:pt x="343" y="20"/>
                  </a:lnTo>
                  <a:lnTo>
                    <a:pt x="334" y="23"/>
                  </a:lnTo>
                  <a:lnTo>
                    <a:pt x="320" y="23"/>
                  </a:lnTo>
                  <a:lnTo>
                    <a:pt x="307" y="26"/>
                  </a:lnTo>
                  <a:lnTo>
                    <a:pt x="293" y="26"/>
                  </a:lnTo>
                  <a:lnTo>
                    <a:pt x="284" y="29"/>
                  </a:lnTo>
                  <a:lnTo>
                    <a:pt x="270" y="29"/>
                  </a:lnTo>
                  <a:lnTo>
                    <a:pt x="252" y="29"/>
                  </a:lnTo>
                  <a:lnTo>
                    <a:pt x="238" y="32"/>
                  </a:lnTo>
                  <a:lnTo>
                    <a:pt x="224" y="34"/>
                  </a:lnTo>
                  <a:lnTo>
                    <a:pt x="211" y="34"/>
                  </a:lnTo>
                  <a:lnTo>
                    <a:pt x="197" y="34"/>
                  </a:lnTo>
                  <a:lnTo>
                    <a:pt x="183" y="34"/>
                  </a:lnTo>
                  <a:lnTo>
                    <a:pt x="174" y="37"/>
                  </a:lnTo>
                  <a:lnTo>
                    <a:pt x="160" y="40"/>
                  </a:lnTo>
                  <a:lnTo>
                    <a:pt x="147" y="40"/>
                  </a:lnTo>
                  <a:lnTo>
                    <a:pt x="133" y="43"/>
                  </a:lnTo>
                  <a:lnTo>
                    <a:pt x="124" y="43"/>
                  </a:lnTo>
                  <a:lnTo>
                    <a:pt x="110" y="43"/>
                  </a:lnTo>
                  <a:lnTo>
                    <a:pt x="101" y="49"/>
                  </a:lnTo>
                  <a:lnTo>
                    <a:pt x="92" y="49"/>
                  </a:lnTo>
                  <a:lnTo>
                    <a:pt x="83" y="52"/>
                  </a:lnTo>
                  <a:lnTo>
                    <a:pt x="64" y="54"/>
                  </a:lnTo>
                  <a:lnTo>
                    <a:pt x="46" y="54"/>
                  </a:lnTo>
                  <a:lnTo>
                    <a:pt x="28" y="57"/>
                  </a:lnTo>
                  <a:lnTo>
                    <a:pt x="0" y="63"/>
                  </a:lnTo>
                  <a:lnTo>
                    <a:pt x="37" y="37"/>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63" name="Freeform 174"/>
            <p:cNvSpPr>
              <a:spLocks/>
            </p:cNvSpPr>
            <p:nvPr>
              <p:custDataLst>
                <p:tags r:id="rId162"/>
              </p:custDataLst>
            </p:nvPr>
          </p:nvSpPr>
          <p:spPr bwMode="gray">
            <a:xfrm>
              <a:off x="2628" y="2323"/>
              <a:ext cx="614" cy="45"/>
            </a:xfrm>
            <a:custGeom>
              <a:avLst/>
              <a:gdLst>
                <a:gd name="T0" fmla="*/ 201 w 599"/>
                <a:gd name="T1" fmla="*/ 6 h 49"/>
                <a:gd name="T2" fmla="*/ 244 w 599"/>
                <a:gd name="T3" fmla="*/ 6 h 49"/>
                <a:gd name="T4" fmla="*/ 293 w 599"/>
                <a:gd name="T5" fmla="*/ 3 h 49"/>
                <a:gd name="T6" fmla="*/ 338 w 599"/>
                <a:gd name="T7" fmla="*/ 0 h 49"/>
                <a:gd name="T8" fmla="*/ 381 w 599"/>
                <a:gd name="T9" fmla="*/ 0 h 49"/>
                <a:gd name="T10" fmla="*/ 433 w 599"/>
                <a:gd name="T11" fmla="*/ 0 h 49"/>
                <a:gd name="T12" fmla="*/ 488 w 599"/>
                <a:gd name="T13" fmla="*/ 0 h 49"/>
                <a:gd name="T14" fmla="*/ 521 w 599"/>
                <a:gd name="T15" fmla="*/ 0 h 49"/>
                <a:gd name="T16" fmla="*/ 573 w 599"/>
                <a:gd name="T17" fmla="*/ 0 h 49"/>
                <a:gd name="T18" fmla="*/ 616 w 599"/>
                <a:gd name="T19" fmla="*/ 0 h 49"/>
                <a:gd name="T20" fmla="*/ 661 w 599"/>
                <a:gd name="T21" fmla="*/ 3 h 49"/>
                <a:gd name="T22" fmla="*/ 702 w 599"/>
                <a:gd name="T23" fmla="*/ 6 h 49"/>
                <a:gd name="T24" fmla="*/ 755 w 599"/>
                <a:gd name="T25" fmla="*/ 6 h 49"/>
                <a:gd name="T26" fmla="*/ 789 w 599"/>
                <a:gd name="T27" fmla="*/ 6 h 49"/>
                <a:gd name="T28" fmla="*/ 826 w 599"/>
                <a:gd name="T29" fmla="*/ 6 h 49"/>
                <a:gd name="T30" fmla="*/ 858 w 599"/>
                <a:gd name="T31" fmla="*/ 6 h 49"/>
                <a:gd name="T32" fmla="*/ 919 w 599"/>
                <a:gd name="T33" fmla="*/ 6 h 49"/>
                <a:gd name="T34" fmla="*/ 982 w 599"/>
                <a:gd name="T35" fmla="*/ 6 h 49"/>
                <a:gd name="T36" fmla="*/ 1034 w 599"/>
                <a:gd name="T37" fmla="*/ 6 h 49"/>
                <a:gd name="T38" fmla="*/ 1079 w 599"/>
                <a:gd name="T39" fmla="*/ 6 h 49"/>
                <a:gd name="T40" fmla="*/ 1120 w 599"/>
                <a:gd name="T41" fmla="*/ 6 h 49"/>
                <a:gd name="T42" fmla="*/ 1139 w 599"/>
                <a:gd name="T43" fmla="*/ 6 h 49"/>
                <a:gd name="T44" fmla="*/ 1105 w 599"/>
                <a:gd name="T45" fmla="*/ 6 h 49"/>
                <a:gd name="T46" fmla="*/ 1034 w 599"/>
                <a:gd name="T47" fmla="*/ 6 h 49"/>
                <a:gd name="T48" fmla="*/ 964 w 599"/>
                <a:gd name="T49" fmla="*/ 6 h 49"/>
                <a:gd name="T50" fmla="*/ 889 w 599"/>
                <a:gd name="T51" fmla="*/ 6 h 49"/>
                <a:gd name="T52" fmla="*/ 826 w 599"/>
                <a:gd name="T53" fmla="*/ 6 h 49"/>
                <a:gd name="T54" fmla="*/ 789 w 599"/>
                <a:gd name="T55" fmla="*/ 6 h 49"/>
                <a:gd name="T56" fmla="*/ 748 w 599"/>
                <a:gd name="T57" fmla="*/ 6 h 49"/>
                <a:gd name="T58" fmla="*/ 702 w 599"/>
                <a:gd name="T59" fmla="*/ 6 h 49"/>
                <a:gd name="T60" fmla="*/ 652 w 599"/>
                <a:gd name="T61" fmla="*/ 6 h 49"/>
                <a:gd name="T62" fmla="*/ 616 w 599"/>
                <a:gd name="T63" fmla="*/ 6 h 49"/>
                <a:gd name="T64" fmla="*/ 566 w 599"/>
                <a:gd name="T65" fmla="*/ 6 h 49"/>
                <a:gd name="T66" fmla="*/ 521 w 599"/>
                <a:gd name="T67" fmla="*/ 6 h 49"/>
                <a:gd name="T68" fmla="*/ 488 w 599"/>
                <a:gd name="T69" fmla="*/ 6 h 49"/>
                <a:gd name="T70" fmla="*/ 433 w 599"/>
                <a:gd name="T71" fmla="*/ 6 h 49"/>
                <a:gd name="T72" fmla="*/ 381 w 599"/>
                <a:gd name="T73" fmla="*/ 6 h 49"/>
                <a:gd name="T74" fmla="*/ 338 w 599"/>
                <a:gd name="T75" fmla="*/ 6 h 49"/>
                <a:gd name="T76" fmla="*/ 293 w 599"/>
                <a:gd name="T77" fmla="*/ 6 h 49"/>
                <a:gd name="T78" fmla="*/ 244 w 599"/>
                <a:gd name="T79" fmla="*/ 6 h 49"/>
                <a:gd name="T80" fmla="*/ 201 w 599"/>
                <a:gd name="T81" fmla="*/ 6 h 49"/>
                <a:gd name="T82" fmla="*/ 164 w 599"/>
                <a:gd name="T83" fmla="*/ 6 h 49"/>
                <a:gd name="T84" fmla="*/ 124 w 599"/>
                <a:gd name="T85" fmla="*/ 6 h 49"/>
                <a:gd name="T86" fmla="*/ 74 w 599"/>
                <a:gd name="T87" fmla="*/ 6 h 49"/>
                <a:gd name="T88" fmla="*/ 18 w 599"/>
                <a:gd name="T89" fmla="*/ 6 h 49"/>
                <a:gd name="T90" fmla="*/ 0 w 599"/>
                <a:gd name="T91" fmla="*/ 6 h 49"/>
                <a:gd name="T92" fmla="*/ 49 w 599"/>
                <a:gd name="T93" fmla="*/ 6 h 49"/>
                <a:gd name="T94" fmla="*/ 103 w 599"/>
                <a:gd name="T95" fmla="*/ 6 h 49"/>
                <a:gd name="T96" fmla="*/ 146 w 599"/>
                <a:gd name="T97" fmla="*/ 6 h 49"/>
                <a:gd name="T98" fmla="*/ 164 w 599"/>
                <a:gd name="T99" fmla="*/ 6 h 49"/>
                <a:gd name="T100" fmla="*/ 172 w 599"/>
                <a:gd name="T101" fmla="*/ 6 h 4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99"/>
                <a:gd name="T154" fmla="*/ 0 h 49"/>
                <a:gd name="T155" fmla="*/ 599 w 599"/>
                <a:gd name="T156" fmla="*/ 49 h 4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99" h="49">
                  <a:moveTo>
                    <a:pt x="91" y="12"/>
                  </a:moveTo>
                  <a:lnTo>
                    <a:pt x="105" y="9"/>
                  </a:lnTo>
                  <a:lnTo>
                    <a:pt x="114" y="6"/>
                  </a:lnTo>
                  <a:lnTo>
                    <a:pt x="128" y="6"/>
                  </a:lnTo>
                  <a:lnTo>
                    <a:pt x="142" y="3"/>
                  </a:lnTo>
                  <a:lnTo>
                    <a:pt x="155" y="3"/>
                  </a:lnTo>
                  <a:lnTo>
                    <a:pt x="169" y="0"/>
                  </a:lnTo>
                  <a:lnTo>
                    <a:pt x="178" y="0"/>
                  </a:lnTo>
                  <a:lnTo>
                    <a:pt x="192" y="0"/>
                  </a:lnTo>
                  <a:lnTo>
                    <a:pt x="201" y="0"/>
                  </a:lnTo>
                  <a:lnTo>
                    <a:pt x="219" y="0"/>
                  </a:lnTo>
                  <a:lnTo>
                    <a:pt x="228" y="0"/>
                  </a:lnTo>
                  <a:lnTo>
                    <a:pt x="242" y="0"/>
                  </a:lnTo>
                  <a:lnTo>
                    <a:pt x="256" y="0"/>
                  </a:lnTo>
                  <a:lnTo>
                    <a:pt x="265" y="0"/>
                  </a:lnTo>
                  <a:lnTo>
                    <a:pt x="274" y="0"/>
                  </a:lnTo>
                  <a:lnTo>
                    <a:pt x="292" y="0"/>
                  </a:lnTo>
                  <a:lnTo>
                    <a:pt x="301" y="0"/>
                  </a:lnTo>
                  <a:lnTo>
                    <a:pt x="311" y="0"/>
                  </a:lnTo>
                  <a:lnTo>
                    <a:pt x="324" y="0"/>
                  </a:lnTo>
                  <a:lnTo>
                    <a:pt x="338" y="3"/>
                  </a:lnTo>
                  <a:lnTo>
                    <a:pt x="347" y="3"/>
                  </a:lnTo>
                  <a:lnTo>
                    <a:pt x="361" y="3"/>
                  </a:lnTo>
                  <a:lnTo>
                    <a:pt x="370" y="6"/>
                  </a:lnTo>
                  <a:lnTo>
                    <a:pt x="384" y="6"/>
                  </a:lnTo>
                  <a:lnTo>
                    <a:pt x="397" y="6"/>
                  </a:lnTo>
                  <a:lnTo>
                    <a:pt x="407" y="9"/>
                  </a:lnTo>
                  <a:lnTo>
                    <a:pt x="416" y="9"/>
                  </a:lnTo>
                  <a:lnTo>
                    <a:pt x="425" y="12"/>
                  </a:lnTo>
                  <a:lnTo>
                    <a:pt x="434" y="12"/>
                  </a:lnTo>
                  <a:lnTo>
                    <a:pt x="448" y="15"/>
                  </a:lnTo>
                  <a:lnTo>
                    <a:pt x="452" y="15"/>
                  </a:lnTo>
                  <a:lnTo>
                    <a:pt x="466" y="17"/>
                  </a:lnTo>
                  <a:lnTo>
                    <a:pt x="484" y="20"/>
                  </a:lnTo>
                  <a:lnTo>
                    <a:pt x="498" y="23"/>
                  </a:lnTo>
                  <a:lnTo>
                    <a:pt x="516" y="26"/>
                  </a:lnTo>
                  <a:lnTo>
                    <a:pt x="535" y="29"/>
                  </a:lnTo>
                  <a:lnTo>
                    <a:pt x="544" y="32"/>
                  </a:lnTo>
                  <a:lnTo>
                    <a:pt x="557" y="35"/>
                  </a:lnTo>
                  <a:lnTo>
                    <a:pt x="567" y="37"/>
                  </a:lnTo>
                  <a:lnTo>
                    <a:pt x="580" y="40"/>
                  </a:lnTo>
                  <a:lnTo>
                    <a:pt x="589" y="43"/>
                  </a:lnTo>
                  <a:lnTo>
                    <a:pt x="599" y="49"/>
                  </a:lnTo>
                  <a:lnTo>
                    <a:pt x="589" y="49"/>
                  </a:lnTo>
                  <a:lnTo>
                    <a:pt x="580" y="46"/>
                  </a:lnTo>
                  <a:lnTo>
                    <a:pt x="562" y="43"/>
                  </a:lnTo>
                  <a:lnTo>
                    <a:pt x="544" y="40"/>
                  </a:lnTo>
                  <a:lnTo>
                    <a:pt x="530" y="37"/>
                  </a:lnTo>
                  <a:lnTo>
                    <a:pt x="507" y="37"/>
                  </a:lnTo>
                  <a:lnTo>
                    <a:pt x="489" y="35"/>
                  </a:lnTo>
                  <a:lnTo>
                    <a:pt x="466" y="35"/>
                  </a:lnTo>
                  <a:lnTo>
                    <a:pt x="448" y="35"/>
                  </a:lnTo>
                  <a:lnTo>
                    <a:pt x="434" y="32"/>
                  </a:lnTo>
                  <a:lnTo>
                    <a:pt x="425" y="32"/>
                  </a:lnTo>
                  <a:lnTo>
                    <a:pt x="416" y="29"/>
                  </a:lnTo>
                  <a:lnTo>
                    <a:pt x="402" y="29"/>
                  </a:lnTo>
                  <a:lnTo>
                    <a:pt x="393" y="29"/>
                  </a:lnTo>
                  <a:lnTo>
                    <a:pt x="379" y="29"/>
                  </a:lnTo>
                  <a:lnTo>
                    <a:pt x="370" y="29"/>
                  </a:lnTo>
                  <a:lnTo>
                    <a:pt x="361" y="29"/>
                  </a:lnTo>
                  <a:lnTo>
                    <a:pt x="343" y="29"/>
                  </a:lnTo>
                  <a:lnTo>
                    <a:pt x="333" y="29"/>
                  </a:lnTo>
                  <a:lnTo>
                    <a:pt x="324" y="29"/>
                  </a:lnTo>
                  <a:lnTo>
                    <a:pt x="311" y="29"/>
                  </a:lnTo>
                  <a:lnTo>
                    <a:pt x="297" y="29"/>
                  </a:lnTo>
                  <a:lnTo>
                    <a:pt x="288" y="29"/>
                  </a:lnTo>
                  <a:lnTo>
                    <a:pt x="274" y="29"/>
                  </a:lnTo>
                  <a:lnTo>
                    <a:pt x="265" y="29"/>
                  </a:lnTo>
                  <a:lnTo>
                    <a:pt x="256" y="29"/>
                  </a:lnTo>
                  <a:lnTo>
                    <a:pt x="242" y="29"/>
                  </a:lnTo>
                  <a:lnTo>
                    <a:pt x="228" y="29"/>
                  </a:lnTo>
                  <a:lnTo>
                    <a:pt x="219" y="29"/>
                  </a:lnTo>
                  <a:lnTo>
                    <a:pt x="201" y="29"/>
                  </a:lnTo>
                  <a:lnTo>
                    <a:pt x="187" y="29"/>
                  </a:lnTo>
                  <a:lnTo>
                    <a:pt x="178" y="29"/>
                  </a:lnTo>
                  <a:lnTo>
                    <a:pt x="169" y="29"/>
                  </a:lnTo>
                  <a:lnTo>
                    <a:pt x="155" y="29"/>
                  </a:lnTo>
                  <a:lnTo>
                    <a:pt x="137" y="29"/>
                  </a:lnTo>
                  <a:lnTo>
                    <a:pt x="128" y="29"/>
                  </a:lnTo>
                  <a:lnTo>
                    <a:pt x="119" y="32"/>
                  </a:lnTo>
                  <a:lnTo>
                    <a:pt x="105" y="32"/>
                  </a:lnTo>
                  <a:lnTo>
                    <a:pt x="91" y="32"/>
                  </a:lnTo>
                  <a:lnTo>
                    <a:pt x="87" y="32"/>
                  </a:lnTo>
                  <a:lnTo>
                    <a:pt x="73" y="35"/>
                  </a:lnTo>
                  <a:lnTo>
                    <a:pt x="64" y="35"/>
                  </a:lnTo>
                  <a:lnTo>
                    <a:pt x="55" y="35"/>
                  </a:lnTo>
                  <a:lnTo>
                    <a:pt x="41" y="35"/>
                  </a:lnTo>
                  <a:lnTo>
                    <a:pt x="36" y="35"/>
                  </a:lnTo>
                  <a:lnTo>
                    <a:pt x="18" y="35"/>
                  </a:lnTo>
                  <a:lnTo>
                    <a:pt x="14" y="35"/>
                  </a:lnTo>
                  <a:lnTo>
                    <a:pt x="0" y="32"/>
                  </a:lnTo>
                  <a:lnTo>
                    <a:pt x="9" y="29"/>
                  </a:lnTo>
                  <a:lnTo>
                    <a:pt x="23" y="23"/>
                  </a:lnTo>
                  <a:lnTo>
                    <a:pt x="36" y="20"/>
                  </a:lnTo>
                  <a:lnTo>
                    <a:pt x="55" y="17"/>
                  </a:lnTo>
                  <a:lnTo>
                    <a:pt x="68" y="15"/>
                  </a:lnTo>
                  <a:lnTo>
                    <a:pt x="78" y="15"/>
                  </a:lnTo>
                  <a:lnTo>
                    <a:pt x="87" y="12"/>
                  </a:lnTo>
                  <a:lnTo>
                    <a:pt x="91" y="12"/>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64" name="Freeform 175"/>
            <p:cNvSpPr>
              <a:spLocks/>
            </p:cNvSpPr>
            <p:nvPr>
              <p:custDataLst>
                <p:tags r:id="rId163"/>
              </p:custDataLst>
            </p:nvPr>
          </p:nvSpPr>
          <p:spPr bwMode="gray">
            <a:xfrm>
              <a:off x="1260" y="2190"/>
              <a:ext cx="993" cy="80"/>
            </a:xfrm>
            <a:custGeom>
              <a:avLst/>
              <a:gdLst>
                <a:gd name="T0" fmla="*/ 73 w 969"/>
                <a:gd name="T1" fmla="*/ 3 h 88"/>
                <a:gd name="T2" fmla="*/ 137 w 969"/>
                <a:gd name="T3" fmla="*/ 5 h 88"/>
                <a:gd name="T4" fmla="*/ 223 w 969"/>
                <a:gd name="T5" fmla="*/ 5 h 88"/>
                <a:gd name="T6" fmla="*/ 309 w 969"/>
                <a:gd name="T7" fmla="*/ 5 h 88"/>
                <a:gd name="T8" fmla="*/ 363 w 969"/>
                <a:gd name="T9" fmla="*/ 5 h 88"/>
                <a:gd name="T10" fmla="*/ 424 w 969"/>
                <a:gd name="T11" fmla="*/ 5 h 88"/>
                <a:gd name="T12" fmla="*/ 483 w 969"/>
                <a:gd name="T13" fmla="*/ 5 h 88"/>
                <a:gd name="T14" fmla="*/ 544 w 969"/>
                <a:gd name="T15" fmla="*/ 5 h 88"/>
                <a:gd name="T16" fmla="*/ 614 w 969"/>
                <a:gd name="T17" fmla="*/ 5 h 88"/>
                <a:gd name="T18" fmla="*/ 675 w 969"/>
                <a:gd name="T19" fmla="*/ 5 h 88"/>
                <a:gd name="T20" fmla="*/ 736 w 969"/>
                <a:gd name="T21" fmla="*/ 5 h 88"/>
                <a:gd name="T22" fmla="*/ 794 w 969"/>
                <a:gd name="T23" fmla="*/ 5 h 88"/>
                <a:gd name="T24" fmla="*/ 874 w 969"/>
                <a:gd name="T25" fmla="*/ 5 h 88"/>
                <a:gd name="T26" fmla="*/ 933 w 969"/>
                <a:gd name="T27" fmla="*/ 5 h 88"/>
                <a:gd name="T28" fmla="*/ 992 w 969"/>
                <a:gd name="T29" fmla="*/ 5 h 88"/>
                <a:gd name="T30" fmla="*/ 1063 w 969"/>
                <a:gd name="T31" fmla="*/ 5 h 88"/>
                <a:gd name="T32" fmla="*/ 1175 w 969"/>
                <a:gd name="T33" fmla="*/ 5 h 88"/>
                <a:gd name="T34" fmla="*/ 1263 w 969"/>
                <a:gd name="T35" fmla="*/ 5 h 88"/>
                <a:gd name="T36" fmla="*/ 1346 w 969"/>
                <a:gd name="T37" fmla="*/ 5 h 88"/>
                <a:gd name="T38" fmla="*/ 1433 w 969"/>
                <a:gd name="T39" fmla="*/ 5 h 88"/>
                <a:gd name="T40" fmla="*/ 1519 w 969"/>
                <a:gd name="T41" fmla="*/ 5 h 88"/>
                <a:gd name="T42" fmla="*/ 1598 w 969"/>
                <a:gd name="T43" fmla="*/ 5 h 88"/>
                <a:gd name="T44" fmla="*/ 1657 w 969"/>
                <a:gd name="T45" fmla="*/ 5 h 88"/>
                <a:gd name="T46" fmla="*/ 1745 w 969"/>
                <a:gd name="T47" fmla="*/ 5 h 88"/>
                <a:gd name="T48" fmla="*/ 1808 w 969"/>
                <a:gd name="T49" fmla="*/ 5 h 88"/>
                <a:gd name="T50" fmla="*/ 1828 w 969"/>
                <a:gd name="T51" fmla="*/ 7 h 88"/>
                <a:gd name="T52" fmla="*/ 1772 w 969"/>
                <a:gd name="T53" fmla="*/ 7 h 88"/>
                <a:gd name="T54" fmla="*/ 1699 w 969"/>
                <a:gd name="T55" fmla="*/ 7 h 88"/>
                <a:gd name="T56" fmla="*/ 1631 w 969"/>
                <a:gd name="T57" fmla="*/ 7 h 88"/>
                <a:gd name="T58" fmla="*/ 1554 w 969"/>
                <a:gd name="T59" fmla="*/ 7 h 88"/>
                <a:gd name="T60" fmla="*/ 1448 w 969"/>
                <a:gd name="T61" fmla="*/ 6 h 88"/>
                <a:gd name="T62" fmla="*/ 1363 w 969"/>
                <a:gd name="T63" fmla="*/ 6 h 88"/>
                <a:gd name="T64" fmla="*/ 1268 w 969"/>
                <a:gd name="T65" fmla="*/ 6 h 88"/>
                <a:gd name="T66" fmla="*/ 1184 w 969"/>
                <a:gd name="T67" fmla="*/ 6 h 88"/>
                <a:gd name="T68" fmla="*/ 1089 w 969"/>
                <a:gd name="T69" fmla="*/ 5 h 88"/>
                <a:gd name="T70" fmla="*/ 1012 w 969"/>
                <a:gd name="T71" fmla="*/ 5 h 88"/>
                <a:gd name="T72" fmla="*/ 918 w 969"/>
                <a:gd name="T73" fmla="*/ 5 h 88"/>
                <a:gd name="T74" fmla="*/ 862 w 969"/>
                <a:gd name="T75" fmla="*/ 5 h 88"/>
                <a:gd name="T76" fmla="*/ 794 w 969"/>
                <a:gd name="T77" fmla="*/ 5 h 88"/>
                <a:gd name="T78" fmla="*/ 736 w 969"/>
                <a:gd name="T79" fmla="*/ 5 h 88"/>
                <a:gd name="T80" fmla="*/ 666 w 969"/>
                <a:gd name="T81" fmla="*/ 5 h 88"/>
                <a:gd name="T82" fmla="*/ 605 w 969"/>
                <a:gd name="T83" fmla="*/ 5 h 88"/>
                <a:gd name="T84" fmla="*/ 526 w 969"/>
                <a:gd name="T85" fmla="*/ 5 h 88"/>
                <a:gd name="T86" fmla="*/ 465 w 969"/>
                <a:gd name="T87" fmla="*/ 5 h 88"/>
                <a:gd name="T88" fmla="*/ 397 w 969"/>
                <a:gd name="T89" fmla="*/ 5 h 88"/>
                <a:gd name="T90" fmla="*/ 339 w 969"/>
                <a:gd name="T91" fmla="*/ 5 h 88"/>
                <a:gd name="T92" fmla="*/ 279 w 969"/>
                <a:gd name="T93" fmla="*/ 5 h 88"/>
                <a:gd name="T94" fmla="*/ 180 w 969"/>
                <a:gd name="T95" fmla="*/ 5 h 88"/>
                <a:gd name="T96" fmla="*/ 93 w 969"/>
                <a:gd name="T97" fmla="*/ 5 h 88"/>
                <a:gd name="T98" fmla="*/ 19 w 969"/>
                <a:gd name="T99" fmla="*/ 5 h 88"/>
                <a:gd name="T100" fmla="*/ 58 w 969"/>
                <a:gd name="T101" fmla="*/ 0 h 8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69"/>
                <a:gd name="T154" fmla="*/ 0 h 88"/>
                <a:gd name="T155" fmla="*/ 969 w 969"/>
                <a:gd name="T156" fmla="*/ 88 h 8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69" h="88">
                  <a:moveTo>
                    <a:pt x="32" y="0"/>
                  </a:moveTo>
                  <a:lnTo>
                    <a:pt x="37" y="0"/>
                  </a:lnTo>
                  <a:lnTo>
                    <a:pt x="41" y="3"/>
                  </a:lnTo>
                  <a:lnTo>
                    <a:pt x="51" y="3"/>
                  </a:lnTo>
                  <a:lnTo>
                    <a:pt x="60" y="6"/>
                  </a:lnTo>
                  <a:lnTo>
                    <a:pt x="73" y="6"/>
                  </a:lnTo>
                  <a:lnTo>
                    <a:pt x="87" y="9"/>
                  </a:lnTo>
                  <a:lnTo>
                    <a:pt x="101" y="9"/>
                  </a:lnTo>
                  <a:lnTo>
                    <a:pt x="119" y="12"/>
                  </a:lnTo>
                  <a:lnTo>
                    <a:pt x="133" y="12"/>
                  </a:lnTo>
                  <a:lnTo>
                    <a:pt x="151" y="14"/>
                  </a:lnTo>
                  <a:lnTo>
                    <a:pt x="165" y="14"/>
                  </a:lnTo>
                  <a:lnTo>
                    <a:pt x="169" y="17"/>
                  </a:lnTo>
                  <a:lnTo>
                    <a:pt x="183" y="17"/>
                  </a:lnTo>
                  <a:lnTo>
                    <a:pt x="192" y="20"/>
                  </a:lnTo>
                  <a:lnTo>
                    <a:pt x="201" y="20"/>
                  </a:lnTo>
                  <a:lnTo>
                    <a:pt x="211" y="20"/>
                  </a:lnTo>
                  <a:lnTo>
                    <a:pt x="224" y="20"/>
                  </a:lnTo>
                  <a:lnTo>
                    <a:pt x="233" y="23"/>
                  </a:lnTo>
                  <a:lnTo>
                    <a:pt x="243" y="23"/>
                  </a:lnTo>
                  <a:lnTo>
                    <a:pt x="256" y="23"/>
                  </a:lnTo>
                  <a:lnTo>
                    <a:pt x="270" y="23"/>
                  </a:lnTo>
                  <a:lnTo>
                    <a:pt x="279" y="26"/>
                  </a:lnTo>
                  <a:lnTo>
                    <a:pt x="288" y="26"/>
                  </a:lnTo>
                  <a:lnTo>
                    <a:pt x="302" y="29"/>
                  </a:lnTo>
                  <a:lnTo>
                    <a:pt x="316" y="29"/>
                  </a:lnTo>
                  <a:lnTo>
                    <a:pt x="325" y="32"/>
                  </a:lnTo>
                  <a:lnTo>
                    <a:pt x="334" y="32"/>
                  </a:lnTo>
                  <a:lnTo>
                    <a:pt x="348" y="32"/>
                  </a:lnTo>
                  <a:lnTo>
                    <a:pt x="357" y="34"/>
                  </a:lnTo>
                  <a:lnTo>
                    <a:pt x="371" y="34"/>
                  </a:lnTo>
                  <a:lnTo>
                    <a:pt x="380" y="34"/>
                  </a:lnTo>
                  <a:lnTo>
                    <a:pt x="389" y="34"/>
                  </a:lnTo>
                  <a:lnTo>
                    <a:pt x="403" y="34"/>
                  </a:lnTo>
                  <a:lnTo>
                    <a:pt x="416" y="37"/>
                  </a:lnTo>
                  <a:lnTo>
                    <a:pt x="421" y="37"/>
                  </a:lnTo>
                  <a:lnTo>
                    <a:pt x="439" y="40"/>
                  </a:lnTo>
                  <a:lnTo>
                    <a:pt x="448" y="40"/>
                  </a:lnTo>
                  <a:lnTo>
                    <a:pt x="462" y="40"/>
                  </a:lnTo>
                  <a:lnTo>
                    <a:pt x="471" y="40"/>
                  </a:lnTo>
                  <a:lnTo>
                    <a:pt x="480" y="43"/>
                  </a:lnTo>
                  <a:lnTo>
                    <a:pt x="494" y="43"/>
                  </a:lnTo>
                  <a:lnTo>
                    <a:pt x="503" y="43"/>
                  </a:lnTo>
                  <a:lnTo>
                    <a:pt x="512" y="43"/>
                  </a:lnTo>
                  <a:lnTo>
                    <a:pt x="526" y="46"/>
                  </a:lnTo>
                  <a:lnTo>
                    <a:pt x="535" y="46"/>
                  </a:lnTo>
                  <a:lnTo>
                    <a:pt x="544" y="46"/>
                  </a:lnTo>
                  <a:lnTo>
                    <a:pt x="562" y="46"/>
                  </a:lnTo>
                  <a:lnTo>
                    <a:pt x="585" y="46"/>
                  </a:lnTo>
                  <a:lnTo>
                    <a:pt x="599" y="49"/>
                  </a:lnTo>
                  <a:lnTo>
                    <a:pt x="622" y="51"/>
                  </a:lnTo>
                  <a:lnTo>
                    <a:pt x="636" y="51"/>
                  </a:lnTo>
                  <a:lnTo>
                    <a:pt x="654" y="51"/>
                  </a:lnTo>
                  <a:lnTo>
                    <a:pt x="668" y="51"/>
                  </a:lnTo>
                  <a:lnTo>
                    <a:pt x="681" y="51"/>
                  </a:lnTo>
                  <a:lnTo>
                    <a:pt x="700" y="51"/>
                  </a:lnTo>
                  <a:lnTo>
                    <a:pt x="713" y="51"/>
                  </a:lnTo>
                  <a:lnTo>
                    <a:pt x="732" y="51"/>
                  </a:lnTo>
                  <a:lnTo>
                    <a:pt x="750" y="51"/>
                  </a:lnTo>
                  <a:lnTo>
                    <a:pt x="759" y="51"/>
                  </a:lnTo>
                  <a:lnTo>
                    <a:pt x="777" y="51"/>
                  </a:lnTo>
                  <a:lnTo>
                    <a:pt x="786" y="54"/>
                  </a:lnTo>
                  <a:lnTo>
                    <a:pt x="805" y="54"/>
                  </a:lnTo>
                  <a:lnTo>
                    <a:pt x="818" y="54"/>
                  </a:lnTo>
                  <a:lnTo>
                    <a:pt x="832" y="54"/>
                  </a:lnTo>
                  <a:lnTo>
                    <a:pt x="846" y="54"/>
                  </a:lnTo>
                  <a:lnTo>
                    <a:pt x="860" y="57"/>
                  </a:lnTo>
                  <a:lnTo>
                    <a:pt x="869" y="57"/>
                  </a:lnTo>
                  <a:lnTo>
                    <a:pt x="878" y="57"/>
                  </a:lnTo>
                  <a:lnTo>
                    <a:pt x="892" y="57"/>
                  </a:lnTo>
                  <a:lnTo>
                    <a:pt x="901" y="60"/>
                  </a:lnTo>
                  <a:lnTo>
                    <a:pt x="924" y="60"/>
                  </a:lnTo>
                  <a:lnTo>
                    <a:pt x="937" y="60"/>
                  </a:lnTo>
                  <a:lnTo>
                    <a:pt x="951" y="60"/>
                  </a:lnTo>
                  <a:lnTo>
                    <a:pt x="956" y="63"/>
                  </a:lnTo>
                  <a:lnTo>
                    <a:pt x="965" y="63"/>
                  </a:lnTo>
                  <a:lnTo>
                    <a:pt x="969" y="63"/>
                  </a:lnTo>
                  <a:lnTo>
                    <a:pt x="969" y="88"/>
                  </a:lnTo>
                  <a:lnTo>
                    <a:pt x="965" y="86"/>
                  </a:lnTo>
                  <a:lnTo>
                    <a:pt x="951" y="86"/>
                  </a:lnTo>
                  <a:lnTo>
                    <a:pt x="937" y="86"/>
                  </a:lnTo>
                  <a:lnTo>
                    <a:pt x="924" y="86"/>
                  </a:lnTo>
                  <a:lnTo>
                    <a:pt x="914" y="83"/>
                  </a:lnTo>
                  <a:lnTo>
                    <a:pt x="901" y="83"/>
                  </a:lnTo>
                  <a:lnTo>
                    <a:pt x="887" y="83"/>
                  </a:lnTo>
                  <a:lnTo>
                    <a:pt x="878" y="83"/>
                  </a:lnTo>
                  <a:lnTo>
                    <a:pt x="864" y="83"/>
                  </a:lnTo>
                  <a:lnTo>
                    <a:pt x="846" y="83"/>
                  </a:lnTo>
                  <a:lnTo>
                    <a:pt x="837" y="83"/>
                  </a:lnTo>
                  <a:lnTo>
                    <a:pt x="823" y="83"/>
                  </a:lnTo>
                  <a:lnTo>
                    <a:pt x="805" y="83"/>
                  </a:lnTo>
                  <a:lnTo>
                    <a:pt x="786" y="83"/>
                  </a:lnTo>
                  <a:lnTo>
                    <a:pt x="768" y="80"/>
                  </a:lnTo>
                  <a:lnTo>
                    <a:pt x="754" y="80"/>
                  </a:lnTo>
                  <a:lnTo>
                    <a:pt x="736" y="80"/>
                  </a:lnTo>
                  <a:lnTo>
                    <a:pt x="722" y="80"/>
                  </a:lnTo>
                  <a:lnTo>
                    <a:pt x="704" y="80"/>
                  </a:lnTo>
                  <a:lnTo>
                    <a:pt x="690" y="80"/>
                  </a:lnTo>
                  <a:lnTo>
                    <a:pt x="672" y="77"/>
                  </a:lnTo>
                  <a:lnTo>
                    <a:pt x="658" y="77"/>
                  </a:lnTo>
                  <a:lnTo>
                    <a:pt x="640" y="77"/>
                  </a:lnTo>
                  <a:lnTo>
                    <a:pt x="626" y="77"/>
                  </a:lnTo>
                  <a:lnTo>
                    <a:pt x="608" y="74"/>
                  </a:lnTo>
                  <a:lnTo>
                    <a:pt x="590" y="74"/>
                  </a:lnTo>
                  <a:lnTo>
                    <a:pt x="576" y="74"/>
                  </a:lnTo>
                  <a:lnTo>
                    <a:pt x="567" y="74"/>
                  </a:lnTo>
                  <a:lnTo>
                    <a:pt x="549" y="71"/>
                  </a:lnTo>
                  <a:lnTo>
                    <a:pt x="535" y="71"/>
                  </a:lnTo>
                  <a:lnTo>
                    <a:pt x="517" y="69"/>
                  </a:lnTo>
                  <a:lnTo>
                    <a:pt x="499" y="69"/>
                  </a:lnTo>
                  <a:lnTo>
                    <a:pt x="485" y="69"/>
                  </a:lnTo>
                  <a:lnTo>
                    <a:pt x="476" y="69"/>
                  </a:lnTo>
                  <a:lnTo>
                    <a:pt x="467" y="66"/>
                  </a:lnTo>
                  <a:lnTo>
                    <a:pt x="457" y="66"/>
                  </a:lnTo>
                  <a:lnTo>
                    <a:pt x="444" y="66"/>
                  </a:lnTo>
                  <a:lnTo>
                    <a:pt x="435" y="63"/>
                  </a:lnTo>
                  <a:lnTo>
                    <a:pt x="421" y="63"/>
                  </a:lnTo>
                  <a:lnTo>
                    <a:pt x="412" y="63"/>
                  </a:lnTo>
                  <a:lnTo>
                    <a:pt x="403" y="60"/>
                  </a:lnTo>
                  <a:lnTo>
                    <a:pt x="389" y="60"/>
                  </a:lnTo>
                  <a:lnTo>
                    <a:pt x="380" y="57"/>
                  </a:lnTo>
                  <a:lnTo>
                    <a:pt x="366" y="57"/>
                  </a:lnTo>
                  <a:lnTo>
                    <a:pt x="352" y="57"/>
                  </a:lnTo>
                  <a:lnTo>
                    <a:pt x="343" y="54"/>
                  </a:lnTo>
                  <a:lnTo>
                    <a:pt x="334" y="54"/>
                  </a:lnTo>
                  <a:lnTo>
                    <a:pt x="320" y="54"/>
                  </a:lnTo>
                  <a:lnTo>
                    <a:pt x="307" y="51"/>
                  </a:lnTo>
                  <a:lnTo>
                    <a:pt x="297" y="51"/>
                  </a:lnTo>
                  <a:lnTo>
                    <a:pt x="279" y="51"/>
                  </a:lnTo>
                  <a:lnTo>
                    <a:pt x="270" y="51"/>
                  </a:lnTo>
                  <a:lnTo>
                    <a:pt x="261" y="49"/>
                  </a:lnTo>
                  <a:lnTo>
                    <a:pt x="247" y="46"/>
                  </a:lnTo>
                  <a:lnTo>
                    <a:pt x="238" y="46"/>
                  </a:lnTo>
                  <a:lnTo>
                    <a:pt x="224" y="46"/>
                  </a:lnTo>
                  <a:lnTo>
                    <a:pt x="211" y="46"/>
                  </a:lnTo>
                  <a:lnTo>
                    <a:pt x="201" y="43"/>
                  </a:lnTo>
                  <a:lnTo>
                    <a:pt x="188" y="43"/>
                  </a:lnTo>
                  <a:lnTo>
                    <a:pt x="179" y="43"/>
                  </a:lnTo>
                  <a:lnTo>
                    <a:pt x="165" y="40"/>
                  </a:lnTo>
                  <a:lnTo>
                    <a:pt x="156" y="40"/>
                  </a:lnTo>
                  <a:lnTo>
                    <a:pt x="147" y="37"/>
                  </a:lnTo>
                  <a:lnTo>
                    <a:pt x="137" y="37"/>
                  </a:lnTo>
                  <a:lnTo>
                    <a:pt x="115" y="34"/>
                  </a:lnTo>
                  <a:lnTo>
                    <a:pt x="96" y="34"/>
                  </a:lnTo>
                  <a:lnTo>
                    <a:pt x="78" y="32"/>
                  </a:lnTo>
                  <a:lnTo>
                    <a:pt x="69" y="32"/>
                  </a:lnTo>
                  <a:lnTo>
                    <a:pt x="51" y="29"/>
                  </a:lnTo>
                  <a:lnTo>
                    <a:pt x="41" y="26"/>
                  </a:lnTo>
                  <a:lnTo>
                    <a:pt x="23" y="26"/>
                  </a:lnTo>
                  <a:lnTo>
                    <a:pt x="19" y="26"/>
                  </a:lnTo>
                  <a:lnTo>
                    <a:pt x="5" y="23"/>
                  </a:lnTo>
                  <a:lnTo>
                    <a:pt x="0" y="23"/>
                  </a:lnTo>
                  <a:lnTo>
                    <a:pt x="32"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65" name="Freeform 176"/>
            <p:cNvSpPr>
              <a:spLocks/>
            </p:cNvSpPr>
            <p:nvPr>
              <p:custDataLst>
                <p:tags r:id="rId164"/>
              </p:custDataLst>
            </p:nvPr>
          </p:nvSpPr>
          <p:spPr bwMode="gray">
            <a:xfrm>
              <a:off x="3720" y="2221"/>
              <a:ext cx="623" cy="63"/>
            </a:xfrm>
            <a:custGeom>
              <a:avLst/>
              <a:gdLst>
                <a:gd name="T0" fmla="*/ 13 w 608"/>
                <a:gd name="T1" fmla="*/ 5 h 69"/>
                <a:gd name="T2" fmla="*/ 73 w 608"/>
                <a:gd name="T3" fmla="*/ 5 h 69"/>
                <a:gd name="T4" fmla="*/ 129 w 608"/>
                <a:gd name="T5" fmla="*/ 5 h 69"/>
                <a:gd name="T6" fmla="*/ 189 w 608"/>
                <a:gd name="T7" fmla="*/ 5 h 69"/>
                <a:gd name="T8" fmla="*/ 241 w 608"/>
                <a:gd name="T9" fmla="*/ 5 h 69"/>
                <a:gd name="T10" fmla="*/ 293 w 608"/>
                <a:gd name="T11" fmla="*/ 5 h 69"/>
                <a:gd name="T12" fmla="*/ 342 w 608"/>
                <a:gd name="T13" fmla="*/ 5 h 69"/>
                <a:gd name="T14" fmla="*/ 394 w 608"/>
                <a:gd name="T15" fmla="*/ 5 h 69"/>
                <a:gd name="T16" fmla="*/ 445 w 608"/>
                <a:gd name="T17" fmla="*/ 5 h 69"/>
                <a:gd name="T18" fmla="*/ 489 w 608"/>
                <a:gd name="T19" fmla="*/ 5 h 69"/>
                <a:gd name="T20" fmla="*/ 550 w 608"/>
                <a:gd name="T21" fmla="*/ 5 h 69"/>
                <a:gd name="T22" fmla="*/ 593 w 608"/>
                <a:gd name="T23" fmla="*/ 5 h 69"/>
                <a:gd name="T24" fmla="*/ 637 w 608"/>
                <a:gd name="T25" fmla="*/ 5 h 69"/>
                <a:gd name="T26" fmla="*/ 681 w 608"/>
                <a:gd name="T27" fmla="*/ 5 h 69"/>
                <a:gd name="T28" fmla="*/ 733 w 608"/>
                <a:gd name="T29" fmla="*/ 5 h 69"/>
                <a:gd name="T30" fmla="*/ 775 w 608"/>
                <a:gd name="T31" fmla="*/ 5 h 69"/>
                <a:gd name="T32" fmla="*/ 835 w 608"/>
                <a:gd name="T33" fmla="*/ 5 h 69"/>
                <a:gd name="T34" fmla="*/ 903 w 608"/>
                <a:gd name="T35" fmla="*/ 5 h 69"/>
                <a:gd name="T36" fmla="*/ 971 w 608"/>
                <a:gd name="T37" fmla="*/ 5 h 69"/>
                <a:gd name="T38" fmla="*/ 1024 w 608"/>
                <a:gd name="T39" fmla="*/ 5 h 69"/>
                <a:gd name="T40" fmla="*/ 1067 w 608"/>
                <a:gd name="T41" fmla="*/ 3 h 69"/>
                <a:gd name="T42" fmla="*/ 1102 w 608"/>
                <a:gd name="T43" fmla="*/ 0 h 69"/>
                <a:gd name="T44" fmla="*/ 1136 w 608"/>
                <a:gd name="T45" fmla="*/ 0 h 69"/>
                <a:gd name="T46" fmla="*/ 1147 w 608"/>
                <a:gd name="T47" fmla="*/ 5 h 69"/>
                <a:gd name="T48" fmla="*/ 1125 w 608"/>
                <a:gd name="T49" fmla="*/ 5 h 69"/>
                <a:gd name="T50" fmla="*/ 1093 w 608"/>
                <a:gd name="T51" fmla="*/ 5 h 69"/>
                <a:gd name="T52" fmla="*/ 1062 w 608"/>
                <a:gd name="T53" fmla="*/ 5 h 69"/>
                <a:gd name="T54" fmla="*/ 1006 w 608"/>
                <a:gd name="T55" fmla="*/ 5 h 69"/>
                <a:gd name="T56" fmla="*/ 967 w 608"/>
                <a:gd name="T57" fmla="*/ 5 h 69"/>
                <a:gd name="T58" fmla="*/ 903 w 608"/>
                <a:gd name="T59" fmla="*/ 5 h 69"/>
                <a:gd name="T60" fmla="*/ 843 w 608"/>
                <a:gd name="T61" fmla="*/ 5 h 69"/>
                <a:gd name="T62" fmla="*/ 784 w 608"/>
                <a:gd name="T63" fmla="*/ 5 h 69"/>
                <a:gd name="T64" fmla="*/ 722 w 608"/>
                <a:gd name="T65" fmla="*/ 5 h 69"/>
                <a:gd name="T66" fmla="*/ 665 w 608"/>
                <a:gd name="T67" fmla="*/ 5 h 69"/>
                <a:gd name="T68" fmla="*/ 603 w 608"/>
                <a:gd name="T69" fmla="*/ 5 h 69"/>
                <a:gd name="T70" fmla="*/ 550 w 608"/>
                <a:gd name="T71" fmla="*/ 5 h 69"/>
                <a:gd name="T72" fmla="*/ 489 w 608"/>
                <a:gd name="T73" fmla="*/ 5 h 69"/>
                <a:gd name="T74" fmla="*/ 455 w 608"/>
                <a:gd name="T75" fmla="*/ 5 h 69"/>
                <a:gd name="T76" fmla="*/ 423 w 608"/>
                <a:gd name="T77" fmla="*/ 5 h 69"/>
                <a:gd name="T78" fmla="*/ 352 w 608"/>
                <a:gd name="T79" fmla="*/ 5 h 69"/>
                <a:gd name="T80" fmla="*/ 275 w 608"/>
                <a:gd name="T81" fmla="*/ 5 h 69"/>
                <a:gd name="T82" fmla="*/ 206 w 608"/>
                <a:gd name="T83" fmla="*/ 5 h 69"/>
                <a:gd name="T84" fmla="*/ 142 w 608"/>
                <a:gd name="T85" fmla="*/ 6 h 69"/>
                <a:gd name="T86" fmla="*/ 81 w 608"/>
                <a:gd name="T87" fmla="*/ 6 h 69"/>
                <a:gd name="T88" fmla="*/ 49 w 608"/>
                <a:gd name="T89" fmla="*/ 6 h 69"/>
                <a:gd name="T90" fmla="*/ 0 w 608"/>
                <a:gd name="T91" fmla="*/ 6 h 69"/>
                <a:gd name="T92" fmla="*/ 0 w 608"/>
                <a:gd name="T93" fmla="*/ 5 h 6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08"/>
                <a:gd name="T142" fmla="*/ 0 h 69"/>
                <a:gd name="T143" fmla="*/ 608 w 608"/>
                <a:gd name="T144" fmla="*/ 69 h 6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08" h="69">
                  <a:moveTo>
                    <a:pt x="0" y="40"/>
                  </a:moveTo>
                  <a:lnTo>
                    <a:pt x="13" y="37"/>
                  </a:lnTo>
                  <a:lnTo>
                    <a:pt x="27" y="37"/>
                  </a:lnTo>
                  <a:lnTo>
                    <a:pt x="41" y="37"/>
                  </a:lnTo>
                  <a:lnTo>
                    <a:pt x="59" y="37"/>
                  </a:lnTo>
                  <a:lnTo>
                    <a:pt x="68" y="37"/>
                  </a:lnTo>
                  <a:lnTo>
                    <a:pt x="87" y="37"/>
                  </a:lnTo>
                  <a:lnTo>
                    <a:pt x="100" y="37"/>
                  </a:lnTo>
                  <a:lnTo>
                    <a:pt x="119" y="37"/>
                  </a:lnTo>
                  <a:lnTo>
                    <a:pt x="128" y="35"/>
                  </a:lnTo>
                  <a:lnTo>
                    <a:pt x="141" y="35"/>
                  </a:lnTo>
                  <a:lnTo>
                    <a:pt x="155" y="35"/>
                  </a:lnTo>
                  <a:lnTo>
                    <a:pt x="169" y="35"/>
                  </a:lnTo>
                  <a:lnTo>
                    <a:pt x="182" y="35"/>
                  </a:lnTo>
                  <a:lnTo>
                    <a:pt x="201" y="35"/>
                  </a:lnTo>
                  <a:lnTo>
                    <a:pt x="210" y="35"/>
                  </a:lnTo>
                  <a:lnTo>
                    <a:pt x="224" y="35"/>
                  </a:lnTo>
                  <a:lnTo>
                    <a:pt x="237" y="32"/>
                  </a:lnTo>
                  <a:lnTo>
                    <a:pt x="251" y="32"/>
                  </a:lnTo>
                  <a:lnTo>
                    <a:pt x="260" y="29"/>
                  </a:lnTo>
                  <a:lnTo>
                    <a:pt x="278" y="29"/>
                  </a:lnTo>
                  <a:lnTo>
                    <a:pt x="292" y="29"/>
                  </a:lnTo>
                  <a:lnTo>
                    <a:pt x="301" y="26"/>
                  </a:lnTo>
                  <a:lnTo>
                    <a:pt x="315" y="26"/>
                  </a:lnTo>
                  <a:lnTo>
                    <a:pt x="329" y="26"/>
                  </a:lnTo>
                  <a:lnTo>
                    <a:pt x="338" y="26"/>
                  </a:lnTo>
                  <a:lnTo>
                    <a:pt x="352" y="23"/>
                  </a:lnTo>
                  <a:lnTo>
                    <a:pt x="361" y="23"/>
                  </a:lnTo>
                  <a:lnTo>
                    <a:pt x="374" y="23"/>
                  </a:lnTo>
                  <a:lnTo>
                    <a:pt x="388" y="20"/>
                  </a:lnTo>
                  <a:lnTo>
                    <a:pt x="397" y="20"/>
                  </a:lnTo>
                  <a:lnTo>
                    <a:pt x="411" y="20"/>
                  </a:lnTo>
                  <a:lnTo>
                    <a:pt x="425" y="20"/>
                  </a:lnTo>
                  <a:lnTo>
                    <a:pt x="443" y="17"/>
                  </a:lnTo>
                  <a:lnTo>
                    <a:pt x="461" y="17"/>
                  </a:lnTo>
                  <a:lnTo>
                    <a:pt x="480" y="12"/>
                  </a:lnTo>
                  <a:lnTo>
                    <a:pt x="498" y="12"/>
                  </a:lnTo>
                  <a:lnTo>
                    <a:pt x="516" y="12"/>
                  </a:lnTo>
                  <a:lnTo>
                    <a:pt x="530" y="9"/>
                  </a:lnTo>
                  <a:lnTo>
                    <a:pt x="544" y="6"/>
                  </a:lnTo>
                  <a:lnTo>
                    <a:pt x="557" y="6"/>
                  </a:lnTo>
                  <a:lnTo>
                    <a:pt x="566" y="3"/>
                  </a:lnTo>
                  <a:lnTo>
                    <a:pt x="580" y="0"/>
                  </a:lnTo>
                  <a:lnTo>
                    <a:pt x="585" y="0"/>
                  </a:lnTo>
                  <a:lnTo>
                    <a:pt x="594" y="0"/>
                  </a:lnTo>
                  <a:lnTo>
                    <a:pt x="603" y="0"/>
                  </a:lnTo>
                  <a:lnTo>
                    <a:pt x="608" y="0"/>
                  </a:lnTo>
                  <a:lnTo>
                    <a:pt x="608" y="29"/>
                  </a:lnTo>
                  <a:lnTo>
                    <a:pt x="603" y="29"/>
                  </a:lnTo>
                  <a:lnTo>
                    <a:pt x="598" y="29"/>
                  </a:lnTo>
                  <a:lnTo>
                    <a:pt x="585" y="29"/>
                  </a:lnTo>
                  <a:lnTo>
                    <a:pt x="580" y="32"/>
                  </a:lnTo>
                  <a:lnTo>
                    <a:pt x="571" y="32"/>
                  </a:lnTo>
                  <a:lnTo>
                    <a:pt x="562" y="35"/>
                  </a:lnTo>
                  <a:lnTo>
                    <a:pt x="548" y="35"/>
                  </a:lnTo>
                  <a:lnTo>
                    <a:pt x="534" y="35"/>
                  </a:lnTo>
                  <a:lnTo>
                    <a:pt x="525" y="35"/>
                  </a:lnTo>
                  <a:lnTo>
                    <a:pt x="512" y="37"/>
                  </a:lnTo>
                  <a:lnTo>
                    <a:pt x="498" y="37"/>
                  </a:lnTo>
                  <a:lnTo>
                    <a:pt x="480" y="37"/>
                  </a:lnTo>
                  <a:lnTo>
                    <a:pt x="466" y="40"/>
                  </a:lnTo>
                  <a:lnTo>
                    <a:pt x="448" y="40"/>
                  </a:lnTo>
                  <a:lnTo>
                    <a:pt x="434" y="40"/>
                  </a:lnTo>
                  <a:lnTo>
                    <a:pt x="416" y="43"/>
                  </a:lnTo>
                  <a:lnTo>
                    <a:pt x="402" y="43"/>
                  </a:lnTo>
                  <a:lnTo>
                    <a:pt x="384" y="46"/>
                  </a:lnTo>
                  <a:lnTo>
                    <a:pt x="370" y="49"/>
                  </a:lnTo>
                  <a:lnTo>
                    <a:pt x="352" y="49"/>
                  </a:lnTo>
                  <a:lnTo>
                    <a:pt x="333" y="49"/>
                  </a:lnTo>
                  <a:lnTo>
                    <a:pt x="320" y="54"/>
                  </a:lnTo>
                  <a:lnTo>
                    <a:pt x="301" y="54"/>
                  </a:lnTo>
                  <a:lnTo>
                    <a:pt x="292" y="54"/>
                  </a:lnTo>
                  <a:lnTo>
                    <a:pt x="278" y="54"/>
                  </a:lnTo>
                  <a:lnTo>
                    <a:pt x="260" y="54"/>
                  </a:lnTo>
                  <a:lnTo>
                    <a:pt x="251" y="57"/>
                  </a:lnTo>
                  <a:lnTo>
                    <a:pt x="242" y="57"/>
                  </a:lnTo>
                  <a:lnTo>
                    <a:pt x="228" y="60"/>
                  </a:lnTo>
                  <a:lnTo>
                    <a:pt x="224" y="60"/>
                  </a:lnTo>
                  <a:lnTo>
                    <a:pt x="201" y="60"/>
                  </a:lnTo>
                  <a:lnTo>
                    <a:pt x="187" y="63"/>
                  </a:lnTo>
                  <a:lnTo>
                    <a:pt x="164" y="63"/>
                  </a:lnTo>
                  <a:lnTo>
                    <a:pt x="146" y="63"/>
                  </a:lnTo>
                  <a:lnTo>
                    <a:pt x="128" y="63"/>
                  </a:lnTo>
                  <a:lnTo>
                    <a:pt x="109" y="63"/>
                  </a:lnTo>
                  <a:lnTo>
                    <a:pt x="91" y="66"/>
                  </a:lnTo>
                  <a:lnTo>
                    <a:pt x="77" y="69"/>
                  </a:lnTo>
                  <a:lnTo>
                    <a:pt x="59" y="69"/>
                  </a:lnTo>
                  <a:lnTo>
                    <a:pt x="45" y="69"/>
                  </a:lnTo>
                  <a:lnTo>
                    <a:pt x="32" y="69"/>
                  </a:lnTo>
                  <a:lnTo>
                    <a:pt x="23" y="69"/>
                  </a:lnTo>
                  <a:lnTo>
                    <a:pt x="0" y="69"/>
                  </a:lnTo>
                  <a:lnTo>
                    <a:pt x="0" y="4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66" name="Freeform 177"/>
            <p:cNvSpPr>
              <a:spLocks/>
            </p:cNvSpPr>
            <p:nvPr>
              <p:custDataLst>
                <p:tags r:id="rId165"/>
              </p:custDataLst>
            </p:nvPr>
          </p:nvSpPr>
          <p:spPr bwMode="gray">
            <a:xfrm>
              <a:off x="2328" y="1914"/>
              <a:ext cx="193" cy="794"/>
            </a:xfrm>
            <a:custGeom>
              <a:avLst/>
              <a:gdLst>
                <a:gd name="T0" fmla="*/ 0 w 188"/>
                <a:gd name="T1" fmla="*/ 82 h 869"/>
                <a:gd name="T2" fmla="*/ 45 w 188"/>
                <a:gd name="T3" fmla="*/ 84 h 869"/>
                <a:gd name="T4" fmla="*/ 69 w 188"/>
                <a:gd name="T5" fmla="*/ 84 h 869"/>
                <a:gd name="T6" fmla="*/ 127 w 188"/>
                <a:gd name="T7" fmla="*/ 84 h 869"/>
                <a:gd name="T8" fmla="*/ 162 w 188"/>
                <a:gd name="T9" fmla="*/ 84 h 869"/>
                <a:gd name="T10" fmla="*/ 207 w 188"/>
                <a:gd name="T11" fmla="*/ 84 h 869"/>
                <a:gd name="T12" fmla="*/ 253 w 188"/>
                <a:gd name="T13" fmla="*/ 82 h 869"/>
                <a:gd name="T14" fmla="*/ 253 w 188"/>
                <a:gd name="T15" fmla="*/ 81 h 869"/>
                <a:gd name="T16" fmla="*/ 253 w 188"/>
                <a:gd name="T17" fmla="*/ 80 h 869"/>
                <a:gd name="T18" fmla="*/ 264 w 188"/>
                <a:gd name="T19" fmla="*/ 78 h 869"/>
                <a:gd name="T20" fmla="*/ 264 w 188"/>
                <a:gd name="T21" fmla="*/ 77 h 869"/>
                <a:gd name="T22" fmla="*/ 264 w 188"/>
                <a:gd name="T23" fmla="*/ 75 h 869"/>
                <a:gd name="T24" fmla="*/ 271 w 188"/>
                <a:gd name="T25" fmla="*/ 72 h 869"/>
                <a:gd name="T26" fmla="*/ 271 w 188"/>
                <a:gd name="T27" fmla="*/ 70 h 869"/>
                <a:gd name="T28" fmla="*/ 271 w 188"/>
                <a:gd name="T29" fmla="*/ 68 h 869"/>
                <a:gd name="T30" fmla="*/ 281 w 188"/>
                <a:gd name="T31" fmla="*/ 64 h 869"/>
                <a:gd name="T32" fmla="*/ 281 w 188"/>
                <a:gd name="T33" fmla="*/ 63 h 869"/>
                <a:gd name="T34" fmla="*/ 290 w 188"/>
                <a:gd name="T35" fmla="*/ 58 h 869"/>
                <a:gd name="T36" fmla="*/ 290 w 188"/>
                <a:gd name="T37" fmla="*/ 56 h 869"/>
                <a:gd name="T38" fmla="*/ 290 w 188"/>
                <a:gd name="T39" fmla="*/ 53 h 869"/>
                <a:gd name="T40" fmla="*/ 290 w 188"/>
                <a:gd name="T41" fmla="*/ 48 h 869"/>
                <a:gd name="T42" fmla="*/ 308 w 188"/>
                <a:gd name="T43" fmla="*/ 46 h 869"/>
                <a:gd name="T44" fmla="*/ 308 w 188"/>
                <a:gd name="T45" fmla="*/ 43 h 869"/>
                <a:gd name="T46" fmla="*/ 316 w 188"/>
                <a:gd name="T47" fmla="*/ 39 h 869"/>
                <a:gd name="T48" fmla="*/ 316 w 188"/>
                <a:gd name="T49" fmla="*/ 37 h 869"/>
                <a:gd name="T50" fmla="*/ 316 w 188"/>
                <a:gd name="T51" fmla="*/ 34 h 869"/>
                <a:gd name="T52" fmla="*/ 325 w 188"/>
                <a:gd name="T53" fmla="*/ 30 h 869"/>
                <a:gd name="T54" fmla="*/ 325 w 188"/>
                <a:gd name="T55" fmla="*/ 26 h 869"/>
                <a:gd name="T56" fmla="*/ 334 w 188"/>
                <a:gd name="T57" fmla="*/ 24 h 869"/>
                <a:gd name="T58" fmla="*/ 334 w 188"/>
                <a:gd name="T59" fmla="*/ 22 h 869"/>
                <a:gd name="T60" fmla="*/ 334 w 188"/>
                <a:gd name="T61" fmla="*/ 18 h 869"/>
                <a:gd name="T62" fmla="*/ 345 w 188"/>
                <a:gd name="T63" fmla="*/ 16 h 869"/>
                <a:gd name="T64" fmla="*/ 345 w 188"/>
                <a:gd name="T65" fmla="*/ 14 h 869"/>
                <a:gd name="T66" fmla="*/ 354 w 188"/>
                <a:gd name="T67" fmla="*/ 13 h 869"/>
                <a:gd name="T68" fmla="*/ 361 w 188"/>
                <a:gd name="T69" fmla="*/ 11 h 869"/>
                <a:gd name="T70" fmla="*/ 361 w 188"/>
                <a:gd name="T71" fmla="*/ 10 h 869"/>
                <a:gd name="T72" fmla="*/ 371 w 188"/>
                <a:gd name="T73" fmla="*/ 9 h 869"/>
                <a:gd name="T74" fmla="*/ 371 w 188"/>
                <a:gd name="T75" fmla="*/ 6 h 869"/>
                <a:gd name="T76" fmla="*/ 345 w 188"/>
                <a:gd name="T77" fmla="*/ 5 h 869"/>
                <a:gd name="T78" fmla="*/ 298 w 188"/>
                <a:gd name="T79" fmla="*/ 5 h 869"/>
                <a:gd name="T80" fmla="*/ 253 w 188"/>
                <a:gd name="T81" fmla="*/ 5 h 869"/>
                <a:gd name="T82" fmla="*/ 200 w 188"/>
                <a:gd name="T83" fmla="*/ 5 h 869"/>
                <a:gd name="T84" fmla="*/ 153 w 188"/>
                <a:gd name="T85" fmla="*/ 5 h 869"/>
                <a:gd name="T86" fmla="*/ 110 w 188"/>
                <a:gd name="T87" fmla="*/ 0 h 86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8"/>
                <a:gd name="T133" fmla="*/ 0 h 869"/>
                <a:gd name="T134" fmla="*/ 188 w 188"/>
                <a:gd name="T135" fmla="*/ 869 h 86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8" h="869">
                  <a:moveTo>
                    <a:pt x="55" y="0"/>
                  </a:moveTo>
                  <a:lnTo>
                    <a:pt x="0" y="860"/>
                  </a:lnTo>
                  <a:lnTo>
                    <a:pt x="9" y="860"/>
                  </a:lnTo>
                  <a:lnTo>
                    <a:pt x="19" y="863"/>
                  </a:lnTo>
                  <a:lnTo>
                    <a:pt x="28" y="863"/>
                  </a:lnTo>
                  <a:lnTo>
                    <a:pt x="37" y="866"/>
                  </a:lnTo>
                  <a:lnTo>
                    <a:pt x="51" y="866"/>
                  </a:lnTo>
                  <a:lnTo>
                    <a:pt x="64" y="869"/>
                  </a:lnTo>
                  <a:lnTo>
                    <a:pt x="69" y="869"/>
                  </a:lnTo>
                  <a:lnTo>
                    <a:pt x="83" y="869"/>
                  </a:lnTo>
                  <a:lnTo>
                    <a:pt x="92" y="869"/>
                  </a:lnTo>
                  <a:lnTo>
                    <a:pt x="105" y="869"/>
                  </a:lnTo>
                  <a:lnTo>
                    <a:pt x="119" y="866"/>
                  </a:lnTo>
                  <a:lnTo>
                    <a:pt x="128" y="860"/>
                  </a:lnTo>
                  <a:lnTo>
                    <a:pt x="128" y="857"/>
                  </a:lnTo>
                  <a:lnTo>
                    <a:pt x="128" y="849"/>
                  </a:lnTo>
                  <a:lnTo>
                    <a:pt x="128" y="843"/>
                  </a:lnTo>
                  <a:lnTo>
                    <a:pt x="128" y="838"/>
                  </a:lnTo>
                  <a:lnTo>
                    <a:pt x="128" y="829"/>
                  </a:lnTo>
                  <a:lnTo>
                    <a:pt x="133" y="823"/>
                  </a:lnTo>
                  <a:lnTo>
                    <a:pt x="133" y="812"/>
                  </a:lnTo>
                  <a:lnTo>
                    <a:pt x="133" y="803"/>
                  </a:lnTo>
                  <a:lnTo>
                    <a:pt x="133" y="795"/>
                  </a:lnTo>
                  <a:lnTo>
                    <a:pt x="133" y="786"/>
                  </a:lnTo>
                  <a:lnTo>
                    <a:pt x="133" y="775"/>
                  </a:lnTo>
                  <a:lnTo>
                    <a:pt x="137" y="761"/>
                  </a:lnTo>
                  <a:lnTo>
                    <a:pt x="137" y="749"/>
                  </a:lnTo>
                  <a:lnTo>
                    <a:pt x="137" y="738"/>
                  </a:lnTo>
                  <a:lnTo>
                    <a:pt x="137" y="724"/>
                  </a:lnTo>
                  <a:lnTo>
                    <a:pt x="137" y="709"/>
                  </a:lnTo>
                  <a:lnTo>
                    <a:pt x="137" y="695"/>
                  </a:lnTo>
                  <a:lnTo>
                    <a:pt x="142" y="678"/>
                  </a:lnTo>
                  <a:lnTo>
                    <a:pt x="142" y="664"/>
                  </a:lnTo>
                  <a:lnTo>
                    <a:pt x="142" y="650"/>
                  </a:lnTo>
                  <a:lnTo>
                    <a:pt x="142" y="635"/>
                  </a:lnTo>
                  <a:lnTo>
                    <a:pt x="147" y="618"/>
                  </a:lnTo>
                  <a:lnTo>
                    <a:pt x="147" y="601"/>
                  </a:lnTo>
                  <a:lnTo>
                    <a:pt x="147" y="584"/>
                  </a:lnTo>
                  <a:lnTo>
                    <a:pt x="147" y="567"/>
                  </a:lnTo>
                  <a:lnTo>
                    <a:pt x="147" y="550"/>
                  </a:lnTo>
                  <a:lnTo>
                    <a:pt x="147" y="533"/>
                  </a:lnTo>
                  <a:lnTo>
                    <a:pt x="147" y="519"/>
                  </a:lnTo>
                  <a:lnTo>
                    <a:pt x="151" y="499"/>
                  </a:lnTo>
                  <a:lnTo>
                    <a:pt x="156" y="482"/>
                  </a:lnTo>
                  <a:lnTo>
                    <a:pt x="156" y="464"/>
                  </a:lnTo>
                  <a:lnTo>
                    <a:pt x="156" y="447"/>
                  </a:lnTo>
                  <a:lnTo>
                    <a:pt x="156" y="430"/>
                  </a:lnTo>
                  <a:lnTo>
                    <a:pt x="160" y="410"/>
                  </a:lnTo>
                  <a:lnTo>
                    <a:pt x="160" y="396"/>
                  </a:lnTo>
                  <a:lnTo>
                    <a:pt x="160" y="376"/>
                  </a:lnTo>
                  <a:lnTo>
                    <a:pt x="160" y="362"/>
                  </a:lnTo>
                  <a:lnTo>
                    <a:pt x="160" y="345"/>
                  </a:lnTo>
                  <a:lnTo>
                    <a:pt x="160" y="328"/>
                  </a:lnTo>
                  <a:lnTo>
                    <a:pt x="165" y="311"/>
                  </a:lnTo>
                  <a:lnTo>
                    <a:pt x="165" y="294"/>
                  </a:lnTo>
                  <a:lnTo>
                    <a:pt x="165" y="282"/>
                  </a:lnTo>
                  <a:lnTo>
                    <a:pt x="165" y="265"/>
                  </a:lnTo>
                  <a:lnTo>
                    <a:pt x="169" y="251"/>
                  </a:lnTo>
                  <a:lnTo>
                    <a:pt x="169" y="237"/>
                  </a:lnTo>
                  <a:lnTo>
                    <a:pt x="169" y="222"/>
                  </a:lnTo>
                  <a:lnTo>
                    <a:pt x="169" y="208"/>
                  </a:lnTo>
                  <a:lnTo>
                    <a:pt x="169" y="194"/>
                  </a:lnTo>
                  <a:lnTo>
                    <a:pt x="174" y="183"/>
                  </a:lnTo>
                  <a:lnTo>
                    <a:pt x="174" y="171"/>
                  </a:lnTo>
                  <a:lnTo>
                    <a:pt x="174" y="160"/>
                  </a:lnTo>
                  <a:lnTo>
                    <a:pt x="174" y="148"/>
                  </a:lnTo>
                  <a:lnTo>
                    <a:pt x="179" y="140"/>
                  </a:lnTo>
                  <a:lnTo>
                    <a:pt x="179" y="131"/>
                  </a:lnTo>
                  <a:lnTo>
                    <a:pt x="179" y="123"/>
                  </a:lnTo>
                  <a:lnTo>
                    <a:pt x="183" y="114"/>
                  </a:lnTo>
                  <a:lnTo>
                    <a:pt x="183" y="106"/>
                  </a:lnTo>
                  <a:lnTo>
                    <a:pt x="183" y="103"/>
                  </a:lnTo>
                  <a:lnTo>
                    <a:pt x="183" y="91"/>
                  </a:lnTo>
                  <a:lnTo>
                    <a:pt x="188" y="89"/>
                  </a:lnTo>
                  <a:lnTo>
                    <a:pt x="188" y="77"/>
                  </a:lnTo>
                  <a:lnTo>
                    <a:pt x="188" y="69"/>
                  </a:lnTo>
                  <a:lnTo>
                    <a:pt x="179" y="60"/>
                  </a:lnTo>
                  <a:lnTo>
                    <a:pt x="174" y="54"/>
                  </a:lnTo>
                  <a:lnTo>
                    <a:pt x="160" y="46"/>
                  </a:lnTo>
                  <a:lnTo>
                    <a:pt x="151" y="40"/>
                  </a:lnTo>
                  <a:lnTo>
                    <a:pt x="137" y="35"/>
                  </a:lnTo>
                  <a:lnTo>
                    <a:pt x="128" y="29"/>
                  </a:lnTo>
                  <a:lnTo>
                    <a:pt x="115" y="20"/>
                  </a:lnTo>
                  <a:lnTo>
                    <a:pt x="101" y="15"/>
                  </a:lnTo>
                  <a:lnTo>
                    <a:pt x="87" y="12"/>
                  </a:lnTo>
                  <a:lnTo>
                    <a:pt x="78" y="9"/>
                  </a:lnTo>
                  <a:lnTo>
                    <a:pt x="60" y="3"/>
                  </a:lnTo>
                  <a:lnTo>
                    <a:pt x="55"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67" name="Freeform 178"/>
            <p:cNvSpPr>
              <a:spLocks/>
            </p:cNvSpPr>
            <p:nvPr>
              <p:custDataLst>
                <p:tags r:id="rId166"/>
              </p:custDataLst>
            </p:nvPr>
          </p:nvSpPr>
          <p:spPr bwMode="gray">
            <a:xfrm>
              <a:off x="3443" y="1961"/>
              <a:ext cx="188" cy="716"/>
            </a:xfrm>
            <a:custGeom>
              <a:avLst/>
              <a:gdLst>
                <a:gd name="T0" fmla="*/ 276 w 183"/>
                <a:gd name="T1" fmla="*/ 5 h 783"/>
                <a:gd name="T2" fmla="*/ 285 w 183"/>
                <a:gd name="T3" fmla="*/ 5 h 783"/>
                <a:gd name="T4" fmla="*/ 304 w 183"/>
                <a:gd name="T5" fmla="*/ 6 h 783"/>
                <a:gd name="T6" fmla="*/ 304 w 183"/>
                <a:gd name="T7" fmla="*/ 11 h 783"/>
                <a:gd name="T8" fmla="*/ 322 w 183"/>
                <a:gd name="T9" fmla="*/ 15 h 783"/>
                <a:gd name="T10" fmla="*/ 334 w 183"/>
                <a:gd name="T11" fmla="*/ 18 h 783"/>
                <a:gd name="T12" fmla="*/ 342 w 183"/>
                <a:gd name="T13" fmla="*/ 24 h 783"/>
                <a:gd name="T14" fmla="*/ 342 w 183"/>
                <a:gd name="T15" fmla="*/ 28 h 783"/>
                <a:gd name="T16" fmla="*/ 351 w 183"/>
                <a:gd name="T17" fmla="*/ 34 h 783"/>
                <a:gd name="T18" fmla="*/ 359 w 183"/>
                <a:gd name="T19" fmla="*/ 37 h 783"/>
                <a:gd name="T20" fmla="*/ 369 w 183"/>
                <a:gd name="T21" fmla="*/ 44 h 783"/>
                <a:gd name="T22" fmla="*/ 369 w 183"/>
                <a:gd name="T23" fmla="*/ 48 h 783"/>
                <a:gd name="T24" fmla="*/ 369 w 183"/>
                <a:gd name="T25" fmla="*/ 53 h 783"/>
                <a:gd name="T26" fmla="*/ 369 w 183"/>
                <a:gd name="T27" fmla="*/ 57 h 783"/>
                <a:gd name="T28" fmla="*/ 369 w 183"/>
                <a:gd name="T29" fmla="*/ 61 h 783"/>
                <a:gd name="T30" fmla="*/ 369 w 183"/>
                <a:gd name="T31" fmla="*/ 65 h 783"/>
                <a:gd name="T32" fmla="*/ 369 w 183"/>
                <a:gd name="T33" fmla="*/ 69 h 783"/>
                <a:gd name="T34" fmla="*/ 369 w 183"/>
                <a:gd name="T35" fmla="*/ 71 h 783"/>
                <a:gd name="T36" fmla="*/ 369 w 183"/>
                <a:gd name="T37" fmla="*/ 73 h 783"/>
                <a:gd name="T38" fmla="*/ 359 w 183"/>
                <a:gd name="T39" fmla="*/ 76 h 783"/>
                <a:gd name="T40" fmla="*/ 351 w 183"/>
                <a:gd name="T41" fmla="*/ 77 h 783"/>
                <a:gd name="T42" fmla="*/ 259 w 183"/>
                <a:gd name="T43" fmla="*/ 76 h 783"/>
                <a:gd name="T44" fmla="*/ 155 w 183"/>
                <a:gd name="T45" fmla="*/ 76 h 783"/>
                <a:gd name="T46" fmla="*/ 128 w 183"/>
                <a:gd name="T47" fmla="*/ 76 h 783"/>
                <a:gd name="T48" fmla="*/ 128 w 183"/>
                <a:gd name="T49" fmla="*/ 74 h 783"/>
                <a:gd name="T50" fmla="*/ 128 w 183"/>
                <a:gd name="T51" fmla="*/ 71 h 783"/>
                <a:gd name="T52" fmla="*/ 128 w 183"/>
                <a:gd name="T53" fmla="*/ 69 h 783"/>
                <a:gd name="T54" fmla="*/ 120 w 183"/>
                <a:gd name="T55" fmla="*/ 66 h 783"/>
                <a:gd name="T56" fmla="*/ 120 w 183"/>
                <a:gd name="T57" fmla="*/ 63 h 783"/>
                <a:gd name="T58" fmla="*/ 120 w 183"/>
                <a:gd name="T59" fmla="*/ 59 h 783"/>
                <a:gd name="T60" fmla="*/ 114 w 183"/>
                <a:gd name="T61" fmla="*/ 56 h 783"/>
                <a:gd name="T62" fmla="*/ 99 w 183"/>
                <a:gd name="T63" fmla="*/ 52 h 783"/>
                <a:gd name="T64" fmla="*/ 99 w 183"/>
                <a:gd name="T65" fmla="*/ 48 h 783"/>
                <a:gd name="T66" fmla="*/ 99 w 183"/>
                <a:gd name="T67" fmla="*/ 44 h 783"/>
                <a:gd name="T68" fmla="*/ 89 w 183"/>
                <a:gd name="T69" fmla="*/ 40 h 783"/>
                <a:gd name="T70" fmla="*/ 89 w 183"/>
                <a:gd name="T71" fmla="*/ 36 h 783"/>
                <a:gd name="T72" fmla="*/ 89 w 183"/>
                <a:gd name="T73" fmla="*/ 31 h 783"/>
                <a:gd name="T74" fmla="*/ 89 w 183"/>
                <a:gd name="T75" fmla="*/ 28 h 783"/>
                <a:gd name="T76" fmla="*/ 89 w 183"/>
                <a:gd name="T77" fmla="*/ 25 h 783"/>
                <a:gd name="T78" fmla="*/ 89 w 183"/>
                <a:gd name="T79" fmla="*/ 22 h 783"/>
                <a:gd name="T80" fmla="*/ 89 w 183"/>
                <a:gd name="T81" fmla="*/ 20 h 783"/>
                <a:gd name="T82" fmla="*/ 89 w 183"/>
                <a:gd name="T83" fmla="*/ 16 h 783"/>
                <a:gd name="T84" fmla="*/ 89 w 183"/>
                <a:gd name="T85" fmla="*/ 15 h 783"/>
                <a:gd name="T86" fmla="*/ 79 w 183"/>
                <a:gd name="T87" fmla="*/ 13 h 783"/>
                <a:gd name="T88" fmla="*/ 71 w 183"/>
                <a:gd name="T89" fmla="*/ 10 h 783"/>
                <a:gd name="T90" fmla="*/ 53 w 183"/>
                <a:gd name="T91" fmla="*/ 6 h 783"/>
                <a:gd name="T92" fmla="*/ 14 w 183"/>
                <a:gd name="T93" fmla="*/ 5 h 783"/>
                <a:gd name="T94" fmla="*/ 0 w 183"/>
                <a:gd name="T95" fmla="*/ 5 h 783"/>
                <a:gd name="T96" fmla="*/ 269 w 183"/>
                <a:gd name="T97" fmla="*/ 0 h 7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3"/>
                <a:gd name="T148" fmla="*/ 0 h 783"/>
                <a:gd name="T149" fmla="*/ 183 w 183"/>
                <a:gd name="T150" fmla="*/ 783 h 78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3" h="783">
                  <a:moveTo>
                    <a:pt x="133" y="0"/>
                  </a:moveTo>
                  <a:lnTo>
                    <a:pt x="133" y="5"/>
                  </a:lnTo>
                  <a:lnTo>
                    <a:pt x="137" y="11"/>
                  </a:lnTo>
                  <a:lnTo>
                    <a:pt x="137" y="20"/>
                  </a:lnTo>
                  <a:lnTo>
                    <a:pt x="142" y="28"/>
                  </a:lnTo>
                  <a:lnTo>
                    <a:pt x="142" y="39"/>
                  </a:lnTo>
                  <a:lnTo>
                    <a:pt x="146" y="48"/>
                  </a:lnTo>
                  <a:lnTo>
                    <a:pt x="146" y="59"/>
                  </a:lnTo>
                  <a:lnTo>
                    <a:pt x="151" y="71"/>
                  </a:lnTo>
                  <a:lnTo>
                    <a:pt x="151" y="82"/>
                  </a:lnTo>
                  <a:lnTo>
                    <a:pt x="151" y="94"/>
                  </a:lnTo>
                  <a:lnTo>
                    <a:pt x="151" y="108"/>
                  </a:lnTo>
                  <a:lnTo>
                    <a:pt x="155" y="122"/>
                  </a:lnTo>
                  <a:lnTo>
                    <a:pt x="155" y="136"/>
                  </a:lnTo>
                  <a:lnTo>
                    <a:pt x="160" y="151"/>
                  </a:lnTo>
                  <a:lnTo>
                    <a:pt x="160" y="165"/>
                  </a:lnTo>
                  <a:lnTo>
                    <a:pt x="165" y="179"/>
                  </a:lnTo>
                  <a:lnTo>
                    <a:pt x="165" y="193"/>
                  </a:lnTo>
                  <a:lnTo>
                    <a:pt x="165" y="207"/>
                  </a:lnTo>
                  <a:lnTo>
                    <a:pt x="169" y="225"/>
                  </a:lnTo>
                  <a:lnTo>
                    <a:pt x="169" y="242"/>
                  </a:lnTo>
                  <a:lnTo>
                    <a:pt x="169" y="256"/>
                  </a:lnTo>
                  <a:lnTo>
                    <a:pt x="169" y="273"/>
                  </a:lnTo>
                  <a:lnTo>
                    <a:pt x="169" y="290"/>
                  </a:lnTo>
                  <a:lnTo>
                    <a:pt x="174" y="307"/>
                  </a:lnTo>
                  <a:lnTo>
                    <a:pt x="174" y="324"/>
                  </a:lnTo>
                  <a:lnTo>
                    <a:pt x="174" y="338"/>
                  </a:lnTo>
                  <a:lnTo>
                    <a:pt x="174" y="356"/>
                  </a:lnTo>
                  <a:lnTo>
                    <a:pt x="178" y="373"/>
                  </a:lnTo>
                  <a:lnTo>
                    <a:pt x="178" y="390"/>
                  </a:lnTo>
                  <a:lnTo>
                    <a:pt x="178" y="407"/>
                  </a:lnTo>
                  <a:lnTo>
                    <a:pt x="183" y="424"/>
                  </a:lnTo>
                  <a:lnTo>
                    <a:pt x="183" y="444"/>
                  </a:lnTo>
                  <a:lnTo>
                    <a:pt x="183" y="458"/>
                  </a:lnTo>
                  <a:lnTo>
                    <a:pt x="183" y="475"/>
                  </a:lnTo>
                  <a:lnTo>
                    <a:pt x="183" y="489"/>
                  </a:lnTo>
                  <a:lnTo>
                    <a:pt x="183" y="509"/>
                  </a:lnTo>
                  <a:lnTo>
                    <a:pt x="183" y="521"/>
                  </a:lnTo>
                  <a:lnTo>
                    <a:pt x="183" y="538"/>
                  </a:lnTo>
                  <a:lnTo>
                    <a:pt x="183" y="555"/>
                  </a:lnTo>
                  <a:lnTo>
                    <a:pt x="183" y="569"/>
                  </a:lnTo>
                  <a:lnTo>
                    <a:pt x="183" y="583"/>
                  </a:lnTo>
                  <a:lnTo>
                    <a:pt x="183" y="598"/>
                  </a:lnTo>
                  <a:lnTo>
                    <a:pt x="183" y="612"/>
                  </a:lnTo>
                  <a:lnTo>
                    <a:pt x="183" y="626"/>
                  </a:lnTo>
                  <a:lnTo>
                    <a:pt x="183" y="637"/>
                  </a:lnTo>
                  <a:lnTo>
                    <a:pt x="183" y="655"/>
                  </a:lnTo>
                  <a:lnTo>
                    <a:pt x="183" y="666"/>
                  </a:lnTo>
                  <a:lnTo>
                    <a:pt x="183" y="680"/>
                  </a:lnTo>
                  <a:lnTo>
                    <a:pt x="183" y="689"/>
                  </a:lnTo>
                  <a:lnTo>
                    <a:pt x="183" y="700"/>
                  </a:lnTo>
                  <a:lnTo>
                    <a:pt x="183" y="709"/>
                  </a:lnTo>
                  <a:lnTo>
                    <a:pt x="183" y="720"/>
                  </a:lnTo>
                  <a:lnTo>
                    <a:pt x="183" y="729"/>
                  </a:lnTo>
                  <a:lnTo>
                    <a:pt x="183" y="737"/>
                  </a:lnTo>
                  <a:lnTo>
                    <a:pt x="183" y="746"/>
                  </a:lnTo>
                  <a:lnTo>
                    <a:pt x="183" y="751"/>
                  </a:lnTo>
                  <a:lnTo>
                    <a:pt x="178" y="760"/>
                  </a:lnTo>
                  <a:lnTo>
                    <a:pt x="178" y="766"/>
                  </a:lnTo>
                  <a:lnTo>
                    <a:pt x="178" y="771"/>
                  </a:lnTo>
                  <a:lnTo>
                    <a:pt x="178" y="774"/>
                  </a:lnTo>
                  <a:lnTo>
                    <a:pt x="174" y="780"/>
                  </a:lnTo>
                  <a:lnTo>
                    <a:pt x="174" y="783"/>
                  </a:lnTo>
                  <a:lnTo>
                    <a:pt x="165" y="780"/>
                  </a:lnTo>
                  <a:lnTo>
                    <a:pt x="151" y="780"/>
                  </a:lnTo>
                  <a:lnTo>
                    <a:pt x="128" y="780"/>
                  </a:lnTo>
                  <a:lnTo>
                    <a:pt x="110" y="780"/>
                  </a:lnTo>
                  <a:lnTo>
                    <a:pt x="96" y="777"/>
                  </a:lnTo>
                  <a:lnTo>
                    <a:pt x="78" y="777"/>
                  </a:lnTo>
                  <a:lnTo>
                    <a:pt x="69" y="777"/>
                  </a:lnTo>
                  <a:lnTo>
                    <a:pt x="64" y="777"/>
                  </a:lnTo>
                  <a:lnTo>
                    <a:pt x="64" y="771"/>
                  </a:lnTo>
                  <a:lnTo>
                    <a:pt x="64" y="763"/>
                  </a:lnTo>
                  <a:lnTo>
                    <a:pt x="64" y="754"/>
                  </a:lnTo>
                  <a:lnTo>
                    <a:pt x="64" y="749"/>
                  </a:lnTo>
                  <a:lnTo>
                    <a:pt x="64" y="740"/>
                  </a:lnTo>
                  <a:lnTo>
                    <a:pt x="64" y="734"/>
                  </a:lnTo>
                  <a:lnTo>
                    <a:pt x="64" y="726"/>
                  </a:lnTo>
                  <a:lnTo>
                    <a:pt x="64" y="714"/>
                  </a:lnTo>
                  <a:lnTo>
                    <a:pt x="64" y="709"/>
                  </a:lnTo>
                  <a:lnTo>
                    <a:pt x="64" y="700"/>
                  </a:lnTo>
                  <a:lnTo>
                    <a:pt x="64" y="692"/>
                  </a:lnTo>
                  <a:lnTo>
                    <a:pt x="59" y="680"/>
                  </a:lnTo>
                  <a:lnTo>
                    <a:pt x="59" y="669"/>
                  </a:lnTo>
                  <a:lnTo>
                    <a:pt x="59" y="657"/>
                  </a:lnTo>
                  <a:lnTo>
                    <a:pt x="59" y="646"/>
                  </a:lnTo>
                  <a:lnTo>
                    <a:pt x="59" y="632"/>
                  </a:lnTo>
                  <a:lnTo>
                    <a:pt x="59" y="620"/>
                  </a:lnTo>
                  <a:lnTo>
                    <a:pt x="59" y="609"/>
                  </a:lnTo>
                  <a:lnTo>
                    <a:pt x="59" y="598"/>
                  </a:lnTo>
                  <a:lnTo>
                    <a:pt x="55" y="583"/>
                  </a:lnTo>
                  <a:lnTo>
                    <a:pt x="55" y="572"/>
                  </a:lnTo>
                  <a:lnTo>
                    <a:pt x="50" y="558"/>
                  </a:lnTo>
                  <a:lnTo>
                    <a:pt x="50" y="543"/>
                  </a:lnTo>
                  <a:lnTo>
                    <a:pt x="50" y="529"/>
                  </a:lnTo>
                  <a:lnTo>
                    <a:pt x="50" y="521"/>
                  </a:lnTo>
                  <a:lnTo>
                    <a:pt x="50" y="506"/>
                  </a:lnTo>
                  <a:lnTo>
                    <a:pt x="50" y="492"/>
                  </a:lnTo>
                  <a:lnTo>
                    <a:pt x="50" y="478"/>
                  </a:lnTo>
                  <a:lnTo>
                    <a:pt x="50" y="464"/>
                  </a:lnTo>
                  <a:lnTo>
                    <a:pt x="50" y="450"/>
                  </a:lnTo>
                  <a:lnTo>
                    <a:pt x="50" y="435"/>
                  </a:lnTo>
                  <a:lnTo>
                    <a:pt x="46" y="421"/>
                  </a:lnTo>
                  <a:lnTo>
                    <a:pt x="46" y="407"/>
                  </a:lnTo>
                  <a:lnTo>
                    <a:pt x="46" y="393"/>
                  </a:lnTo>
                  <a:lnTo>
                    <a:pt x="46" y="381"/>
                  </a:lnTo>
                  <a:lnTo>
                    <a:pt x="46" y="367"/>
                  </a:lnTo>
                  <a:lnTo>
                    <a:pt x="46" y="353"/>
                  </a:lnTo>
                  <a:lnTo>
                    <a:pt x="46" y="338"/>
                  </a:lnTo>
                  <a:lnTo>
                    <a:pt x="46" y="327"/>
                  </a:lnTo>
                  <a:lnTo>
                    <a:pt x="46" y="313"/>
                  </a:lnTo>
                  <a:lnTo>
                    <a:pt x="46" y="301"/>
                  </a:lnTo>
                  <a:lnTo>
                    <a:pt x="46" y="290"/>
                  </a:lnTo>
                  <a:lnTo>
                    <a:pt x="46" y="279"/>
                  </a:lnTo>
                  <a:lnTo>
                    <a:pt x="46" y="267"/>
                  </a:lnTo>
                  <a:lnTo>
                    <a:pt x="46" y="256"/>
                  </a:lnTo>
                  <a:lnTo>
                    <a:pt x="46" y="244"/>
                  </a:lnTo>
                  <a:lnTo>
                    <a:pt x="46" y="233"/>
                  </a:lnTo>
                  <a:lnTo>
                    <a:pt x="46" y="225"/>
                  </a:lnTo>
                  <a:lnTo>
                    <a:pt x="46" y="213"/>
                  </a:lnTo>
                  <a:lnTo>
                    <a:pt x="46" y="207"/>
                  </a:lnTo>
                  <a:lnTo>
                    <a:pt x="46" y="199"/>
                  </a:lnTo>
                  <a:lnTo>
                    <a:pt x="46" y="188"/>
                  </a:lnTo>
                  <a:lnTo>
                    <a:pt x="46" y="182"/>
                  </a:lnTo>
                  <a:lnTo>
                    <a:pt x="46" y="176"/>
                  </a:lnTo>
                  <a:lnTo>
                    <a:pt x="46" y="170"/>
                  </a:lnTo>
                  <a:lnTo>
                    <a:pt x="46" y="159"/>
                  </a:lnTo>
                  <a:lnTo>
                    <a:pt x="46" y="153"/>
                  </a:lnTo>
                  <a:lnTo>
                    <a:pt x="41" y="145"/>
                  </a:lnTo>
                  <a:lnTo>
                    <a:pt x="41" y="136"/>
                  </a:lnTo>
                  <a:lnTo>
                    <a:pt x="41" y="131"/>
                  </a:lnTo>
                  <a:lnTo>
                    <a:pt x="41" y="125"/>
                  </a:lnTo>
                  <a:lnTo>
                    <a:pt x="41" y="113"/>
                  </a:lnTo>
                  <a:lnTo>
                    <a:pt x="37" y="102"/>
                  </a:lnTo>
                  <a:lnTo>
                    <a:pt x="32" y="91"/>
                  </a:lnTo>
                  <a:lnTo>
                    <a:pt x="27" y="79"/>
                  </a:lnTo>
                  <a:lnTo>
                    <a:pt x="27" y="71"/>
                  </a:lnTo>
                  <a:lnTo>
                    <a:pt x="23" y="62"/>
                  </a:lnTo>
                  <a:lnTo>
                    <a:pt x="18" y="54"/>
                  </a:lnTo>
                  <a:lnTo>
                    <a:pt x="14" y="48"/>
                  </a:lnTo>
                  <a:lnTo>
                    <a:pt x="9" y="39"/>
                  </a:lnTo>
                  <a:lnTo>
                    <a:pt x="5" y="37"/>
                  </a:lnTo>
                  <a:lnTo>
                    <a:pt x="0" y="31"/>
                  </a:lnTo>
                  <a:lnTo>
                    <a:pt x="0" y="28"/>
                  </a:lnTo>
                  <a:lnTo>
                    <a:pt x="133"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68" name="Freeform 179"/>
            <p:cNvSpPr>
              <a:spLocks/>
            </p:cNvSpPr>
            <p:nvPr>
              <p:custDataLst>
                <p:tags r:id="rId167"/>
              </p:custDataLst>
            </p:nvPr>
          </p:nvSpPr>
          <p:spPr bwMode="gray">
            <a:xfrm>
              <a:off x="1495" y="2448"/>
              <a:ext cx="168" cy="93"/>
            </a:xfrm>
            <a:custGeom>
              <a:avLst/>
              <a:gdLst>
                <a:gd name="T0" fmla="*/ 58 w 164"/>
                <a:gd name="T1" fmla="*/ 3 h 103"/>
                <a:gd name="T2" fmla="*/ 49 w 164"/>
                <a:gd name="T3" fmla="*/ 5 h 103"/>
                <a:gd name="T4" fmla="*/ 14 w 164"/>
                <a:gd name="T5" fmla="*/ 5 h 103"/>
                <a:gd name="T6" fmla="*/ 9 w 164"/>
                <a:gd name="T7" fmla="*/ 5 h 103"/>
                <a:gd name="T8" fmla="*/ 4 w 164"/>
                <a:gd name="T9" fmla="*/ 5 h 103"/>
                <a:gd name="T10" fmla="*/ 0 w 164"/>
                <a:gd name="T11" fmla="*/ 5 h 103"/>
                <a:gd name="T12" fmla="*/ 0 w 164"/>
                <a:gd name="T13" fmla="*/ 5 h 103"/>
                <a:gd name="T14" fmla="*/ 0 w 164"/>
                <a:gd name="T15" fmla="*/ 5 h 103"/>
                <a:gd name="T16" fmla="*/ 4 w 164"/>
                <a:gd name="T17" fmla="*/ 5 h 103"/>
                <a:gd name="T18" fmla="*/ 4 w 164"/>
                <a:gd name="T19" fmla="*/ 5 h 103"/>
                <a:gd name="T20" fmla="*/ 14 w 164"/>
                <a:gd name="T21" fmla="*/ 6 h 103"/>
                <a:gd name="T22" fmla="*/ 49 w 164"/>
                <a:gd name="T23" fmla="*/ 6 h 103"/>
                <a:gd name="T24" fmla="*/ 58 w 164"/>
                <a:gd name="T25" fmla="*/ 7 h 103"/>
                <a:gd name="T26" fmla="*/ 82 w 164"/>
                <a:gd name="T27" fmla="*/ 7 h 103"/>
                <a:gd name="T28" fmla="*/ 110 w 164"/>
                <a:gd name="T29" fmla="*/ 7 h 103"/>
                <a:gd name="T30" fmla="*/ 136 w 164"/>
                <a:gd name="T31" fmla="*/ 7 h 103"/>
                <a:gd name="T32" fmla="*/ 169 w 164"/>
                <a:gd name="T33" fmla="*/ 8 h 103"/>
                <a:gd name="T34" fmla="*/ 198 w 164"/>
                <a:gd name="T35" fmla="*/ 7 h 103"/>
                <a:gd name="T36" fmla="*/ 213 w 164"/>
                <a:gd name="T37" fmla="*/ 7 h 103"/>
                <a:gd name="T38" fmla="*/ 228 w 164"/>
                <a:gd name="T39" fmla="*/ 7 h 103"/>
                <a:gd name="T40" fmla="*/ 256 w 164"/>
                <a:gd name="T41" fmla="*/ 7 h 103"/>
                <a:gd name="T42" fmla="*/ 283 w 164"/>
                <a:gd name="T43" fmla="*/ 6 h 103"/>
                <a:gd name="T44" fmla="*/ 290 w 164"/>
                <a:gd name="T45" fmla="*/ 5 h 103"/>
                <a:gd name="T46" fmla="*/ 298 w 164"/>
                <a:gd name="T47" fmla="*/ 5 h 103"/>
                <a:gd name="T48" fmla="*/ 305 w 164"/>
                <a:gd name="T49" fmla="*/ 5 h 103"/>
                <a:gd name="T50" fmla="*/ 298 w 164"/>
                <a:gd name="T51" fmla="*/ 5 h 103"/>
                <a:gd name="T52" fmla="*/ 298 w 164"/>
                <a:gd name="T53" fmla="*/ 5 h 103"/>
                <a:gd name="T54" fmla="*/ 290 w 164"/>
                <a:gd name="T55" fmla="*/ 5 h 103"/>
                <a:gd name="T56" fmla="*/ 283 w 164"/>
                <a:gd name="T57" fmla="*/ 5 h 103"/>
                <a:gd name="T58" fmla="*/ 256 w 164"/>
                <a:gd name="T59" fmla="*/ 5 h 103"/>
                <a:gd name="T60" fmla="*/ 221 w 164"/>
                <a:gd name="T61" fmla="*/ 5 h 103"/>
                <a:gd name="T62" fmla="*/ 206 w 164"/>
                <a:gd name="T63" fmla="*/ 5 h 103"/>
                <a:gd name="T64" fmla="*/ 186 w 164"/>
                <a:gd name="T65" fmla="*/ 3 h 103"/>
                <a:gd name="T66" fmla="*/ 169 w 164"/>
                <a:gd name="T67" fmla="*/ 3 h 103"/>
                <a:gd name="T68" fmla="*/ 150 w 164"/>
                <a:gd name="T69" fmla="*/ 3 h 103"/>
                <a:gd name="T70" fmla="*/ 110 w 164"/>
                <a:gd name="T71" fmla="*/ 0 h 103"/>
                <a:gd name="T72" fmla="*/ 82 w 164"/>
                <a:gd name="T73" fmla="*/ 0 h 103"/>
                <a:gd name="T74" fmla="*/ 62 w 164"/>
                <a:gd name="T75" fmla="*/ 0 h 103"/>
                <a:gd name="T76" fmla="*/ 58 w 164"/>
                <a:gd name="T77" fmla="*/ 3 h 103"/>
                <a:gd name="T78" fmla="*/ 58 w 164"/>
                <a:gd name="T79" fmla="*/ 3 h 10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4"/>
                <a:gd name="T121" fmla="*/ 0 h 103"/>
                <a:gd name="T122" fmla="*/ 164 w 164"/>
                <a:gd name="T123" fmla="*/ 103 h 10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4" h="103">
                  <a:moveTo>
                    <a:pt x="32" y="3"/>
                  </a:moveTo>
                  <a:lnTo>
                    <a:pt x="23" y="11"/>
                  </a:lnTo>
                  <a:lnTo>
                    <a:pt x="14" y="23"/>
                  </a:lnTo>
                  <a:lnTo>
                    <a:pt x="9" y="31"/>
                  </a:lnTo>
                  <a:lnTo>
                    <a:pt x="4" y="40"/>
                  </a:lnTo>
                  <a:lnTo>
                    <a:pt x="0" y="46"/>
                  </a:lnTo>
                  <a:lnTo>
                    <a:pt x="0" y="51"/>
                  </a:lnTo>
                  <a:lnTo>
                    <a:pt x="0" y="57"/>
                  </a:lnTo>
                  <a:lnTo>
                    <a:pt x="4" y="66"/>
                  </a:lnTo>
                  <a:lnTo>
                    <a:pt x="4" y="74"/>
                  </a:lnTo>
                  <a:lnTo>
                    <a:pt x="14" y="86"/>
                  </a:lnTo>
                  <a:lnTo>
                    <a:pt x="23" y="91"/>
                  </a:lnTo>
                  <a:lnTo>
                    <a:pt x="32" y="97"/>
                  </a:lnTo>
                  <a:lnTo>
                    <a:pt x="46" y="100"/>
                  </a:lnTo>
                  <a:lnTo>
                    <a:pt x="59" y="100"/>
                  </a:lnTo>
                  <a:lnTo>
                    <a:pt x="73" y="100"/>
                  </a:lnTo>
                  <a:lnTo>
                    <a:pt x="91" y="103"/>
                  </a:lnTo>
                  <a:lnTo>
                    <a:pt x="105" y="100"/>
                  </a:lnTo>
                  <a:lnTo>
                    <a:pt x="114" y="100"/>
                  </a:lnTo>
                  <a:lnTo>
                    <a:pt x="123" y="94"/>
                  </a:lnTo>
                  <a:lnTo>
                    <a:pt x="137" y="94"/>
                  </a:lnTo>
                  <a:lnTo>
                    <a:pt x="151" y="86"/>
                  </a:lnTo>
                  <a:lnTo>
                    <a:pt x="155" y="74"/>
                  </a:lnTo>
                  <a:lnTo>
                    <a:pt x="160" y="66"/>
                  </a:lnTo>
                  <a:lnTo>
                    <a:pt x="164" y="57"/>
                  </a:lnTo>
                  <a:lnTo>
                    <a:pt x="160" y="46"/>
                  </a:lnTo>
                  <a:lnTo>
                    <a:pt x="160" y="34"/>
                  </a:lnTo>
                  <a:lnTo>
                    <a:pt x="155" y="26"/>
                  </a:lnTo>
                  <a:lnTo>
                    <a:pt x="151" y="20"/>
                  </a:lnTo>
                  <a:lnTo>
                    <a:pt x="137" y="9"/>
                  </a:lnTo>
                  <a:lnTo>
                    <a:pt x="119" y="9"/>
                  </a:lnTo>
                  <a:lnTo>
                    <a:pt x="110" y="6"/>
                  </a:lnTo>
                  <a:lnTo>
                    <a:pt x="100" y="3"/>
                  </a:lnTo>
                  <a:lnTo>
                    <a:pt x="91" y="3"/>
                  </a:lnTo>
                  <a:lnTo>
                    <a:pt x="82" y="3"/>
                  </a:lnTo>
                  <a:lnTo>
                    <a:pt x="59" y="0"/>
                  </a:lnTo>
                  <a:lnTo>
                    <a:pt x="46" y="0"/>
                  </a:lnTo>
                  <a:lnTo>
                    <a:pt x="36" y="0"/>
                  </a:lnTo>
                  <a:lnTo>
                    <a:pt x="32"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69" name="Freeform 180"/>
            <p:cNvSpPr>
              <a:spLocks/>
            </p:cNvSpPr>
            <p:nvPr>
              <p:custDataLst>
                <p:tags r:id="rId168"/>
              </p:custDataLst>
            </p:nvPr>
          </p:nvSpPr>
          <p:spPr bwMode="gray">
            <a:xfrm>
              <a:off x="1382" y="1589"/>
              <a:ext cx="1064" cy="63"/>
            </a:xfrm>
            <a:custGeom>
              <a:avLst/>
              <a:gdLst>
                <a:gd name="T0" fmla="*/ 164 w 1038"/>
                <a:gd name="T1" fmla="*/ 5 h 69"/>
                <a:gd name="T2" fmla="*/ 271 w 1038"/>
                <a:gd name="T3" fmla="*/ 5 h 69"/>
                <a:gd name="T4" fmla="*/ 381 w 1038"/>
                <a:gd name="T5" fmla="*/ 5 h 69"/>
                <a:gd name="T6" fmla="*/ 497 w 1038"/>
                <a:gd name="T7" fmla="*/ 5 h 69"/>
                <a:gd name="T8" fmla="*/ 617 w 1038"/>
                <a:gd name="T9" fmla="*/ 5 h 69"/>
                <a:gd name="T10" fmla="*/ 739 w 1038"/>
                <a:gd name="T11" fmla="*/ 5 h 69"/>
                <a:gd name="T12" fmla="*/ 864 w 1038"/>
                <a:gd name="T13" fmla="*/ 5 h 69"/>
                <a:gd name="T14" fmla="*/ 983 w 1038"/>
                <a:gd name="T15" fmla="*/ 5 h 69"/>
                <a:gd name="T16" fmla="*/ 1106 w 1038"/>
                <a:gd name="T17" fmla="*/ 5 h 69"/>
                <a:gd name="T18" fmla="*/ 1219 w 1038"/>
                <a:gd name="T19" fmla="*/ 5 h 69"/>
                <a:gd name="T20" fmla="*/ 1340 w 1038"/>
                <a:gd name="T21" fmla="*/ 5 h 69"/>
                <a:gd name="T22" fmla="*/ 1433 w 1038"/>
                <a:gd name="T23" fmla="*/ 5 h 69"/>
                <a:gd name="T24" fmla="*/ 1539 w 1038"/>
                <a:gd name="T25" fmla="*/ 5 h 69"/>
                <a:gd name="T26" fmla="*/ 1635 w 1038"/>
                <a:gd name="T27" fmla="*/ 5 h 69"/>
                <a:gd name="T28" fmla="*/ 1722 w 1038"/>
                <a:gd name="T29" fmla="*/ 5 h 69"/>
                <a:gd name="T30" fmla="*/ 1794 w 1038"/>
                <a:gd name="T31" fmla="*/ 5 h 69"/>
                <a:gd name="T32" fmla="*/ 1851 w 1038"/>
                <a:gd name="T33" fmla="*/ 5 h 69"/>
                <a:gd name="T34" fmla="*/ 1926 w 1038"/>
                <a:gd name="T35" fmla="*/ 5 h 69"/>
                <a:gd name="T36" fmla="*/ 1977 w 1038"/>
                <a:gd name="T37" fmla="*/ 5 h 69"/>
                <a:gd name="T38" fmla="*/ 1954 w 1038"/>
                <a:gd name="T39" fmla="*/ 5 h 69"/>
                <a:gd name="T40" fmla="*/ 1888 w 1038"/>
                <a:gd name="T41" fmla="*/ 5 h 69"/>
                <a:gd name="T42" fmla="*/ 1809 w 1038"/>
                <a:gd name="T43" fmla="*/ 5 h 69"/>
                <a:gd name="T44" fmla="*/ 1695 w 1038"/>
                <a:gd name="T45" fmla="*/ 5 h 69"/>
                <a:gd name="T46" fmla="*/ 1618 w 1038"/>
                <a:gd name="T47" fmla="*/ 5 h 69"/>
                <a:gd name="T48" fmla="*/ 1556 w 1038"/>
                <a:gd name="T49" fmla="*/ 5 h 69"/>
                <a:gd name="T50" fmla="*/ 1488 w 1038"/>
                <a:gd name="T51" fmla="*/ 5 h 69"/>
                <a:gd name="T52" fmla="*/ 1419 w 1038"/>
                <a:gd name="T53" fmla="*/ 5 h 69"/>
                <a:gd name="T54" fmla="*/ 1350 w 1038"/>
                <a:gd name="T55" fmla="*/ 5 h 69"/>
                <a:gd name="T56" fmla="*/ 1267 w 1038"/>
                <a:gd name="T57" fmla="*/ 6 h 69"/>
                <a:gd name="T58" fmla="*/ 1200 w 1038"/>
                <a:gd name="T59" fmla="*/ 6 h 69"/>
                <a:gd name="T60" fmla="*/ 1132 w 1038"/>
                <a:gd name="T61" fmla="*/ 6 h 69"/>
                <a:gd name="T62" fmla="*/ 1067 w 1038"/>
                <a:gd name="T63" fmla="*/ 6 h 69"/>
                <a:gd name="T64" fmla="*/ 1002 w 1038"/>
                <a:gd name="T65" fmla="*/ 6 h 69"/>
                <a:gd name="T66" fmla="*/ 933 w 1038"/>
                <a:gd name="T67" fmla="*/ 6 h 69"/>
                <a:gd name="T68" fmla="*/ 869 w 1038"/>
                <a:gd name="T69" fmla="*/ 5 h 69"/>
                <a:gd name="T70" fmla="*/ 774 w 1038"/>
                <a:gd name="T71" fmla="*/ 5 h 69"/>
                <a:gd name="T72" fmla="*/ 713 w 1038"/>
                <a:gd name="T73" fmla="*/ 5 h 69"/>
                <a:gd name="T74" fmla="*/ 617 w 1038"/>
                <a:gd name="T75" fmla="*/ 5 h 69"/>
                <a:gd name="T76" fmla="*/ 514 w 1038"/>
                <a:gd name="T77" fmla="*/ 5 h 69"/>
                <a:gd name="T78" fmla="*/ 410 w 1038"/>
                <a:gd name="T79" fmla="*/ 5 h 69"/>
                <a:gd name="T80" fmla="*/ 313 w 1038"/>
                <a:gd name="T81" fmla="*/ 5 h 69"/>
                <a:gd name="T82" fmla="*/ 234 w 1038"/>
                <a:gd name="T83" fmla="*/ 5 h 69"/>
                <a:gd name="T84" fmla="*/ 154 w 1038"/>
                <a:gd name="T85" fmla="*/ 5 h 69"/>
                <a:gd name="T86" fmla="*/ 92 w 1038"/>
                <a:gd name="T87" fmla="*/ 5 h 69"/>
                <a:gd name="T88" fmla="*/ 18 w 1038"/>
                <a:gd name="T89" fmla="*/ 5 h 69"/>
                <a:gd name="T90" fmla="*/ 103 w 1038"/>
                <a:gd name="T91" fmla="*/ 0 h 6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38"/>
                <a:gd name="T139" fmla="*/ 0 h 69"/>
                <a:gd name="T140" fmla="*/ 1038 w 1038"/>
                <a:gd name="T141" fmla="*/ 69 h 6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38" h="69">
                  <a:moveTo>
                    <a:pt x="55" y="0"/>
                  </a:moveTo>
                  <a:lnTo>
                    <a:pt x="69" y="3"/>
                  </a:lnTo>
                  <a:lnTo>
                    <a:pt x="87" y="6"/>
                  </a:lnTo>
                  <a:lnTo>
                    <a:pt x="105" y="6"/>
                  </a:lnTo>
                  <a:lnTo>
                    <a:pt x="124" y="9"/>
                  </a:lnTo>
                  <a:lnTo>
                    <a:pt x="142" y="9"/>
                  </a:lnTo>
                  <a:lnTo>
                    <a:pt x="160" y="12"/>
                  </a:lnTo>
                  <a:lnTo>
                    <a:pt x="178" y="15"/>
                  </a:lnTo>
                  <a:lnTo>
                    <a:pt x="201" y="15"/>
                  </a:lnTo>
                  <a:lnTo>
                    <a:pt x="220" y="15"/>
                  </a:lnTo>
                  <a:lnTo>
                    <a:pt x="242" y="17"/>
                  </a:lnTo>
                  <a:lnTo>
                    <a:pt x="261" y="17"/>
                  </a:lnTo>
                  <a:lnTo>
                    <a:pt x="284" y="20"/>
                  </a:lnTo>
                  <a:lnTo>
                    <a:pt x="302" y="20"/>
                  </a:lnTo>
                  <a:lnTo>
                    <a:pt x="325" y="23"/>
                  </a:lnTo>
                  <a:lnTo>
                    <a:pt x="348" y="23"/>
                  </a:lnTo>
                  <a:lnTo>
                    <a:pt x="370" y="26"/>
                  </a:lnTo>
                  <a:lnTo>
                    <a:pt x="389" y="26"/>
                  </a:lnTo>
                  <a:lnTo>
                    <a:pt x="407" y="26"/>
                  </a:lnTo>
                  <a:lnTo>
                    <a:pt x="430" y="26"/>
                  </a:lnTo>
                  <a:lnTo>
                    <a:pt x="453" y="29"/>
                  </a:lnTo>
                  <a:lnTo>
                    <a:pt x="471" y="32"/>
                  </a:lnTo>
                  <a:lnTo>
                    <a:pt x="494" y="32"/>
                  </a:lnTo>
                  <a:lnTo>
                    <a:pt x="517" y="35"/>
                  </a:lnTo>
                  <a:lnTo>
                    <a:pt x="539" y="35"/>
                  </a:lnTo>
                  <a:lnTo>
                    <a:pt x="558" y="35"/>
                  </a:lnTo>
                  <a:lnTo>
                    <a:pt x="581" y="35"/>
                  </a:lnTo>
                  <a:lnTo>
                    <a:pt x="599" y="37"/>
                  </a:lnTo>
                  <a:lnTo>
                    <a:pt x="622" y="37"/>
                  </a:lnTo>
                  <a:lnTo>
                    <a:pt x="640" y="37"/>
                  </a:lnTo>
                  <a:lnTo>
                    <a:pt x="658" y="37"/>
                  </a:lnTo>
                  <a:lnTo>
                    <a:pt x="681" y="40"/>
                  </a:lnTo>
                  <a:lnTo>
                    <a:pt x="704" y="43"/>
                  </a:lnTo>
                  <a:lnTo>
                    <a:pt x="718" y="43"/>
                  </a:lnTo>
                  <a:lnTo>
                    <a:pt x="736" y="43"/>
                  </a:lnTo>
                  <a:lnTo>
                    <a:pt x="754" y="43"/>
                  </a:lnTo>
                  <a:lnTo>
                    <a:pt x="773" y="43"/>
                  </a:lnTo>
                  <a:lnTo>
                    <a:pt x="791" y="43"/>
                  </a:lnTo>
                  <a:lnTo>
                    <a:pt x="809" y="43"/>
                  </a:lnTo>
                  <a:lnTo>
                    <a:pt x="827" y="43"/>
                  </a:lnTo>
                  <a:lnTo>
                    <a:pt x="846" y="46"/>
                  </a:lnTo>
                  <a:lnTo>
                    <a:pt x="859" y="46"/>
                  </a:lnTo>
                  <a:lnTo>
                    <a:pt x="873" y="46"/>
                  </a:lnTo>
                  <a:lnTo>
                    <a:pt x="887" y="46"/>
                  </a:lnTo>
                  <a:lnTo>
                    <a:pt x="905" y="49"/>
                  </a:lnTo>
                  <a:lnTo>
                    <a:pt x="914" y="49"/>
                  </a:lnTo>
                  <a:lnTo>
                    <a:pt x="928" y="49"/>
                  </a:lnTo>
                  <a:lnTo>
                    <a:pt x="942" y="49"/>
                  </a:lnTo>
                  <a:lnTo>
                    <a:pt x="955" y="49"/>
                  </a:lnTo>
                  <a:lnTo>
                    <a:pt x="964" y="49"/>
                  </a:lnTo>
                  <a:lnTo>
                    <a:pt x="974" y="49"/>
                  </a:lnTo>
                  <a:lnTo>
                    <a:pt x="987" y="49"/>
                  </a:lnTo>
                  <a:lnTo>
                    <a:pt x="992" y="49"/>
                  </a:lnTo>
                  <a:lnTo>
                    <a:pt x="1010" y="49"/>
                  </a:lnTo>
                  <a:lnTo>
                    <a:pt x="1028" y="52"/>
                  </a:lnTo>
                  <a:lnTo>
                    <a:pt x="1033" y="52"/>
                  </a:lnTo>
                  <a:lnTo>
                    <a:pt x="1038" y="54"/>
                  </a:lnTo>
                  <a:lnTo>
                    <a:pt x="1033" y="54"/>
                  </a:lnTo>
                  <a:lnTo>
                    <a:pt x="1028" y="54"/>
                  </a:lnTo>
                  <a:lnTo>
                    <a:pt x="1015" y="54"/>
                  </a:lnTo>
                  <a:lnTo>
                    <a:pt x="1006" y="54"/>
                  </a:lnTo>
                  <a:lnTo>
                    <a:pt x="992" y="54"/>
                  </a:lnTo>
                  <a:lnTo>
                    <a:pt x="978" y="54"/>
                  </a:lnTo>
                  <a:lnTo>
                    <a:pt x="964" y="57"/>
                  </a:lnTo>
                  <a:lnTo>
                    <a:pt x="951" y="57"/>
                  </a:lnTo>
                  <a:lnTo>
                    <a:pt x="932" y="57"/>
                  </a:lnTo>
                  <a:lnTo>
                    <a:pt x="914" y="60"/>
                  </a:lnTo>
                  <a:lnTo>
                    <a:pt x="891" y="60"/>
                  </a:lnTo>
                  <a:lnTo>
                    <a:pt x="873" y="60"/>
                  </a:lnTo>
                  <a:lnTo>
                    <a:pt x="864" y="60"/>
                  </a:lnTo>
                  <a:lnTo>
                    <a:pt x="850" y="60"/>
                  </a:lnTo>
                  <a:lnTo>
                    <a:pt x="837" y="60"/>
                  </a:lnTo>
                  <a:lnTo>
                    <a:pt x="827" y="60"/>
                  </a:lnTo>
                  <a:lnTo>
                    <a:pt x="818" y="60"/>
                  </a:lnTo>
                  <a:lnTo>
                    <a:pt x="805" y="63"/>
                  </a:lnTo>
                  <a:lnTo>
                    <a:pt x="795" y="63"/>
                  </a:lnTo>
                  <a:lnTo>
                    <a:pt x="782" y="66"/>
                  </a:lnTo>
                  <a:lnTo>
                    <a:pt x="773" y="66"/>
                  </a:lnTo>
                  <a:lnTo>
                    <a:pt x="759" y="66"/>
                  </a:lnTo>
                  <a:lnTo>
                    <a:pt x="745" y="66"/>
                  </a:lnTo>
                  <a:lnTo>
                    <a:pt x="736" y="66"/>
                  </a:lnTo>
                  <a:lnTo>
                    <a:pt x="722" y="66"/>
                  </a:lnTo>
                  <a:lnTo>
                    <a:pt x="709" y="66"/>
                  </a:lnTo>
                  <a:lnTo>
                    <a:pt x="695" y="66"/>
                  </a:lnTo>
                  <a:lnTo>
                    <a:pt x="686" y="69"/>
                  </a:lnTo>
                  <a:lnTo>
                    <a:pt x="667" y="69"/>
                  </a:lnTo>
                  <a:lnTo>
                    <a:pt x="658" y="69"/>
                  </a:lnTo>
                  <a:lnTo>
                    <a:pt x="649" y="69"/>
                  </a:lnTo>
                  <a:lnTo>
                    <a:pt x="631" y="69"/>
                  </a:lnTo>
                  <a:lnTo>
                    <a:pt x="622" y="69"/>
                  </a:lnTo>
                  <a:lnTo>
                    <a:pt x="613" y="69"/>
                  </a:lnTo>
                  <a:lnTo>
                    <a:pt x="594" y="69"/>
                  </a:lnTo>
                  <a:lnTo>
                    <a:pt x="585" y="69"/>
                  </a:lnTo>
                  <a:lnTo>
                    <a:pt x="571" y="69"/>
                  </a:lnTo>
                  <a:lnTo>
                    <a:pt x="562" y="69"/>
                  </a:lnTo>
                  <a:lnTo>
                    <a:pt x="544" y="69"/>
                  </a:lnTo>
                  <a:lnTo>
                    <a:pt x="535" y="69"/>
                  </a:lnTo>
                  <a:lnTo>
                    <a:pt x="526" y="69"/>
                  </a:lnTo>
                  <a:lnTo>
                    <a:pt x="512" y="69"/>
                  </a:lnTo>
                  <a:lnTo>
                    <a:pt x="503" y="69"/>
                  </a:lnTo>
                  <a:lnTo>
                    <a:pt x="489" y="69"/>
                  </a:lnTo>
                  <a:lnTo>
                    <a:pt x="480" y="66"/>
                  </a:lnTo>
                  <a:lnTo>
                    <a:pt x="471" y="66"/>
                  </a:lnTo>
                  <a:lnTo>
                    <a:pt x="457" y="66"/>
                  </a:lnTo>
                  <a:lnTo>
                    <a:pt x="443" y="66"/>
                  </a:lnTo>
                  <a:lnTo>
                    <a:pt x="425" y="66"/>
                  </a:lnTo>
                  <a:lnTo>
                    <a:pt x="407" y="66"/>
                  </a:lnTo>
                  <a:lnTo>
                    <a:pt x="393" y="63"/>
                  </a:lnTo>
                  <a:lnTo>
                    <a:pt x="384" y="60"/>
                  </a:lnTo>
                  <a:lnTo>
                    <a:pt x="375" y="60"/>
                  </a:lnTo>
                  <a:lnTo>
                    <a:pt x="366" y="60"/>
                  </a:lnTo>
                  <a:lnTo>
                    <a:pt x="343" y="60"/>
                  </a:lnTo>
                  <a:lnTo>
                    <a:pt x="325" y="60"/>
                  </a:lnTo>
                  <a:lnTo>
                    <a:pt x="302" y="57"/>
                  </a:lnTo>
                  <a:lnTo>
                    <a:pt x="288" y="57"/>
                  </a:lnTo>
                  <a:lnTo>
                    <a:pt x="270" y="54"/>
                  </a:lnTo>
                  <a:lnTo>
                    <a:pt x="252" y="54"/>
                  </a:lnTo>
                  <a:lnTo>
                    <a:pt x="233" y="52"/>
                  </a:lnTo>
                  <a:lnTo>
                    <a:pt x="215" y="49"/>
                  </a:lnTo>
                  <a:lnTo>
                    <a:pt x="197" y="49"/>
                  </a:lnTo>
                  <a:lnTo>
                    <a:pt x="183" y="49"/>
                  </a:lnTo>
                  <a:lnTo>
                    <a:pt x="165" y="46"/>
                  </a:lnTo>
                  <a:lnTo>
                    <a:pt x="151" y="46"/>
                  </a:lnTo>
                  <a:lnTo>
                    <a:pt x="137" y="43"/>
                  </a:lnTo>
                  <a:lnTo>
                    <a:pt x="124" y="43"/>
                  </a:lnTo>
                  <a:lnTo>
                    <a:pt x="110" y="40"/>
                  </a:lnTo>
                  <a:lnTo>
                    <a:pt x="96" y="37"/>
                  </a:lnTo>
                  <a:lnTo>
                    <a:pt x="82" y="37"/>
                  </a:lnTo>
                  <a:lnTo>
                    <a:pt x="73" y="37"/>
                  </a:lnTo>
                  <a:lnTo>
                    <a:pt x="64" y="35"/>
                  </a:lnTo>
                  <a:lnTo>
                    <a:pt x="50" y="35"/>
                  </a:lnTo>
                  <a:lnTo>
                    <a:pt x="41" y="35"/>
                  </a:lnTo>
                  <a:lnTo>
                    <a:pt x="37" y="35"/>
                  </a:lnTo>
                  <a:lnTo>
                    <a:pt x="18" y="32"/>
                  </a:lnTo>
                  <a:lnTo>
                    <a:pt x="14" y="29"/>
                  </a:lnTo>
                  <a:lnTo>
                    <a:pt x="0" y="29"/>
                  </a:lnTo>
                  <a:lnTo>
                    <a:pt x="55"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70" name="Freeform 181"/>
            <p:cNvSpPr>
              <a:spLocks/>
            </p:cNvSpPr>
            <p:nvPr>
              <p:custDataLst>
                <p:tags r:id="rId169"/>
              </p:custDataLst>
            </p:nvPr>
          </p:nvSpPr>
          <p:spPr bwMode="gray">
            <a:xfrm>
              <a:off x="2900" y="1545"/>
              <a:ext cx="1387" cy="114"/>
            </a:xfrm>
            <a:custGeom>
              <a:avLst/>
              <a:gdLst>
                <a:gd name="T0" fmla="*/ 453 w 1353"/>
                <a:gd name="T1" fmla="*/ 11 h 125"/>
                <a:gd name="T2" fmla="*/ 595 w 1353"/>
                <a:gd name="T3" fmla="*/ 10 h 125"/>
                <a:gd name="T4" fmla="*/ 741 w 1353"/>
                <a:gd name="T5" fmla="*/ 10 h 125"/>
                <a:gd name="T6" fmla="*/ 869 w 1353"/>
                <a:gd name="T7" fmla="*/ 9 h 125"/>
                <a:gd name="T8" fmla="*/ 1021 w 1353"/>
                <a:gd name="T9" fmla="*/ 9 h 125"/>
                <a:gd name="T10" fmla="*/ 1167 w 1353"/>
                <a:gd name="T11" fmla="*/ 8 h 125"/>
                <a:gd name="T12" fmla="*/ 1309 w 1353"/>
                <a:gd name="T13" fmla="*/ 7 h 125"/>
                <a:gd name="T14" fmla="*/ 1449 w 1353"/>
                <a:gd name="T15" fmla="*/ 6 h 125"/>
                <a:gd name="T16" fmla="*/ 1577 w 1353"/>
                <a:gd name="T17" fmla="*/ 5 h 125"/>
                <a:gd name="T18" fmla="*/ 1716 w 1353"/>
                <a:gd name="T19" fmla="*/ 5 h 125"/>
                <a:gd name="T20" fmla="*/ 1838 w 1353"/>
                <a:gd name="T21" fmla="*/ 5 h 125"/>
                <a:gd name="T22" fmla="*/ 1950 w 1353"/>
                <a:gd name="T23" fmla="*/ 5 h 125"/>
                <a:gd name="T24" fmla="*/ 2052 w 1353"/>
                <a:gd name="T25" fmla="*/ 5 h 125"/>
                <a:gd name="T26" fmla="*/ 2157 w 1353"/>
                <a:gd name="T27" fmla="*/ 5 h 125"/>
                <a:gd name="T28" fmla="*/ 2262 w 1353"/>
                <a:gd name="T29" fmla="*/ 5 h 125"/>
                <a:gd name="T30" fmla="*/ 2347 w 1353"/>
                <a:gd name="T31" fmla="*/ 5 h 125"/>
                <a:gd name="T32" fmla="*/ 2415 w 1353"/>
                <a:gd name="T33" fmla="*/ 5 h 125"/>
                <a:gd name="T34" fmla="*/ 2491 w 1353"/>
                <a:gd name="T35" fmla="*/ 5 h 125"/>
                <a:gd name="T36" fmla="*/ 2568 w 1353"/>
                <a:gd name="T37" fmla="*/ 0 h 125"/>
                <a:gd name="T38" fmla="*/ 2585 w 1353"/>
                <a:gd name="T39" fmla="*/ 5 h 125"/>
                <a:gd name="T40" fmla="*/ 2529 w 1353"/>
                <a:gd name="T41" fmla="*/ 5 h 125"/>
                <a:gd name="T42" fmla="*/ 2447 w 1353"/>
                <a:gd name="T43" fmla="*/ 5 h 125"/>
                <a:gd name="T44" fmla="*/ 2354 w 1353"/>
                <a:gd name="T45" fmla="*/ 5 h 125"/>
                <a:gd name="T46" fmla="*/ 2294 w 1353"/>
                <a:gd name="T47" fmla="*/ 5 h 125"/>
                <a:gd name="T48" fmla="*/ 2221 w 1353"/>
                <a:gd name="T49" fmla="*/ 5 h 125"/>
                <a:gd name="T50" fmla="*/ 2150 w 1353"/>
                <a:gd name="T51" fmla="*/ 5 h 125"/>
                <a:gd name="T52" fmla="*/ 2076 w 1353"/>
                <a:gd name="T53" fmla="*/ 5 h 125"/>
                <a:gd name="T54" fmla="*/ 1986 w 1353"/>
                <a:gd name="T55" fmla="*/ 6 h 125"/>
                <a:gd name="T56" fmla="*/ 1905 w 1353"/>
                <a:gd name="T57" fmla="*/ 7 h 125"/>
                <a:gd name="T58" fmla="*/ 1827 w 1353"/>
                <a:gd name="T59" fmla="*/ 7 h 125"/>
                <a:gd name="T60" fmla="*/ 1716 w 1353"/>
                <a:gd name="T61" fmla="*/ 8 h 125"/>
                <a:gd name="T62" fmla="*/ 1637 w 1353"/>
                <a:gd name="T63" fmla="*/ 8 h 125"/>
                <a:gd name="T64" fmla="*/ 1534 w 1353"/>
                <a:gd name="T65" fmla="*/ 9 h 125"/>
                <a:gd name="T66" fmla="*/ 1437 w 1353"/>
                <a:gd name="T67" fmla="*/ 10 h 125"/>
                <a:gd name="T68" fmla="*/ 1344 w 1353"/>
                <a:gd name="T69" fmla="*/ 10 h 125"/>
                <a:gd name="T70" fmla="*/ 1247 w 1353"/>
                <a:gd name="T71" fmla="*/ 10 h 125"/>
                <a:gd name="T72" fmla="*/ 1149 w 1353"/>
                <a:gd name="T73" fmla="*/ 11 h 125"/>
                <a:gd name="T74" fmla="*/ 1060 w 1353"/>
                <a:gd name="T75" fmla="*/ 11 h 125"/>
                <a:gd name="T76" fmla="*/ 958 w 1353"/>
                <a:gd name="T77" fmla="*/ 11 h 125"/>
                <a:gd name="T78" fmla="*/ 869 w 1353"/>
                <a:gd name="T79" fmla="*/ 12 h 125"/>
                <a:gd name="T80" fmla="*/ 792 w 1353"/>
                <a:gd name="T81" fmla="*/ 12 h 125"/>
                <a:gd name="T82" fmla="*/ 708 w 1353"/>
                <a:gd name="T83" fmla="*/ 12 h 125"/>
                <a:gd name="T84" fmla="*/ 617 w 1353"/>
                <a:gd name="T85" fmla="*/ 12 h 125"/>
                <a:gd name="T86" fmla="*/ 547 w 1353"/>
                <a:gd name="T87" fmla="*/ 12 h 125"/>
                <a:gd name="T88" fmla="*/ 477 w 1353"/>
                <a:gd name="T89" fmla="*/ 12 h 125"/>
                <a:gd name="T90" fmla="*/ 410 w 1353"/>
                <a:gd name="T91" fmla="*/ 12 h 125"/>
                <a:gd name="T92" fmla="*/ 321 w 1353"/>
                <a:gd name="T93" fmla="*/ 12 h 125"/>
                <a:gd name="T94" fmla="*/ 216 w 1353"/>
                <a:gd name="T95" fmla="*/ 12 h 125"/>
                <a:gd name="T96" fmla="*/ 130 w 1353"/>
                <a:gd name="T97" fmla="*/ 12 h 125"/>
                <a:gd name="T98" fmla="*/ 58 w 1353"/>
                <a:gd name="T99" fmla="*/ 12 h 125"/>
                <a:gd name="T100" fmla="*/ 0 w 1353"/>
                <a:gd name="T101" fmla="*/ 12 h 125"/>
                <a:gd name="T102" fmla="*/ 49 w 1353"/>
                <a:gd name="T103" fmla="*/ 12 h 125"/>
                <a:gd name="T104" fmla="*/ 115 w 1353"/>
                <a:gd name="T105" fmla="*/ 12 h 125"/>
                <a:gd name="T106" fmla="*/ 216 w 1353"/>
                <a:gd name="T107" fmla="*/ 12 h 125"/>
                <a:gd name="T108" fmla="*/ 287 w 1353"/>
                <a:gd name="T109" fmla="*/ 11 h 125"/>
                <a:gd name="T110" fmla="*/ 350 w 1353"/>
                <a:gd name="T111" fmla="*/ 11 h 125"/>
                <a:gd name="T112" fmla="*/ 357 w 1353"/>
                <a:gd name="T113" fmla="*/ 11 h 1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353"/>
                <a:gd name="T172" fmla="*/ 0 h 125"/>
                <a:gd name="T173" fmla="*/ 1353 w 1353"/>
                <a:gd name="T174" fmla="*/ 125 h 12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353" h="125">
                  <a:moveTo>
                    <a:pt x="187" y="108"/>
                  </a:moveTo>
                  <a:lnTo>
                    <a:pt x="210" y="108"/>
                  </a:lnTo>
                  <a:lnTo>
                    <a:pt x="238" y="108"/>
                  </a:lnTo>
                  <a:lnTo>
                    <a:pt x="260" y="105"/>
                  </a:lnTo>
                  <a:lnTo>
                    <a:pt x="283" y="105"/>
                  </a:lnTo>
                  <a:lnTo>
                    <a:pt x="311" y="102"/>
                  </a:lnTo>
                  <a:lnTo>
                    <a:pt x="334" y="102"/>
                  </a:lnTo>
                  <a:lnTo>
                    <a:pt x="361" y="102"/>
                  </a:lnTo>
                  <a:lnTo>
                    <a:pt x="388" y="100"/>
                  </a:lnTo>
                  <a:lnTo>
                    <a:pt x="407" y="97"/>
                  </a:lnTo>
                  <a:lnTo>
                    <a:pt x="434" y="97"/>
                  </a:lnTo>
                  <a:lnTo>
                    <a:pt x="457" y="94"/>
                  </a:lnTo>
                  <a:lnTo>
                    <a:pt x="484" y="94"/>
                  </a:lnTo>
                  <a:lnTo>
                    <a:pt x="512" y="91"/>
                  </a:lnTo>
                  <a:lnTo>
                    <a:pt x="535" y="91"/>
                  </a:lnTo>
                  <a:lnTo>
                    <a:pt x="562" y="85"/>
                  </a:lnTo>
                  <a:lnTo>
                    <a:pt x="589" y="85"/>
                  </a:lnTo>
                  <a:lnTo>
                    <a:pt x="612" y="83"/>
                  </a:lnTo>
                  <a:lnTo>
                    <a:pt x="635" y="83"/>
                  </a:lnTo>
                  <a:lnTo>
                    <a:pt x="658" y="77"/>
                  </a:lnTo>
                  <a:lnTo>
                    <a:pt x="685" y="74"/>
                  </a:lnTo>
                  <a:lnTo>
                    <a:pt x="708" y="74"/>
                  </a:lnTo>
                  <a:lnTo>
                    <a:pt x="736" y="71"/>
                  </a:lnTo>
                  <a:lnTo>
                    <a:pt x="759" y="68"/>
                  </a:lnTo>
                  <a:lnTo>
                    <a:pt x="781" y="68"/>
                  </a:lnTo>
                  <a:lnTo>
                    <a:pt x="804" y="65"/>
                  </a:lnTo>
                  <a:lnTo>
                    <a:pt x="827" y="63"/>
                  </a:lnTo>
                  <a:lnTo>
                    <a:pt x="850" y="60"/>
                  </a:lnTo>
                  <a:lnTo>
                    <a:pt x="877" y="60"/>
                  </a:lnTo>
                  <a:lnTo>
                    <a:pt x="900" y="54"/>
                  </a:lnTo>
                  <a:lnTo>
                    <a:pt x="919" y="54"/>
                  </a:lnTo>
                  <a:lnTo>
                    <a:pt x="941" y="51"/>
                  </a:lnTo>
                  <a:lnTo>
                    <a:pt x="964" y="48"/>
                  </a:lnTo>
                  <a:lnTo>
                    <a:pt x="982" y="46"/>
                  </a:lnTo>
                  <a:lnTo>
                    <a:pt x="1005" y="43"/>
                  </a:lnTo>
                  <a:lnTo>
                    <a:pt x="1024" y="43"/>
                  </a:lnTo>
                  <a:lnTo>
                    <a:pt x="1042" y="40"/>
                  </a:lnTo>
                  <a:lnTo>
                    <a:pt x="1060" y="34"/>
                  </a:lnTo>
                  <a:lnTo>
                    <a:pt x="1078" y="34"/>
                  </a:lnTo>
                  <a:lnTo>
                    <a:pt x="1101" y="31"/>
                  </a:lnTo>
                  <a:lnTo>
                    <a:pt x="1120" y="31"/>
                  </a:lnTo>
                  <a:lnTo>
                    <a:pt x="1133" y="26"/>
                  </a:lnTo>
                  <a:lnTo>
                    <a:pt x="1152" y="26"/>
                  </a:lnTo>
                  <a:lnTo>
                    <a:pt x="1170" y="23"/>
                  </a:lnTo>
                  <a:lnTo>
                    <a:pt x="1188" y="23"/>
                  </a:lnTo>
                  <a:lnTo>
                    <a:pt x="1202" y="20"/>
                  </a:lnTo>
                  <a:lnTo>
                    <a:pt x="1216" y="20"/>
                  </a:lnTo>
                  <a:lnTo>
                    <a:pt x="1229" y="14"/>
                  </a:lnTo>
                  <a:lnTo>
                    <a:pt x="1243" y="14"/>
                  </a:lnTo>
                  <a:lnTo>
                    <a:pt x="1257" y="11"/>
                  </a:lnTo>
                  <a:lnTo>
                    <a:pt x="1266" y="11"/>
                  </a:lnTo>
                  <a:lnTo>
                    <a:pt x="1280" y="9"/>
                  </a:lnTo>
                  <a:lnTo>
                    <a:pt x="1289" y="9"/>
                  </a:lnTo>
                  <a:lnTo>
                    <a:pt x="1307" y="6"/>
                  </a:lnTo>
                  <a:lnTo>
                    <a:pt x="1325" y="6"/>
                  </a:lnTo>
                  <a:lnTo>
                    <a:pt x="1334" y="0"/>
                  </a:lnTo>
                  <a:lnTo>
                    <a:pt x="1348" y="0"/>
                  </a:lnTo>
                  <a:lnTo>
                    <a:pt x="1353" y="0"/>
                  </a:lnTo>
                  <a:lnTo>
                    <a:pt x="1353" y="37"/>
                  </a:lnTo>
                  <a:lnTo>
                    <a:pt x="1348" y="37"/>
                  </a:lnTo>
                  <a:lnTo>
                    <a:pt x="1334" y="40"/>
                  </a:lnTo>
                  <a:lnTo>
                    <a:pt x="1325" y="40"/>
                  </a:lnTo>
                  <a:lnTo>
                    <a:pt x="1316" y="43"/>
                  </a:lnTo>
                  <a:lnTo>
                    <a:pt x="1298" y="43"/>
                  </a:lnTo>
                  <a:lnTo>
                    <a:pt x="1284" y="46"/>
                  </a:lnTo>
                  <a:lnTo>
                    <a:pt x="1266" y="46"/>
                  </a:lnTo>
                  <a:lnTo>
                    <a:pt x="1243" y="48"/>
                  </a:lnTo>
                  <a:lnTo>
                    <a:pt x="1234" y="48"/>
                  </a:lnTo>
                  <a:lnTo>
                    <a:pt x="1225" y="48"/>
                  </a:lnTo>
                  <a:lnTo>
                    <a:pt x="1211" y="51"/>
                  </a:lnTo>
                  <a:lnTo>
                    <a:pt x="1202" y="54"/>
                  </a:lnTo>
                  <a:lnTo>
                    <a:pt x="1188" y="54"/>
                  </a:lnTo>
                  <a:lnTo>
                    <a:pt x="1179" y="54"/>
                  </a:lnTo>
                  <a:lnTo>
                    <a:pt x="1165" y="54"/>
                  </a:lnTo>
                  <a:lnTo>
                    <a:pt x="1152" y="57"/>
                  </a:lnTo>
                  <a:lnTo>
                    <a:pt x="1138" y="60"/>
                  </a:lnTo>
                  <a:lnTo>
                    <a:pt x="1129" y="63"/>
                  </a:lnTo>
                  <a:lnTo>
                    <a:pt x="1115" y="63"/>
                  </a:lnTo>
                  <a:lnTo>
                    <a:pt x="1101" y="65"/>
                  </a:lnTo>
                  <a:lnTo>
                    <a:pt x="1088" y="65"/>
                  </a:lnTo>
                  <a:lnTo>
                    <a:pt x="1074" y="68"/>
                  </a:lnTo>
                  <a:lnTo>
                    <a:pt x="1060" y="68"/>
                  </a:lnTo>
                  <a:lnTo>
                    <a:pt x="1042" y="68"/>
                  </a:lnTo>
                  <a:lnTo>
                    <a:pt x="1024" y="71"/>
                  </a:lnTo>
                  <a:lnTo>
                    <a:pt x="1010" y="71"/>
                  </a:lnTo>
                  <a:lnTo>
                    <a:pt x="1001" y="74"/>
                  </a:lnTo>
                  <a:lnTo>
                    <a:pt x="982" y="74"/>
                  </a:lnTo>
                  <a:lnTo>
                    <a:pt x="969" y="74"/>
                  </a:lnTo>
                  <a:lnTo>
                    <a:pt x="955" y="77"/>
                  </a:lnTo>
                  <a:lnTo>
                    <a:pt x="937" y="80"/>
                  </a:lnTo>
                  <a:lnTo>
                    <a:pt x="919" y="83"/>
                  </a:lnTo>
                  <a:lnTo>
                    <a:pt x="900" y="83"/>
                  </a:lnTo>
                  <a:lnTo>
                    <a:pt x="887" y="83"/>
                  </a:lnTo>
                  <a:lnTo>
                    <a:pt x="868" y="85"/>
                  </a:lnTo>
                  <a:lnTo>
                    <a:pt x="859" y="85"/>
                  </a:lnTo>
                  <a:lnTo>
                    <a:pt x="841" y="85"/>
                  </a:lnTo>
                  <a:lnTo>
                    <a:pt x="823" y="91"/>
                  </a:lnTo>
                  <a:lnTo>
                    <a:pt x="804" y="91"/>
                  </a:lnTo>
                  <a:lnTo>
                    <a:pt x="791" y="94"/>
                  </a:lnTo>
                  <a:lnTo>
                    <a:pt x="772" y="94"/>
                  </a:lnTo>
                  <a:lnTo>
                    <a:pt x="754" y="97"/>
                  </a:lnTo>
                  <a:lnTo>
                    <a:pt x="736" y="97"/>
                  </a:lnTo>
                  <a:lnTo>
                    <a:pt x="722" y="97"/>
                  </a:lnTo>
                  <a:lnTo>
                    <a:pt x="704" y="97"/>
                  </a:lnTo>
                  <a:lnTo>
                    <a:pt x="690" y="102"/>
                  </a:lnTo>
                  <a:lnTo>
                    <a:pt x="672" y="102"/>
                  </a:lnTo>
                  <a:lnTo>
                    <a:pt x="653" y="102"/>
                  </a:lnTo>
                  <a:lnTo>
                    <a:pt x="635" y="105"/>
                  </a:lnTo>
                  <a:lnTo>
                    <a:pt x="621" y="105"/>
                  </a:lnTo>
                  <a:lnTo>
                    <a:pt x="603" y="108"/>
                  </a:lnTo>
                  <a:lnTo>
                    <a:pt x="589" y="108"/>
                  </a:lnTo>
                  <a:lnTo>
                    <a:pt x="571" y="108"/>
                  </a:lnTo>
                  <a:lnTo>
                    <a:pt x="557" y="108"/>
                  </a:lnTo>
                  <a:lnTo>
                    <a:pt x="539" y="111"/>
                  </a:lnTo>
                  <a:lnTo>
                    <a:pt x="521" y="114"/>
                  </a:lnTo>
                  <a:lnTo>
                    <a:pt x="503" y="114"/>
                  </a:lnTo>
                  <a:lnTo>
                    <a:pt x="493" y="114"/>
                  </a:lnTo>
                  <a:lnTo>
                    <a:pt x="475" y="117"/>
                  </a:lnTo>
                  <a:lnTo>
                    <a:pt x="457" y="117"/>
                  </a:lnTo>
                  <a:lnTo>
                    <a:pt x="443" y="117"/>
                  </a:lnTo>
                  <a:lnTo>
                    <a:pt x="425" y="117"/>
                  </a:lnTo>
                  <a:lnTo>
                    <a:pt x="416" y="117"/>
                  </a:lnTo>
                  <a:lnTo>
                    <a:pt x="398" y="117"/>
                  </a:lnTo>
                  <a:lnTo>
                    <a:pt x="384" y="117"/>
                  </a:lnTo>
                  <a:lnTo>
                    <a:pt x="370" y="117"/>
                  </a:lnTo>
                  <a:lnTo>
                    <a:pt x="352" y="120"/>
                  </a:lnTo>
                  <a:lnTo>
                    <a:pt x="343" y="120"/>
                  </a:lnTo>
                  <a:lnTo>
                    <a:pt x="324" y="120"/>
                  </a:lnTo>
                  <a:lnTo>
                    <a:pt x="315" y="120"/>
                  </a:lnTo>
                  <a:lnTo>
                    <a:pt x="297" y="120"/>
                  </a:lnTo>
                  <a:lnTo>
                    <a:pt x="288" y="122"/>
                  </a:lnTo>
                  <a:lnTo>
                    <a:pt x="274" y="122"/>
                  </a:lnTo>
                  <a:lnTo>
                    <a:pt x="260" y="122"/>
                  </a:lnTo>
                  <a:lnTo>
                    <a:pt x="251" y="122"/>
                  </a:lnTo>
                  <a:lnTo>
                    <a:pt x="238" y="125"/>
                  </a:lnTo>
                  <a:lnTo>
                    <a:pt x="224" y="125"/>
                  </a:lnTo>
                  <a:lnTo>
                    <a:pt x="215" y="125"/>
                  </a:lnTo>
                  <a:lnTo>
                    <a:pt x="201" y="125"/>
                  </a:lnTo>
                  <a:lnTo>
                    <a:pt x="192" y="125"/>
                  </a:lnTo>
                  <a:lnTo>
                    <a:pt x="169" y="125"/>
                  </a:lnTo>
                  <a:lnTo>
                    <a:pt x="151" y="125"/>
                  </a:lnTo>
                  <a:lnTo>
                    <a:pt x="132" y="125"/>
                  </a:lnTo>
                  <a:lnTo>
                    <a:pt x="114" y="125"/>
                  </a:lnTo>
                  <a:lnTo>
                    <a:pt x="96" y="125"/>
                  </a:lnTo>
                  <a:lnTo>
                    <a:pt x="78" y="125"/>
                  </a:lnTo>
                  <a:lnTo>
                    <a:pt x="68" y="125"/>
                  </a:lnTo>
                  <a:lnTo>
                    <a:pt x="55" y="125"/>
                  </a:lnTo>
                  <a:lnTo>
                    <a:pt x="46" y="125"/>
                  </a:lnTo>
                  <a:lnTo>
                    <a:pt x="32" y="125"/>
                  </a:lnTo>
                  <a:lnTo>
                    <a:pt x="14" y="125"/>
                  </a:lnTo>
                  <a:lnTo>
                    <a:pt x="9" y="125"/>
                  </a:lnTo>
                  <a:lnTo>
                    <a:pt x="0" y="125"/>
                  </a:lnTo>
                  <a:lnTo>
                    <a:pt x="9" y="125"/>
                  </a:lnTo>
                  <a:lnTo>
                    <a:pt x="23" y="125"/>
                  </a:lnTo>
                  <a:lnTo>
                    <a:pt x="32" y="125"/>
                  </a:lnTo>
                  <a:lnTo>
                    <a:pt x="46" y="122"/>
                  </a:lnTo>
                  <a:lnTo>
                    <a:pt x="59" y="120"/>
                  </a:lnTo>
                  <a:lnTo>
                    <a:pt x="78" y="120"/>
                  </a:lnTo>
                  <a:lnTo>
                    <a:pt x="96" y="117"/>
                  </a:lnTo>
                  <a:lnTo>
                    <a:pt x="114" y="117"/>
                  </a:lnTo>
                  <a:lnTo>
                    <a:pt x="123" y="117"/>
                  </a:lnTo>
                  <a:lnTo>
                    <a:pt x="137" y="114"/>
                  </a:lnTo>
                  <a:lnTo>
                    <a:pt x="151" y="111"/>
                  </a:lnTo>
                  <a:lnTo>
                    <a:pt x="164" y="111"/>
                  </a:lnTo>
                  <a:lnTo>
                    <a:pt x="174" y="108"/>
                  </a:lnTo>
                  <a:lnTo>
                    <a:pt x="183" y="108"/>
                  </a:lnTo>
                  <a:lnTo>
                    <a:pt x="187" y="108"/>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71" name="Freeform 182"/>
            <p:cNvSpPr>
              <a:spLocks/>
            </p:cNvSpPr>
            <p:nvPr>
              <p:custDataLst>
                <p:tags r:id="rId170"/>
              </p:custDataLst>
            </p:nvPr>
          </p:nvSpPr>
          <p:spPr bwMode="gray">
            <a:xfrm>
              <a:off x="1265" y="1784"/>
              <a:ext cx="1077" cy="162"/>
            </a:xfrm>
            <a:custGeom>
              <a:avLst/>
              <a:gdLst>
                <a:gd name="T0" fmla="*/ 9 w 1051"/>
                <a:gd name="T1" fmla="*/ 9 h 177"/>
                <a:gd name="T2" fmla="*/ 63 w 1051"/>
                <a:gd name="T3" fmla="*/ 7 h 177"/>
                <a:gd name="T4" fmla="*/ 129 w 1051"/>
                <a:gd name="T5" fmla="*/ 6 h 177"/>
                <a:gd name="T6" fmla="*/ 170 w 1051"/>
                <a:gd name="T7" fmla="*/ 5 h 177"/>
                <a:gd name="T8" fmla="*/ 208 w 1051"/>
                <a:gd name="T9" fmla="*/ 5 h 177"/>
                <a:gd name="T10" fmla="*/ 248 w 1051"/>
                <a:gd name="T11" fmla="*/ 5 h 177"/>
                <a:gd name="T12" fmla="*/ 301 w 1051"/>
                <a:gd name="T13" fmla="*/ 5 h 177"/>
                <a:gd name="T14" fmla="*/ 337 w 1051"/>
                <a:gd name="T15" fmla="*/ 5 h 177"/>
                <a:gd name="T16" fmla="*/ 395 w 1051"/>
                <a:gd name="T17" fmla="*/ 5 h 177"/>
                <a:gd name="T18" fmla="*/ 455 w 1051"/>
                <a:gd name="T19" fmla="*/ 3 h 177"/>
                <a:gd name="T20" fmla="*/ 501 w 1051"/>
                <a:gd name="T21" fmla="*/ 0 h 177"/>
                <a:gd name="T22" fmla="*/ 974 w 1051"/>
                <a:gd name="T23" fmla="*/ 14 h 177"/>
                <a:gd name="T24" fmla="*/ 991 w 1051"/>
                <a:gd name="T25" fmla="*/ 14 h 177"/>
                <a:gd name="T26" fmla="*/ 1050 w 1051"/>
                <a:gd name="T27" fmla="*/ 13 h 177"/>
                <a:gd name="T28" fmla="*/ 1089 w 1051"/>
                <a:gd name="T29" fmla="*/ 12 h 177"/>
                <a:gd name="T30" fmla="*/ 1141 w 1051"/>
                <a:gd name="T31" fmla="*/ 11 h 177"/>
                <a:gd name="T32" fmla="*/ 1179 w 1051"/>
                <a:gd name="T33" fmla="*/ 10 h 177"/>
                <a:gd name="T34" fmla="*/ 1242 w 1051"/>
                <a:gd name="T35" fmla="*/ 8 h 177"/>
                <a:gd name="T36" fmla="*/ 1289 w 1051"/>
                <a:gd name="T37" fmla="*/ 6 h 177"/>
                <a:gd name="T38" fmla="*/ 1336 w 1051"/>
                <a:gd name="T39" fmla="*/ 5 h 177"/>
                <a:gd name="T40" fmla="*/ 1372 w 1051"/>
                <a:gd name="T41" fmla="*/ 5 h 177"/>
                <a:gd name="T42" fmla="*/ 1425 w 1051"/>
                <a:gd name="T43" fmla="*/ 5 h 177"/>
                <a:gd name="T44" fmla="*/ 1467 w 1051"/>
                <a:gd name="T45" fmla="*/ 5 h 177"/>
                <a:gd name="T46" fmla="*/ 1502 w 1051"/>
                <a:gd name="T47" fmla="*/ 5 h 177"/>
                <a:gd name="T48" fmla="*/ 1542 w 1051"/>
                <a:gd name="T49" fmla="*/ 5 h 177"/>
                <a:gd name="T50" fmla="*/ 1571 w 1051"/>
                <a:gd name="T51" fmla="*/ 5 h 177"/>
                <a:gd name="T52" fmla="*/ 1631 w 1051"/>
                <a:gd name="T53" fmla="*/ 5 h 177"/>
                <a:gd name="T54" fmla="*/ 1698 w 1051"/>
                <a:gd name="T55" fmla="*/ 7 h 177"/>
                <a:gd name="T56" fmla="*/ 1734 w 1051"/>
                <a:gd name="T57" fmla="*/ 9 h 177"/>
                <a:gd name="T58" fmla="*/ 1776 w 1051"/>
                <a:gd name="T59" fmla="*/ 11 h 177"/>
                <a:gd name="T60" fmla="*/ 1858 w 1051"/>
                <a:gd name="T61" fmla="*/ 13 h 177"/>
                <a:gd name="T62" fmla="*/ 1920 w 1051"/>
                <a:gd name="T63" fmla="*/ 15 h 177"/>
                <a:gd name="T64" fmla="*/ 1958 w 1051"/>
                <a:gd name="T65" fmla="*/ 16 h 177"/>
                <a:gd name="T66" fmla="*/ 1983 w 1051"/>
                <a:gd name="T67" fmla="*/ 16 h 177"/>
                <a:gd name="T68" fmla="*/ 1495 w 1051"/>
                <a:gd name="T69" fmla="*/ 6 h 177"/>
                <a:gd name="T70" fmla="*/ 474 w 1051"/>
                <a:gd name="T71" fmla="*/ 5 h 177"/>
                <a:gd name="T72" fmla="*/ 0 w 1051"/>
                <a:gd name="T73" fmla="*/ 10 h 1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51"/>
                <a:gd name="T112" fmla="*/ 0 h 177"/>
                <a:gd name="T113" fmla="*/ 1051 w 1051"/>
                <a:gd name="T114" fmla="*/ 177 h 17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51" h="177">
                  <a:moveTo>
                    <a:pt x="0" y="91"/>
                  </a:moveTo>
                  <a:lnTo>
                    <a:pt x="9" y="85"/>
                  </a:lnTo>
                  <a:lnTo>
                    <a:pt x="23" y="80"/>
                  </a:lnTo>
                  <a:lnTo>
                    <a:pt x="36" y="74"/>
                  </a:lnTo>
                  <a:lnTo>
                    <a:pt x="55" y="68"/>
                  </a:lnTo>
                  <a:lnTo>
                    <a:pt x="68" y="63"/>
                  </a:lnTo>
                  <a:lnTo>
                    <a:pt x="73" y="60"/>
                  </a:lnTo>
                  <a:lnTo>
                    <a:pt x="91" y="54"/>
                  </a:lnTo>
                  <a:lnTo>
                    <a:pt x="96" y="51"/>
                  </a:lnTo>
                  <a:lnTo>
                    <a:pt x="110" y="48"/>
                  </a:lnTo>
                  <a:lnTo>
                    <a:pt x="123" y="46"/>
                  </a:lnTo>
                  <a:lnTo>
                    <a:pt x="132" y="40"/>
                  </a:lnTo>
                  <a:lnTo>
                    <a:pt x="146" y="37"/>
                  </a:lnTo>
                  <a:lnTo>
                    <a:pt x="160" y="34"/>
                  </a:lnTo>
                  <a:lnTo>
                    <a:pt x="169" y="28"/>
                  </a:lnTo>
                  <a:lnTo>
                    <a:pt x="178" y="26"/>
                  </a:lnTo>
                  <a:lnTo>
                    <a:pt x="192" y="23"/>
                  </a:lnTo>
                  <a:lnTo>
                    <a:pt x="210" y="14"/>
                  </a:lnTo>
                  <a:lnTo>
                    <a:pt x="228" y="8"/>
                  </a:lnTo>
                  <a:lnTo>
                    <a:pt x="242" y="3"/>
                  </a:lnTo>
                  <a:lnTo>
                    <a:pt x="256" y="3"/>
                  </a:lnTo>
                  <a:lnTo>
                    <a:pt x="265" y="0"/>
                  </a:lnTo>
                  <a:lnTo>
                    <a:pt x="516" y="139"/>
                  </a:lnTo>
                  <a:lnTo>
                    <a:pt x="516" y="137"/>
                  </a:lnTo>
                  <a:lnTo>
                    <a:pt x="525" y="134"/>
                  </a:lnTo>
                  <a:lnTo>
                    <a:pt x="539" y="125"/>
                  </a:lnTo>
                  <a:lnTo>
                    <a:pt x="557" y="120"/>
                  </a:lnTo>
                  <a:lnTo>
                    <a:pt x="567" y="114"/>
                  </a:lnTo>
                  <a:lnTo>
                    <a:pt x="576" y="111"/>
                  </a:lnTo>
                  <a:lnTo>
                    <a:pt x="585" y="105"/>
                  </a:lnTo>
                  <a:lnTo>
                    <a:pt x="603" y="100"/>
                  </a:lnTo>
                  <a:lnTo>
                    <a:pt x="612" y="94"/>
                  </a:lnTo>
                  <a:lnTo>
                    <a:pt x="626" y="91"/>
                  </a:lnTo>
                  <a:lnTo>
                    <a:pt x="640" y="85"/>
                  </a:lnTo>
                  <a:lnTo>
                    <a:pt x="658" y="80"/>
                  </a:lnTo>
                  <a:lnTo>
                    <a:pt x="663" y="71"/>
                  </a:lnTo>
                  <a:lnTo>
                    <a:pt x="681" y="68"/>
                  </a:lnTo>
                  <a:lnTo>
                    <a:pt x="695" y="63"/>
                  </a:lnTo>
                  <a:lnTo>
                    <a:pt x="708" y="60"/>
                  </a:lnTo>
                  <a:lnTo>
                    <a:pt x="717" y="51"/>
                  </a:lnTo>
                  <a:lnTo>
                    <a:pt x="727" y="48"/>
                  </a:lnTo>
                  <a:lnTo>
                    <a:pt x="745" y="46"/>
                  </a:lnTo>
                  <a:lnTo>
                    <a:pt x="754" y="40"/>
                  </a:lnTo>
                  <a:lnTo>
                    <a:pt x="763" y="37"/>
                  </a:lnTo>
                  <a:lnTo>
                    <a:pt x="777" y="34"/>
                  </a:lnTo>
                  <a:lnTo>
                    <a:pt x="781" y="28"/>
                  </a:lnTo>
                  <a:lnTo>
                    <a:pt x="795" y="28"/>
                  </a:lnTo>
                  <a:lnTo>
                    <a:pt x="804" y="26"/>
                  </a:lnTo>
                  <a:lnTo>
                    <a:pt x="818" y="26"/>
                  </a:lnTo>
                  <a:lnTo>
                    <a:pt x="818" y="28"/>
                  </a:lnTo>
                  <a:lnTo>
                    <a:pt x="832" y="34"/>
                  </a:lnTo>
                  <a:lnTo>
                    <a:pt x="845" y="40"/>
                  </a:lnTo>
                  <a:lnTo>
                    <a:pt x="864" y="51"/>
                  </a:lnTo>
                  <a:lnTo>
                    <a:pt x="877" y="60"/>
                  </a:lnTo>
                  <a:lnTo>
                    <a:pt x="900" y="71"/>
                  </a:lnTo>
                  <a:lnTo>
                    <a:pt x="909" y="80"/>
                  </a:lnTo>
                  <a:lnTo>
                    <a:pt x="919" y="85"/>
                  </a:lnTo>
                  <a:lnTo>
                    <a:pt x="932" y="91"/>
                  </a:lnTo>
                  <a:lnTo>
                    <a:pt x="941" y="100"/>
                  </a:lnTo>
                  <a:lnTo>
                    <a:pt x="964" y="111"/>
                  </a:lnTo>
                  <a:lnTo>
                    <a:pt x="983" y="122"/>
                  </a:lnTo>
                  <a:lnTo>
                    <a:pt x="1001" y="134"/>
                  </a:lnTo>
                  <a:lnTo>
                    <a:pt x="1019" y="142"/>
                  </a:lnTo>
                  <a:lnTo>
                    <a:pt x="1028" y="151"/>
                  </a:lnTo>
                  <a:lnTo>
                    <a:pt x="1037" y="157"/>
                  </a:lnTo>
                  <a:lnTo>
                    <a:pt x="1051" y="162"/>
                  </a:lnTo>
                  <a:lnTo>
                    <a:pt x="992" y="171"/>
                  </a:lnTo>
                  <a:lnTo>
                    <a:pt x="791" y="63"/>
                  </a:lnTo>
                  <a:lnTo>
                    <a:pt x="489" y="177"/>
                  </a:lnTo>
                  <a:lnTo>
                    <a:pt x="251" y="40"/>
                  </a:lnTo>
                  <a:lnTo>
                    <a:pt x="0" y="91"/>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72" name="Freeform 183"/>
            <p:cNvSpPr>
              <a:spLocks/>
            </p:cNvSpPr>
            <p:nvPr>
              <p:custDataLst>
                <p:tags r:id="rId171"/>
              </p:custDataLst>
            </p:nvPr>
          </p:nvSpPr>
          <p:spPr bwMode="gray">
            <a:xfrm>
              <a:off x="3448" y="1776"/>
              <a:ext cx="890" cy="193"/>
            </a:xfrm>
            <a:custGeom>
              <a:avLst/>
              <a:gdLst>
                <a:gd name="T0" fmla="*/ 13 w 868"/>
                <a:gd name="T1" fmla="*/ 14 h 211"/>
                <a:gd name="T2" fmla="*/ 74 w 868"/>
                <a:gd name="T3" fmla="*/ 12 h 211"/>
                <a:gd name="T4" fmla="*/ 124 w 868"/>
                <a:gd name="T5" fmla="*/ 10 h 211"/>
                <a:gd name="T6" fmla="*/ 173 w 868"/>
                <a:gd name="T7" fmla="*/ 7 h 211"/>
                <a:gd name="T8" fmla="*/ 209 w 868"/>
                <a:gd name="T9" fmla="*/ 5 h 211"/>
                <a:gd name="T10" fmla="*/ 251 w 868"/>
                <a:gd name="T11" fmla="*/ 5 h 211"/>
                <a:gd name="T12" fmla="*/ 305 w 868"/>
                <a:gd name="T13" fmla="*/ 5 h 211"/>
                <a:gd name="T14" fmla="*/ 342 w 868"/>
                <a:gd name="T15" fmla="*/ 5 h 211"/>
                <a:gd name="T16" fmla="*/ 385 w 868"/>
                <a:gd name="T17" fmla="*/ 5 h 211"/>
                <a:gd name="T18" fmla="*/ 448 w 868"/>
                <a:gd name="T19" fmla="*/ 5 h 211"/>
                <a:gd name="T20" fmla="*/ 509 w 868"/>
                <a:gd name="T21" fmla="*/ 8 h 211"/>
                <a:gd name="T22" fmla="*/ 585 w 868"/>
                <a:gd name="T23" fmla="*/ 11 h 211"/>
                <a:gd name="T24" fmla="*/ 656 w 868"/>
                <a:gd name="T25" fmla="*/ 13 h 211"/>
                <a:gd name="T26" fmla="*/ 697 w 868"/>
                <a:gd name="T27" fmla="*/ 15 h 211"/>
                <a:gd name="T28" fmla="*/ 743 w 868"/>
                <a:gd name="T29" fmla="*/ 15 h 211"/>
                <a:gd name="T30" fmla="*/ 752 w 868"/>
                <a:gd name="T31" fmla="*/ 15 h 211"/>
                <a:gd name="T32" fmla="*/ 779 w 868"/>
                <a:gd name="T33" fmla="*/ 13 h 211"/>
                <a:gd name="T34" fmla="*/ 832 w 868"/>
                <a:gd name="T35" fmla="*/ 11 h 211"/>
                <a:gd name="T36" fmla="*/ 876 w 868"/>
                <a:gd name="T37" fmla="*/ 9 h 211"/>
                <a:gd name="T38" fmla="*/ 903 w 868"/>
                <a:gd name="T39" fmla="*/ 7 h 211"/>
                <a:gd name="T40" fmla="*/ 937 w 868"/>
                <a:gd name="T41" fmla="*/ 5 h 211"/>
                <a:gd name="T42" fmla="*/ 954 w 868"/>
                <a:gd name="T43" fmla="*/ 5 h 211"/>
                <a:gd name="T44" fmla="*/ 1005 w 868"/>
                <a:gd name="T45" fmla="*/ 5 h 211"/>
                <a:gd name="T46" fmla="*/ 1050 w 868"/>
                <a:gd name="T47" fmla="*/ 5 h 211"/>
                <a:gd name="T48" fmla="*/ 1083 w 868"/>
                <a:gd name="T49" fmla="*/ 0 h 211"/>
                <a:gd name="T50" fmla="*/ 1110 w 868"/>
                <a:gd name="T51" fmla="*/ 3 h 211"/>
                <a:gd name="T52" fmla="*/ 1147 w 868"/>
                <a:gd name="T53" fmla="*/ 5 h 211"/>
                <a:gd name="T54" fmla="*/ 1190 w 868"/>
                <a:gd name="T55" fmla="*/ 5 h 211"/>
                <a:gd name="T56" fmla="*/ 1224 w 868"/>
                <a:gd name="T57" fmla="*/ 5 h 211"/>
                <a:gd name="T58" fmla="*/ 1280 w 868"/>
                <a:gd name="T59" fmla="*/ 5 h 211"/>
                <a:gd name="T60" fmla="*/ 1321 w 868"/>
                <a:gd name="T61" fmla="*/ 5 h 211"/>
                <a:gd name="T62" fmla="*/ 1367 w 868"/>
                <a:gd name="T63" fmla="*/ 5 h 211"/>
                <a:gd name="T64" fmla="*/ 1426 w 868"/>
                <a:gd name="T65" fmla="*/ 7 h 211"/>
                <a:gd name="T66" fmla="*/ 1469 w 868"/>
                <a:gd name="T67" fmla="*/ 9 h 211"/>
                <a:gd name="T68" fmla="*/ 1515 w 868"/>
                <a:gd name="T69" fmla="*/ 10 h 211"/>
                <a:gd name="T70" fmla="*/ 1561 w 868"/>
                <a:gd name="T71" fmla="*/ 12 h 211"/>
                <a:gd name="T72" fmla="*/ 1612 w 868"/>
                <a:gd name="T73" fmla="*/ 13 h 211"/>
                <a:gd name="T74" fmla="*/ 1654 w 868"/>
                <a:gd name="T75" fmla="*/ 14 h 211"/>
                <a:gd name="T76" fmla="*/ 1447 w 868"/>
                <a:gd name="T77" fmla="*/ 15 h 211"/>
                <a:gd name="T78" fmla="*/ 1110 w 868"/>
                <a:gd name="T79" fmla="*/ 5 h 211"/>
                <a:gd name="T80" fmla="*/ 1083 w 868"/>
                <a:gd name="T81" fmla="*/ 5 h 211"/>
                <a:gd name="T82" fmla="*/ 1069 w 868"/>
                <a:gd name="T83" fmla="*/ 7 h 211"/>
                <a:gd name="T84" fmla="*/ 1043 w 868"/>
                <a:gd name="T85" fmla="*/ 9 h 211"/>
                <a:gd name="T86" fmla="*/ 1005 w 868"/>
                <a:gd name="T87" fmla="*/ 11 h 211"/>
                <a:gd name="T88" fmla="*/ 963 w 868"/>
                <a:gd name="T89" fmla="*/ 12 h 211"/>
                <a:gd name="T90" fmla="*/ 928 w 868"/>
                <a:gd name="T91" fmla="*/ 14 h 211"/>
                <a:gd name="T92" fmla="*/ 893 w 868"/>
                <a:gd name="T93" fmla="*/ 15 h 211"/>
                <a:gd name="T94" fmla="*/ 849 w 868"/>
                <a:gd name="T95" fmla="*/ 16 h 211"/>
                <a:gd name="T96" fmla="*/ 804 w 868"/>
                <a:gd name="T97" fmla="*/ 17 h 211"/>
                <a:gd name="T98" fmla="*/ 770 w 868"/>
                <a:gd name="T99" fmla="*/ 19 h 211"/>
                <a:gd name="T100" fmla="*/ 734 w 868"/>
                <a:gd name="T101" fmla="*/ 21 h 211"/>
                <a:gd name="T102" fmla="*/ 697 w 868"/>
                <a:gd name="T103" fmla="*/ 21 h 211"/>
                <a:gd name="T104" fmla="*/ 680 w 868"/>
                <a:gd name="T105" fmla="*/ 19 h 211"/>
                <a:gd name="T106" fmla="*/ 639 w 868"/>
                <a:gd name="T107" fmla="*/ 17 h 211"/>
                <a:gd name="T108" fmla="*/ 585 w 868"/>
                <a:gd name="T109" fmla="*/ 16 h 211"/>
                <a:gd name="T110" fmla="*/ 509 w 868"/>
                <a:gd name="T111" fmla="*/ 14 h 211"/>
                <a:gd name="T112" fmla="*/ 483 w 868"/>
                <a:gd name="T113" fmla="*/ 13 h 211"/>
                <a:gd name="T114" fmla="*/ 448 w 868"/>
                <a:gd name="T115" fmla="*/ 12 h 211"/>
                <a:gd name="T116" fmla="*/ 385 w 868"/>
                <a:gd name="T117" fmla="*/ 9 h 211"/>
                <a:gd name="T118" fmla="*/ 349 w 868"/>
                <a:gd name="T119" fmla="*/ 7 h 211"/>
                <a:gd name="T120" fmla="*/ 0 w 868"/>
                <a:gd name="T121" fmla="*/ 14 h 21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68"/>
                <a:gd name="T184" fmla="*/ 0 h 211"/>
                <a:gd name="T185" fmla="*/ 868 w 868"/>
                <a:gd name="T186" fmla="*/ 211 h 21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68" h="211">
                  <a:moveTo>
                    <a:pt x="0" y="140"/>
                  </a:moveTo>
                  <a:lnTo>
                    <a:pt x="13" y="131"/>
                  </a:lnTo>
                  <a:lnTo>
                    <a:pt x="27" y="123"/>
                  </a:lnTo>
                  <a:lnTo>
                    <a:pt x="41" y="111"/>
                  </a:lnTo>
                  <a:lnTo>
                    <a:pt x="54" y="103"/>
                  </a:lnTo>
                  <a:lnTo>
                    <a:pt x="64" y="92"/>
                  </a:lnTo>
                  <a:lnTo>
                    <a:pt x="77" y="83"/>
                  </a:lnTo>
                  <a:lnTo>
                    <a:pt x="91" y="74"/>
                  </a:lnTo>
                  <a:lnTo>
                    <a:pt x="105" y="66"/>
                  </a:lnTo>
                  <a:lnTo>
                    <a:pt x="109" y="57"/>
                  </a:lnTo>
                  <a:lnTo>
                    <a:pt x="123" y="49"/>
                  </a:lnTo>
                  <a:lnTo>
                    <a:pt x="132" y="43"/>
                  </a:lnTo>
                  <a:lnTo>
                    <a:pt x="146" y="37"/>
                  </a:lnTo>
                  <a:lnTo>
                    <a:pt x="160" y="29"/>
                  </a:lnTo>
                  <a:lnTo>
                    <a:pt x="173" y="26"/>
                  </a:lnTo>
                  <a:lnTo>
                    <a:pt x="178" y="29"/>
                  </a:lnTo>
                  <a:lnTo>
                    <a:pt x="187" y="35"/>
                  </a:lnTo>
                  <a:lnTo>
                    <a:pt x="201" y="37"/>
                  </a:lnTo>
                  <a:lnTo>
                    <a:pt x="214" y="49"/>
                  </a:lnTo>
                  <a:lnTo>
                    <a:pt x="233" y="57"/>
                  </a:lnTo>
                  <a:lnTo>
                    <a:pt x="251" y="69"/>
                  </a:lnTo>
                  <a:lnTo>
                    <a:pt x="265" y="80"/>
                  </a:lnTo>
                  <a:lnTo>
                    <a:pt x="288" y="94"/>
                  </a:lnTo>
                  <a:lnTo>
                    <a:pt x="306" y="103"/>
                  </a:lnTo>
                  <a:lnTo>
                    <a:pt x="324" y="114"/>
                  </a:lnTo>
                  <a:lnTo>
                    <a:pt x="342" y="126"/>
                  </a:lnTo>
                  <a:lnTo>
                    <a:pt x="356" y="134"/>
                  </a:lnTo>
                  <a:lnTo>
                    <a:pt x="365" y="143"/>
                  </a:lnTo>
                  <a:lnTo>
                    <a:pt x="379" y="146"/>
                  </a:lnTo>
                  <a:lnTo>
                    <a:pt x="388" y="148"/>
                  </a:lnTo>
                  <a:lnTo>
                    <a:pt x="393" y="148"/>
                  </a:lnTo>
                  <a:lnTo>
                    <a:pt x="393" y="143"/>
                  </a:lnTo>
                  <a:lnTo>
                    <a:pt x="402" y="134"/>
                  </a:lnTo>
                  <a:lnTo>
                    <a:pt x="406" y="126"/>
                  </a:lnTo>
                  <a:lnTo>
                    <a:pt x="420" y="114"/>
                  </a:lnTo>
                  <a:lnTo>
                    <a:pt x="434" y="103"/>
                  </a:lnTo>
                  <a:lnTo>
                    <a:pt x="447" y="92"/>
                  </a:lnTo>
                  <a:lnTo>
                    <a:pt x="457" y="86"/>
                  </a:lnTo>
                  <a:lnTo>
                    <a:pt x="466" y="80"/>
                  </a:lnTo>
                  <a:lnTo>
                    <a:pt x="470" y="72"/>
                  </a:lnTo>
                  <a:lnTo>
                    <a:pt x="479" y="69"/>
                  </a:lnTo>
                  <a:lnTo>
                    <a:pt x="489" y="60"/>
                  </a:lnTo>
                  <a:lnTo>
                    <a:pt x="493" y="55"/>
                  </a:lnTo>
                  <a:lnTo>
                    <a:pt x="498" y="46"/>
                  </a:lnTo>
                  <a:lnTo>
                    <a:pt x="507" y="40"/>
                  </a:lnTo>
                  <a:lnTo>
                    <a:pt x="525" y="29"/>
                  </a:lnTo>
                  <a:lnTo>
                    <a:pt x="539" y="20"/>
                  </a:lnTo>
                  <a:lnTo>
                    <a:pt x="548" y="12"/>
                  </a:lnTo>
                  <a:lnTo>
                    <a:pt x="562" y="3"/>
                  </a:lnTo>
                  <a:lnTo>
                    <a:pt x="566" y="0"/>
                  </a:lnTo>
                  <a:lnTo>
                    <a:pt x="580" y="0"/>
                  </a:lnTo>
                  <a:lnTo>
                    <a:pt x="580" y="3"/>
                  </a:lnTo>
                  <a:lnTo>
                    <a:pt x="594" y="6"/>
                  </a:lnTo>
                  <a:lnTo>
                    <a:pt x="598" y="9"/>
                  </a:lnTo>
                  <a:lnTo>
                    <a:pt x="612" y="12"/>
                  </a:lnTo>
                  <a:lnTo>
                    <a:pt x="621" y="17"/>
                  </a:lnTo>
                  <a:lnTo>
                    <a:pt x="630" y="23"/>
                  </a:lnTo>
                  <a:lnTo>
                    <a:pt x="639" y="26"/>
                  </a:lnTo>
                  <a:lnTo>
                    <a:pt x="653" y="32"/>
                  </a:lnTo>
                  <a:lnTo>
                    <a:pt x="667" y="37"/>
                  </a:lnTo>
                  <a:lnTo>
                    <a:pt x="676" y="43"/>
                  </a:lnTo>
                  <a:lnTo>
                    <a:pt x="690" y="49"/>
                  </a:lnTo>
                  <a:lnTo>
                    <a:pt x="703" y="57"/>
                  </a:lnTo>
                  <a:lnTo>
                    <a:pt x="713" y="60"/>
                  </a:lnTo>
                  <a:lnTo>
                    <a:pt x="731" y="69"/>
                  </a:lnTo>
                  <a:lnTo>
                    <a:pt x="745" y="74"/>
                  </a:lnTo>
                  <a:lnTo>
                    <a:pt x="754" y="80"/>
                  </a:lnTo>
                  <a:lnTo>
                    <a:pt x="767" y="86"/>
                  </a:lnTo>
                  <a:lnTo>
                    <a:pt x="781" y="92"/>
                  </a:lnTo>
                  <a:lnTo>
                    <a:pt x="790" y="97"/>
                  </a:lnTo>
                  <a:lnTo>
                    <a:pt x="799" y="103"/>
                  </a:lnTo>
                  <a:lnTo>
                    <a:pt x="813" y="109"/>
                  </a:lnTo>
                  <a:lnTo>
                    <a:pt x="822" y="114"/>
                  </a:lnTo>
                  <a:lnTo>
                    <a:pt x="841" y="123"/>
                  </a:lnTo>
                  <a:lnTo>
                    <a:pt x="854" y="131"/>
                  </a:lnTo>
                  <a:lnTo>
                    <a:pt x="863" y="134"/>
                  </a:lnTo>
                  <a:lnTo>
                    <a:pt x="868" y="134"/>
                  </a:lnTo>
                  <a:lnTo>
                    <a:pt x="754" y="143"/>
                  </a:lnTo>
                  <a:lnTo>
                    <a:pt x="585" y="52"/>
                  </a:lnTo>
                  <a:lnTo>
                    <a:pt x="580" y="55"/>
                  </a:lnTo>
                  <a:lnTo>
                    <a:pt x="575" y="57"/>
                  </a:lnTo>
                  <a:lnTo>
                    <a:pt x="566" y="60"/>
                  </a:lnTo>
                  <a:lnTo>
                    <a:pt x="562" y="69"/>
                  </a:lnTo>
                  <a:lnTo>
                    <a:pt x="557" y="72"/>
                  </a:lnTo>
                  <a:lnTo>
                    <a:pt x="548" y="80"/>
                  </a:lnTo>
                  <a:lnTo>
                    <a:pt x="543" y="86"/>
                  </a:lnTo>
                  <a:lnTo>
                    <a:pt x="530" y="92"/>
                  </a:lnTo>
                  <a:lnTo>
                    <a:pt x="525" y="100"/>
                  </a:lnTo>
                  <a:lnTo>
                    <a:pt x="511" y="109"/>
                  </a:lnTo>
                  <a:lnTo>
                    <a:pt x="502" y="114"/>
                  </a:lnTo>
                  <a:lnTo>
                    <a:pt x="489" y="123"/>
                  </a:lnTo>
                  <a:lnTo>
                    <a:pt x="484" y="131"/>
                  </a:lnTo>
                  <a:lnTo>
                    <a:pt x="475" y="137"/>
                  </a:lnTo>
                  <a:lnTo>
                    <a:pt x="466" y="146"/>
                  </a:lnTo>
                  <a:lnTo>
                    <a:pt x="452" y="154"/>
                  </a:lnTo>
                  <a:lnTo>
                    <a:pt x="443" y="160"/>
                  </a:lnTo>
                  <a:lnTo>
                    <a:pt x="434" y="168"/>
                  </a:lnTo>
                  <a:lnTo>
                    <a:pt x="420" y="174"/>
                  </a:lnTo>
                  <a:lnTo>
                    <a:pt x="415" y="183"/>
                  </a:lnTo>
                  <a:lnTo>
                    <a:pt x="402" y="186"/>
                  </a:lnTo>
                  <a:lnTo>
                    <a:pt x="402" y="194"/>
                  </a:lnTo>
                  <a:lnTo>
                    <a:pt x="384" y="205"/>
                  </a:lnTo>
                  <a:lnTo>
                    <a:pt x="374" y="208"/>
                  </a:lnTo>
                  <a:lnTo>
                    <a:pt x="365" y="211"/>
                  </a:lnTo>
                  <a:lnTo>
                    <a:pt x="365" y="205"/>
                  </a:lnTo>
                  <a:lnTo>
                    <a:pt x="356" y="197"/>
                  </a:lnTo>
                  <a:lnTo>
                    <a:pt x="347" y="191"/>
                  </a:lnTo>
                  <a:lnTo>
                    <a:pt x="333" y="180"/>
                  </a:lnTo>
                  <a:lnTo>
                    <a:pt x="320" y="168"/>
                  </a:lnTo>
                  <a:lnTo>
                    <a:pt x="306" y="157"/>
                  </a:lnTo>
                  <a:lnTo>
                    <a:pt x="288" y="143"/>
                  </a:lnTo>
                  <a:lnTo>
                    <a:pt x="265" y="134"/>
                  </a:lnTo>
                  <a:lnTo>
                    <a:pt x="256" y="126"/>
                  </a:lnTo>
                  <a:lnTo>
                    <a:pt x="251" y="120"/>
                  </a:lnTo>
                  <a:lnTo>
                    <a:pt x="237" y="114"/>
                  </a:lnTo>
                  <a:lnTo>
                    <a:pt x="233" y="109"/>
                  </a:lnTo>
                  <a:lnTo>
                    <a:pt x="214" y="97"/>
                  </a:lnTo>
                  <a:lnTo>
                    <a:pt x="201" y="89"/>
                  </a:lnTo>
                  <a:lnTo>
                    <a:pt x="187" y="80"/>
                  </a:lnTo>
                  <a:lnTo>
                    <a:pt x="182" y="74"/>
                  </a:lnTo>
                  <a:lnTo>
                    <a:pt x="173" y="69"/>
                  </a:lnTo>
                  <a:lnTo>
                    <a:pt x="0" y="14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73" name="Freeform 184"/>
            <p:cNvSpPr>
              <a:spLocks/>
            </p:cNvSpPr>
            <p:nvPr>
              <p:custDataLst>
                <p:tags r:id="rId172"/>
              </p:custDataLst>
            </p:nvPr>
          </p:nvSpPr>
          <p:spPr bwMode="gray">
            <a:xfrm>
              <a:off x="2468" y="1772"/>
              <a:ext cx="980" cy="129"/>
            </a:xfrm>
            <a:custGeom>
              <a:avLst/>
              <a:gdLst>
                <a:gd name="T0" fmla="*/ 66 w 956"/>
                <a:gd name="T1" fmla="*/ 8 h 142"/>
                <a:gd name="T2" fmla="*/ 131 w 956"/>
                <a:gd name="T3" fmla="*/ 6 h 142"/>
                <a:gd name="T4" fmla="*/ 195 w 956"/>
                <a:gd name="T5" fmla="*/ 5 h 142"/>
                <a:gd name="T6" fmla="*/ 252 w 956"/>
                <a:gd name="T7" fmla="*/ 5 h 142"/>
                <a:gd name="T8" fmla="*/ 323 w 956"/>
                <a:gd name="T9" fmla="*/ 5 h 142"/>
                <a:gd name="T10" fmla="*/ 401 w 956"/>
                <a:gd name="T11" fmla="*/ 5 h 142"/>
                <a:gd name="T12" fmla="*/ 471 w 956"/>
                <a:gd name="T13" fmla="*/ 5 h 142"/>
                <a:gd name="T14" fmla="*/ 547 w 956"/>
                <a:gd name="T15" fmla="*/ 5 h 142"/>
                <a:gd name="T16" fmla="*/ 635 w 956"/>
                <a:gd name="T17" fmla="*/ 5 h 142"/>
                <a:gd name="T18" fmla="*/ 713 w 956"/>
                <a:gd name="T19" fmla="*/ 5 h 142"/>
                <a:gd name="T20" fmla="*/ 804 w 956"/>
                <a:gd name="T21" fmla="*/ 5 h 142"/>
                <a:gd name="T22" fmla="*/ 883 w 956"/>
                <a:gd name="T23" fmla="*/ 3 h 142"/>
                <a:gd name="T24" fmla="*/ 953 w 956"/>
                <a:gd name="T25" fmla="*/ 3 h 142"/>
                <a:gd name="T26" fmla="*/ 1035 w 956"/>
                <a:gd name="T27" fmla="*/ 0 h 142"/>
                <a:gd name="T28" fmla="*/ 1113 w 956"/>
                <a:gd name="T29" fmla="*/ 0 h 142"/>
                <a:gd name="T30" fmla="*/ 1187 w 956"/>
                <a:gd name="T31" fmla="*/ 3 h 142"/>
                <a:gd name="T32" fmla="*/ 1248 w 956"/>
                <a:gd name="T33" fmla="*/ 3 h 142"/>
                <a:gd name="T34" fmla="*/ 1316 w 956"/>
                <a:gd name="T35" fmla="*/ 5 h 142"/>
                <a:gd name="T36" fmla="*/ 1399 w 956"/>
                <a:gd name="T37" fmla="*/ 5 h 142"/>
                <a:gd name="T38" fmla="*/ 1470 w 956"/>
                <a:gd name="T39" fmla="*/ 5 h 142"/>
                <a:gd name="T40" fmla="*/ 1541 w 956"/>
                <a:gd name="T41" fmla="*/ 5 h 142"/>
                <a:gd name="T42" fmla="*/ 1614 w 956"/>
                <a:gd name="T43" fmla="*/ 5 h 142"/>
                <a:gd name="T44" fmla="*/ 1690 w 956"/>
                <a:gd name="T45" fmla="*/ 5 h 142"/>
                <a:gd name="T46" fmla="*/ 1765 w 956"/>
                <a:gd name="T47" fmla="*/ 6 h 142"/>
                <a:gd name="T48" fmla="*/ 1809 w 956"/>
                <a:gd name="T49" fmla="*/ 8 h 142"/>
                <a:gd name="T50" fmla="*/ 1809 w 956"/>
                <a:gd name="T51" fmla="*/ 8 h 142"/>
                <a:gd name="T52" fmla="*/ 1744 w 956"/>
                <a:gd name="T53" fmla="*/ 7 h 142"/>
                <a:gd name="T54" fmla="*/ 1673 w 956"/>
                <a:gd name="T55" fmla="*/ 5 h 142"/>
                <a:gd name="T56" fmla="*/ 1596 w 956"/>
                <a:gd name="T57" fmla="*/ 5 h 142"/>
                <a:gd name="T58" fmla="*/ 1505 w 956"/>
                <a:gd name="T59" fmla="*/ 5 h 142"/>
                <a:gd name="T60" fmla="*/ 1399 w 956"/>
                <a:gd name="T61" fmla="*/ 5 h 142"/>
                <a:gd name="T62" fmla="*/ 1290 w 956"/>
                <a:gd name="T63" fmla="*/ 5 h 142"/>
                <a:gd name="T64" fmla="*/ 1212 w 956"/>
                <a:gd name="T65" fmla="*/ 5 h 142"/>
                <a:gd name="T66" fmla="*/ 1152 w 956"/>
                <a:gd name="T67" fmla="*/ 5 h 142"/>
                <a:gd name="T68" fmla="*/ 1088 w 956"/>
                <a:gd name="T69" fmla="*/ 5 h 142"/>
                <a:gd name="T70" fmla="*/ 1030 w 956"/>
                <a:gd name="T71" fmla="*/ 5 h 142"/>
                <a:gd name="T72" fmla="*/ 968 w 956"/>
                <a:gd name="T73" fmla="*/ 5 h 142"/>
                <a:gd name="T74" fmla="*/ 896 w 956"/>
                <a:gd name="T75" fmla="*/ 5 h 142"/>
                <a:gd name="T76" fmla="*/ 827 w 956"/>
                <a:gd name="T77" fmla="*/ 5 h 142"/>
                <a:gd name="T78" fmla="*/ 757 w 956"/>
                <a:gd name="T79" fmla="*/ 5 h 142"/>
                <a:gd name="T80" fmla="*/ 696 w 956"/>
                <a:gd name="T81" fmla="*/ 5 h 142"/>
                <a:gd name="T82" fmla="*/ 628 w 956"/>
                <a:gd name="T83" fmla="*/ 5 h 142"/>
                <a:gd name="T84" fmla="*/ 568 w 956"/>
                <a:gd name="T85" fmla="*/ 5 h 142"/>
                <a:gd name="T86" fmla="*/ 507 w 956"/>
                <a:gd name="T87" fmla="*/ 5 h 142"/>
                <a:gd name="T88" fmla="*/ 437 w 956"/>
                <a:gd name="T89" fmla="*/ 5 h 142"/>
                <a:gd name="T90" fmla="*/ 359 w 956"/>
                <a:gd name="T91" fmla="*/ 6 h 142"/>
                <a:gd name="T92" fmla="*/ 263 w 956"/>
                <a:gd name="T93" fmla="*/ 8 h 142"/>
                <a:gd name="T94" fmla="*/ 164 w 956"/>
                <a:gd name="T95" fmla="*/ 10 h 142"/>
                <a:gd name="T96" fmla="*/ 84 w 956"/>
                <a:gd name="T97" fmla="*/ 11 h 142"/>
                <a:gd name="T98" fmla="*/ 0 w 956"/>
                <a:gd name="T99" fmla="*/ 12 h 142"/>
                <a:gd name="T100" fmla="*/ 5 w 956"/>
                <a:gd name="T101" fmla="*/ 11 h 142"/>
                <a:gd name="T102" fmla="*/ 5 w 956"/>
                <a:gd name="T103" fmla="*/ 10 h 14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56"/>
                <a:gd name="T157" fmla="*/ 0 h 142"/>
                <a:gd name="T158" fmla="*/ 956 w 956"/>
                <a:gd name="T159" fmla="*/ 142 h 14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56" h="142">
                  <a:moveTo>
                    <a:pt x="5" y="119"/>
                  </a:moveTo>
                  <a:lnTo>
                    <a:pt x="19" y="108"/>
                  </a:lnTo>
                  <a:lnTo>
                    <a:pt x="37" y="97"/>
                  </a:lnTo>
                  <a:lnTo>
                    <a:pt x="46" y="91"/>
                  </a:lnTo>
                  <a:lnTo>
                    <a:pt x="55" y="85"/>
                  </a:lnTo>
                  <a:lnTo>
                    <a:pt x="69" y="79"/>
                  </a:lnTo>
                  <a:lnTo>
                    <a:pt x="78" y="77"/>
                  </a:lnTo>
                  <a:lnTo>
                    <a:pt x="87" y="74"/>
                  </a:lnTo>
                  <a:lnTo>
                    <a:pt x="101" y="68"/>
                  </a:lnTo>
                  <a:lnTo>
                    <a:pt x="110" y="62"/>
                  </a:lnTo>
                  <a:lnTo>
                    <a:pt x="119" y="60"/>
                  </a:lnTo>
                  <a:lnTo>
                    <a:pt x="133" y="57"/>
                  </a:lnTo>
                  <a:lnTo>
                    <a:pt x="147" y="51"/>
                  </a:lnTo>
                  <a:lnTo>
                    <a:pt x="156" y="51"/>
                  </a:lnTo>
                  <a:lnTo>
                    <a:pt x="170" y="45"/>
                  </a:lnTo>
                  <a:lnTo>
                    <a:pt x="183" y="42"/>
                  </a:lnTo>
                  <a:lnTo>
                    <a:pt x="192" y="40"/>
                  </a:lnTo>
                  <a:lnTo>
                    <a:pt x="211" y="37"/>
                  </a:lnTo>
                  <a:lnTo>
                    <a:pt x="224" y="31"/>
                  </a:lnTo>
                  <a:lnTo>
                    <a:pt x="234" y="31"/>
                  </a:lnTo>
                  <a:lnTo>
                    <a:pt x="247" y="28"/>
                  </a:lnTo>
                  <a:lnTo>
                    <a:pt x="261" y="25"/>
                  </a:lnTo>
                  <a:lnTo>
                    <a:pt x="279" y="22"/>
                  </a:lnTo>
                  <a:lnTo>
                    <a:pt x="288" y="20"/>
                  </a:lnTo>
                  <a:lnTo>
                    <a:pt x="307" y="20"/>
                  </a:lnTo>
                  <a:lnTo>
                    <a:pt x="320" y="17"/>
                  </a:lnTo>
                  <a:lnTo>
                    <a:pt x="334" y="17"/>
                  </a:lnTo>
                  <a:lnTo>
                    <a:pt x="343" y="14"/>
                  </a:lnTo>
                  <a:lnTo>
                    <a:pt x="361" y="11"/>
                  </a:lnTo>
                  <a:lnTo>
                    <a:pt x="375" y="8"/>
                  </a:lnTo>
                  <a:lnTo>
                    <a:pt x="393" y="8"/>
                  </a:lnTo>
                  <a:lnTo>
                    <a:pt x="403" y="8"/>
                  </a:lnTo>
                  <a:lnTo>
                    <a:pt x="421" y="5"/>
                  </a:lnTo>
                  <a:lnTo>
                    <a:pt x="430" y="5"/>
                  </a:lnTo>
                  <a:lnTo>
                    <a:pt x="448" y="5"/>
                  </a:lnTo>
                  <a:lnTo>
                    <a:pt x="462" y="3"/>
                  </a:lnTo>
                  <a:lnTo>
                    <a:pt x="476" y="3"/>
                  </a:lnTo>
                  <a:lnTo>
                    <a:pt x="489" y="3"/>
                  </a:lnTo>
                  <a:lnTo>
                    <a:pt x="499" y="3"/>
                  </a:lnTo>
                  <a:lnTo>
                    <a:pt x="517" y="0"/>
                  </a:lnTo>
                  <a:lnTo>
                    <a:pt x="531" y="0"/>
                  </a:lnTo>
                  <a:lnTo>
                    <a:pt x="544" y="0"/>
                  </a:lnTo>
                  <a:lnTo>
                    <a:pt x="553" y="0"/>
                  </a:lnTo>
                  <a:lnTo>
                    <a:pt x="567" y="0"/>
                  </a:lnTo>
                  <a:lnTo>
                    <a:pt x="585" y="0"/>
                  </a:lnTo>
                  <a:lnTo>
                    <a:pt x="595" y="0"/>
                  </a:lnTo>
                  <a:lnTo>
                    <a:pt x="608" y="3"/>
                  </a:lnTo>
                  <a:lnTo>
                    <a:pt x="622" y="3"/>
                  </a:lnTo>
                  <a:lnTo>
                    <a:pt x="631" y="3"/>
                  </a:lnTo>
                  <a:lnTo>
                    <a:pt x="645" y="3"/>
                  </a:lnTo>
                  <a:lnTo>
                    <a:pt x="654" y="3"/>
                  </a:lnTo>
                  <a:lnTo>
                    <a:pt x="668" y="3"/>
                  </a:lnTo>
                  <a:lnTo>
                    <a:pt x="677" y="3"/>
                  </a:lnTo>
                  <a:lnTo>
                    <a:pt x="691" y="5"/>
                  </a:lnTo>
                  <a:lnTo>
                    <a:pt x="700" y="5"/>
                  </a:lnTo>
                  <a:lnTo>
                    <a:pt x="718" y="8"/>
                  </a:lnTo>
                  <a:lnTo>
                    <a:pt x="736" y="8"/>
                  </a:lnTo>
                  <a:lnTo>
                    <a:pt x="750" y="14"/>
                  </a:lnTo>
                  <a:lnTo>
                    <a:pt x="764" y="17"/>
                  </a:lnTo>
                  <a:lnTo>
                    <a:pt x="773" y="20"/>
                  </a:lnTo>
                  <a:lnTo>
                    <a:pt x="791" y="22"/>
                  </a:lnTo>
                  <a:lnTo>
                    <a:pt x="800" y="25"/>
                  </a:lnTo>
                  <a:lnTo>
                    <a:pt x="809" y="31"/>
                  </a:lnTo>
                  <a:lnTo>
                    <a:pt x="823" y="31"/>
                  </a:lnTo>
                  <a:lnTo>
                    <a:pt x="837" y="37"/>
                  </a:lnTo>
                  <a:lnTo>
                    <a:pt x="846" y="40"/>
                  </a:lnTo>
                  <a:lnTo>
                    <a:pt x="855" y="42"/>
                  </a:lnTo>
                  <a:lnTo>
                    <a:pt x="873" y="51"/>
                  </a:lnTo>
                  <a:lnTo>
                    <a:pt x="887" y="60"/>
                  </a:lnTo>
                  <a:lnTo>
                    <a:pt x="905" y="65"/>
                  </a:lnTo>
                  <a:lnTo>
                    <a:pt x="919" y="74"/>
                  </a:lnTo>
                  <a:lnTo>
                    <a:pt x="928" y="77"/>
                  </a:lnTo>
                  <a:lnTo>
                    <a:pt x="937" y="85"/>
                  </a:lnTo>
                  <a:lnTo>
                    <a:pt x="946" y="88"/>
                  </a:lnTo>
                  <a:lnTo>
                    <a:pt x="951" y="94"/>
                  </a:lnTo>
                  <a:lnTo>
                    <a:pt x="956" y="97"/>
                  </a:lnTo>
                  <a:lnTo>
                    <a:pt x="956" y="99"/>
                  </a:lnTo>
                  <a:lnTo>
                    <a:pt x="951" y="97"/>
                  </a:lnTo>
                  <a:lnTo>
                    <a:pt x="942" y="94"/>
                  </a:lnTo>
                  <a:lnTo>
                    <a:pt x="928" y="88"/>
                  </a:lnTo>
                  <a:lnTo>
                    <a:pt x="914" y="85"/>
                  </a:lnTo>
                  <a:lnTo>
                    <a:pt x="901" y="79"/>
                  </a:lnTo>
                  <a:lnTo>
                    <a:pt x="887" y="77"/>
                  </a:lnTo>
                  <a:lnTo>
                    <a:pt x="878" y="74"/>
                  </a:lnTo>
                  <a:lnTo>
                    <a:pt x="864" y="68"/>
                  </a:lnTo>
                  <a:lnTo>
                    <a:pt x="846" y="65"/>
                  </a:lnTo>
                  <a:lnTo>
                    <a:pt x="837" y="62"/>
                  </a:lnTo>
                  <a:lnTo>
                    <a:pt x="823" y="60"/>
                  </a:lnTo>
                  <a:lnTo>
                    <a:pt x="809" y="57"/>
                  </a:lnTo>
                  <a:lnTo>
                    <a:pt x="791" y="51"/>
                  </a:lnTo>
                  <a:lnTo>
                    <a:pt x="773" y="51"/>
                  </a:lnTo>
                  <a:lnTo>
                    <a:pt x="755" y="45"/>
                  </a:lnTo>
                  <a:lnTo>
                    <a:pt x="736" y="42"/>
                  </a:lnTo>
                  <a:lnTo>
                    <a:pt x="718" y="40"/>
                  </a:lnTo>
                  <a:lnTo>
                    <a:pt x="700" y="37"/>
                  </a:lnTo>
                  <a:lnTo>
                    <a:pt x="677" y="31"/>
                  </a:lnTo>
                  <a:lnTo>
                    <a:pt x="659" y="31"/>
                  </a:lnTo>
                  <a:lnTo>
                    <a:pt x="649" y="31"/>
                  </a:lnTo>
                  <a:lnTo>
                    <a:pt x="636" y="28"/>
                  </a:lnTo>
                  <a:lnTo>
                    <a:pt x="627" y="28"/>
                  </a:lnTo>
                  <a:lnTo>
                    <a:pt x="617" y="28"/>
                  </a:lnTo>
                  <a:lnTo>
                    <a:pt x="604" y="25"/>
                  </a:lnTo>
                  <a:lnTo>
                    <a:pt x="595" y="25"/>
                  </a:lnTo>
                  <a:lnTo>
                    <a:pt x="585" y="25"/>
                  </a:lnTo>
                  <a:lnTo>
                    <a:pt x="572" y="25"/>
                  </a:lnTo>
                  <a:lnTo>
                    <a:pt x="563" y="25"/>
                  </a:lnTo>
                  <a:lnTo>
                    <a:pt x="553" y="25"/>
                  </a:lnTo>
                  <a:lnTo>
                    <a:pt x="540" y="25"/>
                  </a:lnTo>
                  <a:lnTo>
                    <a:pt x="531" y="25"/>
                  </a:lnTo>
                  <a:lnTo>
                    <a:pt x="517" y="25"/>
                  </a:lnTo>
                  <a:lnTo>
                    <a:pt x="508" y="25"/>
                  </a:lnTo>
                  <a:lnTo>
                    <a:pt x="499" y="25"/>
                  </a:lnTo>
                  <a:lnTo>
                    <a:pt x="485" y="25"/>
                  </a:lnTo>
                  <a:lnTo>
                    <a:pt x="471" y="25"/>
                  </a:lnTo>
                  <a:lnTo>
                    <a:pt x="462" y="25"/>
                  </a:lnTo>
                  <a:lnTo>
                    <a:pt x="448" y="25"/>
                  </a:lnTo>
                  <a:lnTo>
                    <a:pt x="435" y="28"/>
                  </a:lnTo>
                  <a:lnTo>
                    <a:pt x="421" y="28"/>
                  </a:lnTo>
                  <a:lnTo>
                    <a:pt x="412" y="31"/>
                  </a:lnTo>
                  <a:lnTo>
                    <a:pt x="398" y="31"/>
                  </a:lnTo>
                  <a:lnTo>
                    <a:pt x="389" y="31"/>
                  </a:lnTo>
                  <a:lnTo>
                    <a:pt x="375" y="34"/>
                  </a:lnTo>
                  <a:lnTo>
                    <a:pt x="366" y="37"/>
                  </a:lnTo>
                  <a:lnTo>
                    <a:pt x="352" y="37"/>
                  </a:lnTo>
                  <a:lnTo>
                    <a:pt x="343" y="40"/>
                  </a:lnTo>
                  <a:lnTo>
                    <a:pt x="330" y="42"/>
                  </a:lnTo>
                  <a:lnTo>
                    <a:pt x="320" y="42"/>
                  </a:lnTo>
                  <a:lnTo>
                    <a:pt x="311" y="48"/>
                  </a:lnTo>
                  <a:lnTo>
                    <a:pt x="298" y="51"/>
                  </a:lnTo>
                  <a:lnTo>
                    <a:pt x="288" y="51"/>
                  </a:lnTo>
                  <a:lnTo>
                    <a:pt x="275" y="54"/>
                  </a:lnTo>
                  <a:lnTo>
                    <a:pt x="266" y="57"/>
                  </a:lnTo>
                  <a:lnTo>
                    <a:pt x="252" y="60"/>
                  </a:lnTo>
                  <a:lnTo>
                    <a:pt x="243" y="62"/>
                  </a:lnTo>
                  <a:lnTo>
                    <a:pt x="229" y="65"/>
                  </a:lnTo>
                  <a:lnTo>
                    <a:pt x="224" y="68"/>
                  </a:lnTo>
                  <a:lnTo>
                    <a:pt x="211" y="74"/>
                  </a:lnTo>
                  <a:lnTo>
                    <a:pt x="188" y="79"/>
                  </a:lnTo>
                  <a:lnTo>
                    <a:pt x="174" y="85"/>
                  </a:lnTo>
                  <a:lnTo>
                    <a:pt x="156" y="91"/>
                  </a:lnTo>
                  <a:lnTo>
                    <a:pt x="138" y="99"/>
                  </a:lnTo>
                  <a:lnTo>
                    <a:pt x="119" y="105"/>
                  </a:lnTo>
                  <a:lnTo>
                    <a:pt x="101" y="108"/>
                  </a:lnTo>
                  <a:lnTo>
                    <a:pt x="87" y="116"/>
                  </a:lnTo>
                  <a:lnTo>
                    <a:pt x="69" y="119"/>
                  </a:lnTo>
                  <a:lnTo>
                    <a:pt x="55" y="128"/>
                  </a:lnTo>
                  <a:lnTo>
                    <a:pt x="46" y="131"/>
                  </a:lnTo>
                  <a:lnTo>
                    <a:pt x="32" y="136"/>
                  </a:lnTo>
                  <a:lnTo>
                    <a:pt x="23" y="142"/>
                  </a:lnTo>
                  <a:lnTo>
                    <a:pt x="0" y="142"/>
                  </a:lnTo>
                  <a:lnTo>
                    <a:pt x="0" y="136"/>
                  </a:lnTo>
                  <a:lnTo>
                    <a:pt x="0" y="128"/>
                  </a:lnTo>
                  <a:lnTo>
                    <a:pt x="5" y="125"/>
                  </a:lnTo>
                  <a:lnTo>
                    <a:pt x="5" y="11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grpSp>
      <p:grpSp>
        <p:nvGrpSpPr>
          <p:cNvPr id="4110" name="Group 185"/>
          <p:cNvGrpSpPr>
            <a:grpSpLocks/>
          </p:cNvGrpSpPr>
          <p:nvPr>
            <p:custDataLst>
              <p:tags r:id="rId13"/>
            </p:custDataLst>
          </p:nvPr>
        </p:nvGrpSpPr>
        <p:grpSpPr bwMode="auto">
          <a:xfrm>
            <a:off x="5560643" y="4073671"/>
            <a:ext cx="1015640" cy="597685"/>
            <a:chOff x="0" y="402"/>
            <a:chExt cx="5645" cy="2423"/>
          </a:xfrm>
        </p:grpSpPr>
        <p:sp>
          <p:nvSpPr>
            <p:cNvPr id="4196" name="Freeform 186"/>
            <p:cNvSpPr>
              <a:spLocks/>
            </p:cNvSpPr>
            <p:nvPr>
              <p:custDataLst>
                <p:tags r:id="rId95"/>
              </p:custDataLst>
            </p:nvPr>
          </p:nvSpPr>
          <p:spPr bwMode="gray">
            <a:xfrm>
              <a:off x="0" y="402"/>
              <a:ext cx="5645" cy="831"/>
            </a:xfrm>
            <a:custGeom>
              <a:avLst/>
              <a:gdLst>
                <a:gd name="T0" fmla="*/ 210 w 5507"/>
                <a:gd name="T1" fmla="*/ 1 h 1310"/>
                <a:gd name="T2" fmla="*/ 635 w 5507"/>
                <a:gd name="T3" fmla="*/ 1 h 1310"/>
                <a:gd name="T4" fmla="*/ 1206 w 5507"/>
                <a:gd name="T5" fmla="*/ 1 h 1310"/>
                <a:gd name="T6" fmla="*/ 1859 w 5507"/>
                <a:gd name="T7" fmla="*/ 1 h 1310"/>
                <a:gd name="T8" fmla="*/ 2556 w 5507"/>
                <a:gd name="T9" fmla="*/ 1 h 1310"/>
                <a:gd name="T10" fmla="*/ 3269 w 5507"/>
                <a:gd name="T11" fmla="*/ 1 h 1310"/>
                <a:gd name="T12" fmla="*/ 3939 w 5507"/>
                <a:gd name="T13" fmla="*/ 1 h 1310"/>
                <a:gd name="T14" fmla="*/ 4522 w 5507"/>
                <a:gd name="T15" fmla="*/ 1 h 1310"/>
                <a:gd name="T16" fmla="*/ 4991 w 5507"/>
                <a:gd name="T17" fmla="*/ 1 h 1310"/>
                <a:gd name="T18" fmla="*/ 5262 w 5507"/>
                <a:gd name="T19" fmla="*/ 1 h 1310"/>
                <a:gd name="T20" fmla="*/ 5413 w 5507"/>
                <a:gd name="T21" fmla="*/ 1 h 1310"/>
                <a:gd name="T22" fmla="*/ 5571 w 5507"/>
                <a:gd name="T23" fmla="*/ 1 h 1310"/>
                <a:gd name="T24" fmla="*/ 5770 w 5507"/>
                <a:gd name="T25" fmla="*/ 1 h 1310"/>
                <a:gd name="T26" fmla="*/ 5958 w 5507"/>
                <a:gd name="T27" fmla="*/ 1 h 1310"/>
                <a:gd name="T28" fmla="*/ 6175 w 5507"/>
                <a:gd name="T29" fmla="*/ 1 h 1310"/>
                <a:gd name="T30" fmla="*/ 6400 w 5507"/>
                <a:gd name="T31" fmla="*/ 1 h 1310"/>
                <a:gd name="T32" fmla="*/ 6650 w 5507"/>
                <a:gd name="T33" fmla="*/ 1 h 1310"/>
                <a:gd name="T34" fmla="*/ 6938 w 5507"/>
                <a:gd name="T35" fmla="*/ 1 h 1310"/>
                <a:gd name="T36" fmla="*/ 7505 w 5507"/>
                <a:gd name="T37" fmla="*/ 1 h 1310"/>
                <a:gd name="T38" fmla="*/ 8063 w 5507"/>
                <a:gd name="T39" fmla="*/ 1 h 1310"/>
                <a:gd name="T40" fmla="*/ 8606 w 5507"/>
                <a:gd name="T41" fmla="*/ 1 h 1310"/>
                <a:gd name="T42" fmla="*/ 9123 w 5507"/>
                <a:gd name="T43" fmla="*/ 1 h 1310"/>
                <a:gd name="T44" fmla="*/ 9585 w 5507"/>
                <a:gd name="T45" fmla="*/ 1 h 1310"/>
                <a:gd name="T46" fmla="*/ 9957 w 5507"/>
                <a:gd name="T47" fmla="*/ 1 h 1310"/>
                <a:gd name="T48" fmla="*/ 10258 w 5507"/>
                <a:gd name="T49" fmla="*/ 1 h 1310"/>
                <a:gd name="T50" fmla="*/ 10428 w 5507"/>
                <a:gd name="T51" fmla="*/ 1 h 1310"/>
                <a:gd name="T52" fmla="*/ 10418 w 5507"/>
                <a:gd name="T53" fmla="*/ 1 h 1310"/>
                <a:gd name="T54" fmla="*/ 10248 w 5507"/>
                <a:gd name="T55" fmla="*/ 1 h 1310"/>
                <a:gd name="T56" fmla="*/ 10033 w 5507"/>
                <a:gd name="T57" fmla="*/ 1 h 1310"/>
                <a:gd name="T58" fmla="*/ 9957 w 5507"/>
                <a:gd name="T59" fmla="*/ 1 h 1310"/>
                <a:gd name="T60" fmla="*/ 9811 w 5507"/>
                <a:gd name="T61" fmla="*/ 1 h 1310"/>
                <a:gd name="T62" fmla="*/ 9619 w 5507"/>
                <a:gd name="T63" fmla="*/ 1 h 1310"/>
                <a:gd name="T64" fmla="*/ 9366 w 5507"/>
                <a:gd name="T65" fmla="*/ 1 h 1310"/>
                <a:gd name="T66" fmla="*/ 9071 w 5507"/>
                <a:gd name="T67" fmla="*/ 1 h 1310"/>
                <a:gd name="T68" fmla="*/ 8741 w 5507"/>
                <a:gd name="T69" fmla="*/ 1 h 1310"/>
                <a:gd name="T70" fmla="*/ 8375 w 5507"/>
                <a:gd name="T71" fmla="*/ 1 h 1310"/>
                <a:gd name="T72" fmla="*/ 7981 w 5507"/>
                <a:gd name="T73" fmla="*/ 1 h 1310"/>
                <a:gd name="T74" fmla="*/ 7601 w 5507"/>
                <a:gd name="T75" fmla="*/ 1 h 1310"/>
                <a:gd name="T76" fmla="*/ 7273 w 5507"/>
                <a:gd name="T77" fmla="*/ 1 h 1310"/>
                <a:gd name="T78" fmla="*/ 6932 w 5507"/>
                <a:gd name="T79" fmla="*/ 1 h 1310"/>
                <a:gd name="T80" fmla="*/ 6607 w 5507"/>
                <a:gd name="T81" fmla="*/ 1 h 1310"/>
                <a:gd name="T82" fmla="*/ 6304 w 5507"/>
                <a:gd name="T83" fmla="*/ 1 h 1310"/>
                <a:gd name="T84" fmla="*/ 6019 w 5507"/>
                <a:gd name="T85" fmla="*/ 1 h 1310"/>
                <a:gd name="T86" fmla="*/ 5760 w 5507"/>
                <a:gd name="T87" fmla="*/ 1 h 1310"/>
                <a:gd name="T88" fmla="*/ 5534 w 5507"/>
                <a:gd name="T89" fmla="*/ 1 h 1310"/>
                <a:gd name="T90" fmla="*/ 5350 w 5507"/>
                <a:gd name="T91" fmla="*/ 1 h 1310"/>
                <a:gd name="T92" fmla="*/ 5153 w 5507"/>
                <a:gd name="T93" fmla="*/ 1 h 1310"/>
                <a:gd name="T94" fmla="*/ 4696 w 5507"/>
                <a:gd name="T95" fmla="*/ 1 h 1310"/>
                <a:gd name="T96" fmla="*/ 4117 w 5507"/>
                <a:gd name="T97" fmla="*/ 1 h 1310"/>
                <a:gd name="T98" fmla="*/ 3427 w 5507"/>
                <a:gd name="T99" fmla="*/ 1 h 1310"/>
                <a:gd name="T100" fmla="*/ 2702 w 5507"/>
                <a:gd name="T101" fmla="*/ 1 h 1310"/>
                <a:gd name="T102" fmla="*/ 1991 w 5507"/>
                <a:gd name="T103" fmla="*/ 1 h 1310"/>
                <a:gd name="T104" fmla="*/ 1349 w 5507"/>
                <a:gd name="T105" fmla="*/ 1 h 1310"/>
                <a:gd name="T106" fmla="*/ 820 w 5507"/>
                <a:gd name="T107" fmla="*/ 1 h 1310"/>
                <a:gd name="T108" fmla="*/ 460 w 5507"/>
                <a:gd name="T109" fmla="*/ 1 h 1310"/>
                <a:gd name="T110" fmla="*/ 313 w 5507"/>
                <a:gd name="T111" fmla="*/ 1 h 1310"/>
                <a:gd name="T112" fmla="*/ 124 w 5507"/>
                <a:gd name="T113" fmla="*/ 1 h 13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507"/>
                <a:gd name="T172" fmla="*/ 0 h 1310"/>
                <a:gd name="T173" fmla="*/ 5507 w 5507"/>
                <a:gd name="T174" fmla="*/ 1310 h 13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507" h="1310">
                  <a:moveTo>
                    <a:pt x="0" y="1281"/>
                  </a:moveTo>
                  <a:lnTo>
                    <a:pt x="0" y="1264"/>
                  </a:lnTo>
                  <a:lnTo>
                    <a:pt x="18" y="1253"/>
                  </a:lnTo>
                  <a:lnTo>
                    <a:pt x="41" y="1236"/>
                  </a:lnTo>
                  <a:lnTo>
                    <a:pt x="64" y="1219"/>
                  </a:lnTo>
                  <a:lnTo>
                    <a:pt x="87" y="1205"/>
                  </a:lnTo>
                  <a:lnTo>
                    <a:pt x="110" y="1185"/>
                  </a:lnTo>
                  <a:lnTo>
                    <a:pt x="137" y="1165"/>
                  </a:lnTo>
                  <a:lnTo>
                    <a:pt x="165" y="1148"/>
                  </a:lnTo>
                  <a:lnTo>
                    <a:pt x="197" y="1125"/>
                  </a:lnTo>
                  <a:lnTo>
                    <a:pt x="229" y="1105"/>
                  </a:lnTo>
                  <a:lnTo>
                    <a:pt x="260" y="1082"/>
                  </a:lnTo>
                  <a:lnTo>
                    <a:pt x="297" y="1062"/>
                  </a:lnTo>
                  <a:lnTo>
                    <a:pt x="334" y="1039"/>
                  </a:lnTo>
                  <a:lnTo>
                    <a:pt x="379" y="1017"/>
                  </a:lnTo>
                  <a:lnTo>
                    <a:pt x="416" y="991"/>
                  </a:lnTo>
                  <a:lnTo>
                    <a:pt x="457" y="965"/>
                  </a:lnTo>
                  <a:lnTo>
                    <a:pt x="498" y="943"/>
                  </a:lnTo>
                  <a:lnTo>
                    <a:pt x="544" y="917"/>
                  </a:lnTo>
                  <a:lnTo>
                    <a:pt x="585" y="891"/>
                  </a:lnTo>
                  <a:lnTo>
                    <a:pt x="635" y="866"/>
                  </a:lnTo>
                  <a:lnTo>
                    <a:pt x="681" y="837"/>
                  </a:lnTo>
                  <a:lnTo>
                    <a:pt x="727" y="814"/>
                  </a:lnTo>
                  <a:lnTo>
                    <a:pt x="777" y="786"/>
                  </a:lnTo>
                  <a:lnTo>
                    <a:pt x="827" y="760"/>
                  </a:lnTo>
                  <a:lnTo>
                    <a:pt x="873" y="732"/>
                  </a:lnTo>
                  <a:lnTo>
                    <a:pt x="928" y="706"/>
                  </a:lnTo>
                  <a:lnTo>
                    <a:pt x="978" y="678"/>
                  </a:lnTo>
                  <a:lnTo>
                    <a:pt x="1028" y="652"/>
                  </a:lnTo>
                  <a:lnTo>
                    <a:pt x="1083" y="624"/>
                  </a:lnTo>
                  <a:lnTo>
                    <a:pt x="1133" y="598"/>
                  </a:lnTo>
                  <a:lnTo>
                    <a:pt x="1188" y="570"/>
                  </a:lnTo>
                  <a:lnTo>
                    <a:pt x="1239" y="547"/>
                  </a:lnTo>
                  <a:lnTo>
                    <a:pt x="1289" y="518"/>
                  </a:lnTo>
                  <a:lnTo>
                    <a:pt x="1344" y="493"/>
                  </a:lnTo>
                  <a:lnTo>
                    <a:pt x="1398" y="464"/>
                  </a:lnTo>
                  <a:lnTo>
                    <a:pt x="1453" y="439"/>
                  </a:lnTo>
                  <a:lnTo>
                    <a:pt x="1508" y="416"/>
                  </a:lnTo>
                  <a:lnTo>
                    <a:pt x="1563" y="387"/>
                  </a:lnTo>
                  <a:lnTo>
                    <a:pt x="1613" y="364"/>
                  </a:lnTo>
                  <a:lnTo>
                    <a:pt x="1668" y="342"/>
                  </a:lnTo>
                  <a:lnTo>
                    <a:pt x="1718" y="316"/>
                  </a:lnTo>
                  <a:lnTo>
                    <a:pt x="1769" y="293"/>
                  </a:lnTo>
                  <a:lnTo>
                    <a:pt x="1819" y="268"/>
                  </a:lnTo>
                  <a:lnTo>
                    <a:pt x="1874" y="248"/>
                  </a:lnTo>
                  <a:lnTo>
                    <a:pt x="1919" y="228"/>
                  </a:lnTo>
                  <a:lnTo>
                    <a:pt x="1970" y="208"/>
                  </a:lnTo>
                  <a:lnTo>
                    <a:pt x="2015" y="185"/>
                  </a:lnTo>
                  <a:lnTo>
                    <a:pt x="2070" y="171"/>
                  </a:lnTo>
                  <a:lnTo>
                    <a:pt x="2116" y="151"/>
                  </a:lnTo>
                  <a:lnTo>
                    <a:pt x="2162" y="134"/>
                  </a:lnTo>
                  <a:lnTo>
                    <a:pt x="2207" y="117"/>
                  </a:lnTo>
                  <a:lnTo>
                    <a:pt x="2253" y="103"/>
                  </a:lnTo>
                  <a:lnTo>
                    <a:pt x="2294" y="85"/>
                  </a:lnTo>
                  <a:lnTo>
                    <a:pt x="2340" y="74"/>
                  </a:lnTo>
                  <a:lnTo>
                    <a:pt x="2376" y="60"/>
                  </a:lnTo>
                  <a:lnTo>
                    <a:pt x="2418" y="48"/>
                  </a:lnTo>
                  <a:lnTo>
                    <a:pt x="2454" y="37"/>
                  </a:lnTo>
                  <a:lnTo>
                    <a:pt x="2495" y="28"/>
                  </a:lnTo>
                  <a:lnTo>
                    <a:pt x="2527" y="20"/>
                  </a:lnTo>
                  <a:lnTo>
                    <a:pt x="2564" y="14"/>
                  </a:lnTo>
                  <a:lnTo>
                    <a:pt x="2596" y="9"/>
                  </a:lnTo>
                  <a:lnTo>
                    <a:pt x="2623" y="3"/>
                  </a:lnTo>
                  <a:lnTo>
                    <a:pt x="2651" y="0"/>
                  </a:lnTo>
                  <a:lnTo>
                    <a:pt x="2683" y="0"/>
                  </a:lnTo>
                  <a:lnTo>
                    <a:pt x="2701" y="0"/>
                  </a:lnTo>
                  <a:lnTo>
                    <a:pt x="2719" y="0"/>
                  </a:lnTo>
                  <a:lnTo>
                    <a:pt x="2738" y="0"/>
                  </a:lnTo>
                  <a:lnTo>
                    <a:pt x="2756" y="3"/>
                  </a:lnTo>
                  <a:lnTo>
                    <a:pt x="2765" y="3"/>
                  </a:lnTo>
                  <a:lnTo>
                    <a:pt x="2774" y="6"/>
                  </a:lnTo>
                  <a:lnTo>
                    <a:pt x="2783" y="9"/>
                  </a:lnTo>
                  <a:lnTo>
                    <a:pt x="2797" y="11"/>
                  </a:lnTo>
                  <a:lnTo>
                    <a:pt x="2806" y="11"/>
                  </a:lnTo>
                  <a:lnTo>
                    <a:pt x="2820" y="11"/>
                  </a:lnTo>
                  <a:lnTo>
                    <a:pt x="2829" y="14"/>
                  </a:lnTo>
                  <a:lnTo>
                    <a:pt x="2843" y="20"/>
                  </a:lnTo>
                  <a:lnTo>
                    <a:pt x="2856" y="23"/>
                  </a:lnTo>
                  <a:lnTo>
                    <a:pt x="2865" y="23"/>
                  </a:lnTo>
                  <a:lnTo>
                    <a:pt x="2879" y="26"/>
                  </a:lnTo>
                  <a:lnTo>
                    <a:pt x="2893" y="31"/>
                  </a:lnTo>
                  <a:lnTo>
                    <a:pt x="2907" y="31"/>
                  </a:lnTo>
                  <a:lnTo>
                    <a:pt x="2916" y="37"/>
                  </a:lnTo>
                  <a:lnTo>
                    <a:pt x="2929" y="40"/>
                  </a:lnTo>
                  <a:lnTo>
                    <a:pt x="2943" y="46"/>
                  </a:lnTo>
                  <a:lnTo>
                    <a:pt x="2957" y="48"/>
                  </a:lnTo>
                  <a:lnTo>
                    <a:pt x="2971" y="51"/>
                  </a:lnTo>
                  <a:lnTo>
                    <a:pt x="2984" y="57"/>
                  </a:lnTo>
                  <a:lnTo>
                    <a:pt x="2998" y="60"/>
                  </a:lnTo>
                  <a:lnTo>
                    <a:pt x="3012" y="65"/>
                  </a:lnTo>
                  <a:lnTo>
                    <a:pt x="3030" y="71"/>
                  </a:lnTo>
                  <a:lnTo>
                    <a:pt x="3039" y="74"/>
                  </a:lnTo>
                  <a:lnTo>
                    <a:pt x="3057" y="80"/>
                  </a:lnTo>
                  <a:lnTo>
                    <a:pt x="3071" y="83"/>
                  </a:lnTo>
                  <a:lnTo>
                    <a:pt x="3085" y="88"/>
                  </a:lnTo>
                  <a:lnTo>
                    <a:pt x="3099" y="94"/>
                  </a:lnTo>
                  <a:lnTo>
                    <a:pt x="3117" y="100"/>
                  </a:lnTo>
                  <a:lnTo>
                    <a:pt x="3131" y="105"/>
                  </a:lnTo>
                  <a:lnTo>
                    <a:pt x="3144" y="108"/>
                  </a:lnTo>
                  <a:lnTo>
                    <a:pt x="3163" y="117"/>
                  </a:lnTo>
                  <a:lnTo>
                    <a:pt x="3181" y="120"/>
                  </a:lnTo>
                  <a:lnTo>
                    <a:pt x="3195" y="125"/>
                  </a:lnTo>
                  <a:lnTo>
                    <a:pt x="3208" y="131"/>
                  </a:lnTo>
                  <a:lnTo>
                    <a:pt x="3227" y="137"/>
                  </a:lnTo>
                  <a:lnTo>
                    <a:pt x="3245" y="142"/>
                  </a:lnTo>
                  <a:lnTo>
                    <a:pt x="3263" y="151"/>
                  </a:lnTo>
                  <a:lnTo>
                    <a:pt x="3277" y="157"/>
                  </a:lnTo>
                  <a:lnTo>
                    <a:pt x="3295" y="162"/>
                  </a:lnTo>
                  <a:lnTo>
                    <a:pt x="3313" y="171"/>
                  </a:lnTo>
                  <a:lnTo>
                    <a:pt x="3332" y="174"/>
                  </a:lnTo>
                  <a:lnTo>
                    <a:pt x="3345" y="182"/>
                  </a:lnTo>
                  <a:lnTo>
                    <a:pt x="3364" y="185"/>
                  </a:lnTo>
                  <a:lnTo>
                    <a:pt x="3382" y="194"/>
                  </a:lnTo>
                  <a:lnTo>
                    <a:pt x="3400" y="202"/>
                  </a:lnTo>
                  <a:lnTo>
                    <a:pt x="3418" y="208"/>
                  </a:lnTo>
                  <a:lnTo>
                    <a:pt x="3437" y="214"/>
                  </a:lnTo>
                  <a:lnTo>
                    <a:pt x="3455" y="222"/>
                  </a:lnTo>
                  <a:lnTo>
                    <a:pt x="3473" y="228"/>
                  </a:lnTo>
                  <a:lnTo>
                    <a:pt x="3492" y="236"/>
                  </a:lnTo>
                  <a:lnTo>
                    <a:pt x="3510" y="242"/>
                  </a:lnTo>
                  <a:lnTo>
                    <a:pt x="3528" y="251"/>
                  </a:lnTo>
                  <a:lnTo>
                    <a:pt x="3546" y="256"/>
                  </a:lnTo>
                  <a:lnTo>
                    <a:pt x="3569" y="265"/>
                  </a:lnTo>
                  <a:lnTo>
                    <a:pt x="3588" y="273"/>
                  </a:lnTo>
                  <a:lnTo>
                    <a:pt x="3610" y="279"/>
                  </a:lnTo>
                  <a:lnTo>
                    <a:pt x="3647" y="296"/>
                  </a:lnTo>
                  <a:lnTo>
                    <a:pt x="3688" y="310"/>
                  </a:lnTo>
                  <a:lnTo>
                    <a:pt x="3729" y="325"/>
                  </a:lnTo>
                  <a:lnTo>
                    <a:pt x="3770" y="342"/>
                  </a:lnTo>
                  <a:lnTo>
                    <a:pt x="3816" y="356"/>
                  </a:lnTo>
                  <a:lnTo>
                    <a:pt x="3853" y="376"/>
                  </a:lnTo>
                  <a:lnTo>
                    <a:pt x="3898" y="390"/>
                  </a:lnTo>
                  <a:lnTo>
                    <a:pt x="3944" y="407"/>
                  </a:lnTo>
                  <a:lnTo>
                    <a:pt x="3981" y="424"/>
                  </a:lnTo>
                  <a:lnTo>
                    <a:pt x="4026" y="441"/>
                  </a:lnTo>
                  <a:lnTo>
                    <a:pt x="4067" y="461"/>
                  </a:lnTo>
                  <a:lnTo>
                    <a:pt x="4109" y="476"/>
                  </a:lnTo>
                  <a:lnTo>
                    <a:pt x="4150" y="493"/>
                  </a:lnTo>
                  <a:lnTo>
                    <a:pt x="4195" y="510"/>
                  </a:lnTo>
                  <a:lnTo>
                    <a:pt x="4237" y="527"/>
                  </a:lnTo>
                  <a:lnTo>
                    <a:pt x="4278" y="547"/>
                  </a:lnTo>
                  <a:lnTo>
                    <a:pt x="4319" y="564"/>
                  </a:lnTo>
                  <a:lnTo>
                    <a:pt x="4364" y="578"/>
                  </a:lnTo>
                  <a:lnTo>
                    <a:pt x="4401" y="598"/>
                  </a:lnTo>
                  <a:lnTo>
                    <a:pt x="4442" y="615"/>
                  </a:lnTo>
                  <a:lnTo>
                    <a:pt x="4483" y="632"/>
                  </a:lnTo>
                  <a:lnTo>
                    <a:pt x="4524" y="649"/>
                  </a:lnTo>
                  <a:lnTo>
                    <a:pt x="4561" y="666"/>
                  </a:lnTo>
                  <a:lnTo>
                    <a:pt x="4607" y="686"/>
                  </a:lnTo>
                  <a:lnTo>
                    <a:pt x="4639" y="701"/>
                  </a:lnTo>
                  <a:lnTo>
                    <a:pt x="4680" y="718"/>
                  </a:lnTo>
                  <a:lnTo>
                    <a:pt x="4721" y="735"/>
                  </a:lnTo>
                  <a:lnTo>
                    <a:pt x="4757" y="752"/>
                  </a:lnTo>
                  <a:lnTo>
                    <a:pt x="4794" y="769"/>
                  </a:lnTo>
                  <a:lnTo>
                    <a:pt x="4831" y="786"/>
                  </a:lnTo>
                  <a:lnTo>
                    <a:pt x="4867" y="803"/>
                  </a:lnTo>
                  <a:lnTo>
                    <a:pt x="4904" y="817"/>
                  </a:lnTo>
                  <a:lnTo>
                    <a:pt x="4936" y="834"/>
                  </a:lnTo>
                  <a:lnTo>
                    <a:pt x="4968" y="849"/>
                  </a:lnTo>
                  <a:lnTo>
                    <a:pt x="5000" y="863"/>
                  </a:lnTo>
                  <a:lnTo>
                    <a:pt x="5036" y="880"/>
                  </a:lnTo>
                  <a:lnTo>
                    <a:pt x="5064" y="894"/>
                  </a:lnTo>
                  <a:lnTo>
                    <a:pt x="5096" y="908"/>
                  </a:lnTo>
                  <a:lnTo>
                    <a:pt x="5128" y="923"/>
                  </a:lnTo>
                  <a:lnTo>
                    <a:pt x="5155" y="937"/>
                  </a:lnTo>
                  <a:lnTo>
                    <a:pt x="5183" y="951"/>
                  </a:lnTo>
                  <a:lnTo>
                    <a:pt x="5210" y="965"/>
                  </a:lnTo>
                  <a:lnTo>
                    <a:pt x="5233" y="977"/>
                  </a:lnTo>
                  <a:lnTo>
                    <a:pt x="5260" y="988"/>
                  </a:lnTo>
                  <a:lnTo>
                    <a:pt x="5283" y="1002"/>
                  </a:lnTo>
                  <a:lnTo>
                    <a:pt x="5310" y="1011"/>
                  </a:lnTo>
                  <a:lnTo>
                    <a:pt x="5329" y="1022"/>
                  </a:lnTo>
                  <a:lnTo>
                    <a:pt x="5352" y="1037"/>
                  </a:lnTo>
                  <a:lnTo>
                    <a:pt x="5370" y="1045"/>
                  </a:lnTo>
                  <a:lnTo>
                    <a:pt x="5388" y="1056"/>
                  </a:lnTo>
                  <a:lnTo>
                    <a:pt x="5406" y="1065"/>
                  </a:lnTo>
                  <a:lnTo>
                    <a:pt x="5420" y="1071"/>
                  </a:lnTo>
                  <a:lnTo>
                    <a:pt x="5438" y="1082"/>
                  </a:lnTo>
                  <a:lnTo>
                    <a:pt x="5452" y="1091"/>
                  </a:lnTo>
                  <a:lnTo>
                    <a:pt x="5461" y="1096"/>
                  </a:lnTo>
                  <a:lnTo>
                    <a:pt x="5475" y="1105"/>
                  </a:lnTo>
                  <a:lnTo>
                    <a:pt x="5480" y="1111"/>
                  </a:lnTo>
                  <a:lnTo>
                    <a:pt x="5489" y="1116"/>
                  </a:lnTo>
                  <a:lnTo>
                    <a:pt x="5498" y="1122"/>
                  </a:lnTo>
                  <a:lnTo>
                    <a:pt x="5502" y="1128"/>
                  </a:lnTo>
                  <a:lnTo>
                    <a:pt x="5507" y="1136"/>
                  </a:lnTo>
                  <a:lnTo>
                    <a:pt x="5507" y="1139"/>
                  </a:lnTo>
                  <a:lnTo>
                    <a:pt x="5493" y="1148"/>
                  </a:lnTo>
                  <a:lnTo>
                    <a:pt x="5475" y="1156"/>
                  </a:lnTo>
                  <a:lnTo>
                    <a:pt x="5457" y="1165"/>
                  </a:lnTo>
                  <a:lnTo>
                    <a:pt x="5443" y="1170"/>
                  </a:lnTo>
                  <a:lnTo>
                    <a:pt x="5434" y="1170"/>
                  </a:lnTo>
                  <a:lnTo>
                    <a:pt x="5420" y="1176"/>
                  </a:lnTo>
                  <a:lnTo>
                    <a:pt x="5411" y="1179"/>
                  </a:lnTo>
                  <a:lnTo>
                    <a:pt x="5402" y="1179"/>
                  </a:lnTo>
                  <a:lnTo>
                    <a:pt x="5384" y="1185"/>
                  </a:lnTo>
                  <a:lnTo>
                    <a:pt x="5365" y="1187"/>
                  </a:lnTo>
                  <a:lnTo>
                    <a:pt x="5342" y="1187"/>
                  </a:lnTo>
                  <a:lnTo>
                    <a:pt x="5324" y="1190"/>
                  </a:lnTo>
                  <a:lnTo>
                    <a:pt x="5310" y="1190"/>
                  </a:lnTo>
                  <a:lnTo>
                    <a:pt x="5297" y="1190"/>
                  </a:lnTo>
                  <a:lnTo>
                    <a:pt x="5283" y="1187"/>
                  </a:lnTo>
                  <a:lnTo>
                    <a:pt x="5274" y="1185"/>
                  </a:lnTo>
                  <a:lnTo>
                    <a:pt x="5269" y="1182"/>
                  </a:lnTo>
                  <a:lnTo>
                    <a:pt x="5274" y="1179"/>
                  </a:lnTo>
                  <a:lnTo>
                    <a:pt x="5269" y="1176"/>
                  </a:lnTo>
                  <a:lnTo>
                    <a:pt x="5265" y="1170"/>
                  </a:lnTo>
                  <a:lnTo>
                    <a:pt x="5256" y="1165"/>
                  </a:lnTo>
                  <a:lnTo>
                    <a:pt x="5247" y="1159"/>
                  </a:lnTo>
                  <a:lnTo>
                    <a:pt x="5233" y="1150"/>
                  </a:lnTo>
                  <a:lnTo>
                    <a:pt x="5219" y="1142"/>
                  </a:lnTo>
                  <a:lnTo>
                    <a:pt x="5210" y="1136"/>
                  </a:lnTo>
                  <a:lnTo>
                    <a:pt x="5201" y="1131"/>
                  </a:lnTo>
                  <a:lnTo>
                    <a:pt x="5187" y="1125"/>
                  </a:lnTo>
                  <a:lnTo>
                    <a:pt x="5178" y="1122"/>
                  </a:lnTo>
                  <a:lnTo>
                    <a:pt x="5164" y="1116"/>
                  </a:lnTo>
                  <a:lnTo>
                    <a:pt x="5155" y="1108"/>
                  </a:lnTo>
                  <a:lnTo>
                    <a:pt x="5141" y="1102"/>
                  </a:lnTo>
                  <a:lnTo>
                    <a:pt x="5128" y="1093"/>
                  </a:lnTo>
                  <a:lnTo>
                    <a:pt x="5114" y="1088"/>
                  </a:lnTo>
                  <a:lnTo>
                    <a:pt x="5100" y="1079"/>
                  </a:lnTo>
                  <a:lnTo>
                    <a:pt x="5087" y="1071"/>
                  </a:lnTo>
                  <a:lnTo>
                    <a:pt x="5073" y="1065"/>
                  </a:lnTo>
                  <a:lnTo>
                    <a:pt x="5055" y="1054"/>
                  </a:lnTo>
                  <a:lnTo>
                    <a:pt x="5036" y="1045"/>
                  </a:lnTo>
                  <a:lnTo>
                    <a:pt x="5018" y="1039"/>
                  </a:lnTo>
                  <a:lnTo>
                    <a:pt x="5000" y="1028"/>
                  </a:lnTo>
                  <a:lnTo>
                    <a:pt x="4981" y="1019"/>
                  </a:lnTo>
                  <a:lnTo>
                    <a:pt x="4963" y="1011"/>
                  </a:lnTo>
                  <a:lnTo>
                    <a:pt x="4940" y="1002"/>
                  </a:lnTo>
                  <a:lnTo>
                    <a:pt x="4922" y="994"/>
                  </a:lnTo>
                  <a:lnTo>
                    <a:pt x="4904" y="982"/>
                  </a:lnTo>
                  <a:lnTo>
                    <a:pt x="4881" y="971"/>
                  </a:lnTo>
                  <a:lnTo>
                    <a:pt x="4858" y="962"/>
                  </a:lnTo>
                  <a:lnTo>
                    <a:pt x="4835" y="951"/>
                  </a:lnTo>
                  <a:lnTo>
                    <a:pt x="4817" y="940"/>
                  </a:lnTo>
                  <a:lnTo>
                    <a:pt x="4794" y="931"/>
                  </a:lnTo>
                  <a:lnTo>
                    <a:pt x="4767" y="920"/>
                  </a:lnTo>
                  <a:lnTo>
                    <a:pt x="4744" y="908"/>
                  </a:lnTo>
                  <a:lnTo>
                    <a:pt x="4721" y="897"/>
                  </a:lnTo>
                  <a:lnTo>
                    <a:pt x="4694" y="886"/>
                  </a:lnTo>
                  <a:lnTo>
                    <a:pt x="4671" y="874"/>
                  </a:lnTo>
                  <a:lnTo>
                    <a:pt x="4643" y="863"/>
                  </a:lnTo>
                  <a:lnTo>
                    <a:pt x="4620" y="851"/>
                  </a:lnTo>
                  <a:lnTo>
                    <a:pt x="4593" y="840"/>
                  </a:lnTo>
                  <a:lnTo>
                    <a:pt x="4561" y="829"/>
                  </a:lnTo>
                  <a:lnTo>
                    <a:pt x="4543" y="817"/>
                  </a:lnTo>
                  <a:lnTo>
                    <a:pt x="4511" y="803"/>
                  </a:lnTo>
                  <a:lnTo>
                    <a:pt x="4488" y="794"/>
                  </a:lnTo>
                  <a:lnTo>
                    <a:pt x="4456" y="777"/>
                  </a:lnTo>
                  <a:lnTo>
                    <a:pt x="4428" y="766"/>
                  </a:lnTo>
                  <a:lnTo>
                    <a:pt x="4401" y="755"/>
                  </a:lnTo>
                  <a:lnTo>
                    <a:pt x="4369" y="743"/>
                  </a:lnTo>
                  <a:lnTo>
                    <a:pt x="4342" y="729"/>
                  </a:lnTo>
                  <a:lnTo>
                    <a:pt x="4314" y="718"/>
                  </a:lnTo>
                  <a:lnTo>
                    <a:pt x="4282" y="706"/>
                  </a:lnTo>
                  <a:lnTo>
                    <a:pt x="4250" y="692"/>
                  </a:lnTo>
                  <a:lnTo>
                    <a:pt x="4223" y="681"/>
                  </a:lnTo>
                  <a:lnTo>
                    <a:pt x="4195" y="666"/>
                  </a:lnTo>
                  <a:lnTo>
                    <a:pt x="4163" y="655"/>
                  </a:lnTo>
                  <a:lnTo>
                    <a:pt x="4131" y="644"/>
                  </a:lnTo>
                  <a:lnTo>
                    <a:pt x="4099" y="629"/>
                  </a:lnTo>
                  <a:lnTo>
                    <a:pt x="4072" y="618"/>
                  </a:lnTo>
                  <a:lnTo>
                    <a:pt x="4045" y="609"/>
                  </a:lnTo>
                  <a:lnTo>
                    <a:pt x="4017" y="598"/>
                  </a:lnTo>
                  <a:lnTo>
                    <a:pt x="3994" y="587"/>
                  </a:lnTo>
                  <a:lnTo>
                    <a:pt x="3967" y="575"/>
                  </a:lnTo>
                  <a:lnTo>
                    <a:pt x="3944" y="564"/>
                  </a:lnTo>
                  <a:lnTo>
                    <a:pt x="3921" y="555"/>
                  </a:lnTo>
                  <a:lnTo>
                    <a:pt x="3889" y="547"/>
                  </a:lnTo>
                  <a:lnTo>
                    <a:pt x="3871" y="535"/>
                  </a:lnTo>
                  <a:lnTo>
                    <a:pt x="3839" y="527"/>
                  </a:lnTo>
                  <a:lnTo>
                    <a:pt x="3821" y="515"/>
                  </a:lnTo>
                  <a:lnTo>
                    <a:pt x="3789" y="507"/>
                  </a:lnTo>
                  <a:lnTo>
                    <a:pt x="3766" y="495"/>
                  </a:lnTo>
                  <a:lnTo>
                    <a:pt x="3743" y="484"/>
                  </a:lnTo>
                  <a:lnTo>
                    <a:pt x="3720" y="476"/>
                  </a:lnTo>
                  <a:lnTo>
                    <a:pt x="3693" y="467"/>
                  </a:lnTo>
                  <a:lnTo>
                    <a:pt x="3670" y="461"/>
                  </a:lnTo>
                  <a:lnTo>
                    <a:pt x="3642" y="450"/>
                  </a:lnTo>
                  <a:lnTo>
                    <a:pt x="3620" y="439"/>
                  </a:lnTo>
                  <a:lnTo>
                    <a:pt x="3597" y="430"/>
                  </a:lnTo>
                  <a:lnTo>
                    <a:pt x="3569" y="421"/>
                  </a:lnTo>
                  <a:lnTo>
                    <a:pt x="3546" y="413"/>
                  </a:lnTo>
                  <a:lnTo>
                    <a:pt x="3519" y="404"/>
                  </a:lnTo>
                  <a:lnTo>
                    <a:pt x="3496" y="396"/>
                  </a:lnTo>
                  <a:lnTo>
                    <a:pt x="3473" y="387"/>
                  </a:lnTo>
                  <a:lnTo>
                    <a:pt x="3455" y="376"/>
                  </a:lnTo>
                  <a:lnTo>
                    <a:pt x="3428" y="367"/>
                  </a:lnTo>
                  <a:lnTo>
                    <a:pt x="3405" y="362"/>
                  </a:lnTo>
                  <a:lnTo>
                    <a:pt x="3382" y="353"/>
                  </a:lnTo>
                  <a:lnTo>
                    <a:pt x="3359" y="345"/>
                  </a:lnTo>
                  <a:lnTo>
                    <a:pt x="3336" y="336"/>
                  </a:lnTo>
                  <a:lnTo>
                    <a:pt x="3313" y="330"/>
                  </a:lnTo>
                  <a:lnTo>
                    <a:pt x="3290" y="322"/>
                  </a:lnTo>
                  <a:lnTo>
                    <a:pt x="3268" y="313"/>
                  </a:lnTo>
                  <a:lnTo>
                    <a:pt x="3249" y="308"/>
                  </a:lnTo>
                  <a:lnTo>
                    <a:pt x="3227" y="299"/>
                  </a:lnTo>
                  <a:lnTo>
                    <a:pt x="3204" y="290"/>
                  </a:lnTo>
                  <a:lnTo>
                    <a:pt x="3181" y="285"/>
                  </a:lnTo>
                  <a:lnTo>
                    <a:pt x="3163" y="279"/>
                  </a:lnTo>
                  <a:lnTo>
                    <a:pt x="3144" y="271"/>
                  </a:lnTo>
                  <a:lnTo>
                    <a:pt x="3121" y="265"/>
                  </a:lnTo>
                  <a:lnTo>
                    <a:pt x="3103" y="259"/>
                  </a:lnTo>
                  <a:lnTo>
                    <a:pt x="3085" y="251"/>
                  </a:lnTo>
                  <a:lnTo>
                    <a:pt x="3062" y="248"/>
                  </a:lnTo>
                  <a:lnTo>
                    <a:pt x="3044" y="242"/>
                  </a:lnTo>
                  <a:lnTo>
                    <a:pt x="3025" y="236"/>
                  </a:lnTo>
                  <a:lnTo>
                    <a:pt x="3007" y="228"/>
                  </a:lnTo>
                  <a:lnTo>
                    <a:pt x="2993" y="225"/>
                  </a:lnTo>
                  <a:lnTo>
                    <a:pt x="2975" y="219"/>
                  </a:lnTo>
                  <a:lnTo>
                    <a:pt x="2957" y="214"/>
                  </a:lnTo>
                  <a:lnTo>
                    <a:pt x="2943" y="208"/>
                  </a:lnTo>
                  <a:lnTo>
                    <a:pt x="2925" y="205"/>
                  </a:lnTo>
                  <a:lnTo>
                    <a:pt x="2907" y="199"/>
                  </a:lnTo>
                  <a:lnTo>
                    <a:pt x="2888" y="196"/>
                  </a:lnTo>
                  <a:lnTo>
                    <a:pt x="2875" y="194"/>
                  </a:lnTo>
                  <a:lnTo>
                    <a:pt x="2861" y="188"/>
                  </a:lnTo>
                  <a:lnTo>
                    <a:pt x="2852" y="185"/>
                  </a:lnTo>
                  <a:lnTo>
                    <a:pt x="2838" y="182"/>
                  </a:lnTo>
                  <a:lnTo>
                    <a:pt x="2820" y="179"/>
                  </a:lnTo>
                  <a:lnTo>
                    <a:pt x="2811" y="174"/>
                  </a:lnTo>
                  <a:lnTo>
                    <a:pt x="2801" y="171"/>
                  </a:lnTo>
                  <a:lnTo>
                    <a:pt x="2783" y="171"/>
                  </a:lnTo>
                  <a:lnTo>
                    <a:pt x="2774" y="168"/>
                  </a:lnTo>
                  <a:lnTo>
                    <a:pt x="2765" y="165"/>
                  </a:lnTo>
                  <a:lnTo>
                    <a:pt x="2756" y="162"/>
                  </a:lnTo>
                  <a:lnTo>
                    <a:pt x="2733" y="159"/>
                  </a:lnTo>
                  <a:lnTo>
                    <a:pt x="2706" y="159"/>
                  </a:lnTo>
                  <a:lnTo>
                    <a:pt x="2674" y="159"/>
                  </a:lnTo>
                  <a:lnTo>
                    <a:pt x="2651" y="162"/>
                  </a:lnTo>
                  <a:lnTo>
                    <a:pt x="2614" y="165"/>
                  </a:lnTo>
                  <a:lnTo>
                    <a:pt x="2582" y="171"/>
                  </a:lnTo>
                  <a:lnTo>
                    <a:pt x="2546" y="179"/>
                  </a:lnTo>
                  <a:lnTo>
                    <a:pt x="2509" y="191"/>
                  </a:lnTo>
                  <a:lnTo>
                    <a:pt x="2468" y="199"/>
                  </a:lnTo>
                  <a:lnTo>
                    <a:pt x="2431" y="211"/>
                  </a:lnTo>
                  <a:lnTo>
                    <a:pt x="2386" y="225"/>
                  </a:lnTo>
                  <a:lnTo>
                    <a:pt x="2344" y="239"/>
                  </a:lnTo>
                  <a:lnTo>
                    <a:pt x="2299" y="253"/>
                  </a:lnTo>
                  <a:lnTo>
                    <a:pt x="2253" y="268"/>
                  </a:lnTo>
                  <a:lnTo>
                    <a:pt x="2207" y="288"/>
                  </a:lnTo>
                  <a:lnTo>
                    <a:pt x="2162" y="310"/>
                  </a:lnTo>
                  <a:lnTo>
                    <a:pt x="2111" y="327"/>
                  </a:lnTo>
                  <a:lnTo>
                    <a:pt x="2061" y="347"/>
                  </a:lnTo>
                  <a:lnTo>
                    <a:pt x="2011" y="367"/>
                  </a:lnTo>
                  <a:lnTo>
                    <a:pt x="1961" y="393"/>
                  </a:lnTo>
                  <a:lnTo>
                    <a:pt x="1906" y="416"/>
                  </a:lnTo>
                  <a:lnTo>
                    <a:pt x="1855" y="439"/>
                  </a:lnTo>
                  <a:lnTo>
                    <a:pt x="1801" y="464"/>
                  </a:lnTo>
                  <a:lnTo>
                    <a:pt x="1750" y="493"/>
                  </a:lnTo>
                  <a:lnTo>
                    <a:pt x="1691" y="515"/>
                  </a:lnTo>
                  <a:lnTo>
                    <a:pt x="1636" y="541"/>
                  </a:lnTo>
                  <a:lnTo>
                    <a:pt x="1581" y="570"/>
                  </a:lnTo>
                  <a:lnTo>
                    <a:pt x="1531" y="598"/>
                  </a:lnTo>
                  <a:lnTo>
                    <a:pt x="1472" y="624"/>
                  </a:lnTo>
                  <a:lnTo>
                    <a:pt x="1421" y="652"/>
                  </a:lnTo>
                  <a:lnTo>
                    <a:pt x="1366" y="681"/>
                  </a:lnTo>
                  <a:lnTo>
                    <a:pt x="1316" y="709"/>
                  </a:lnTo>
                  <a:lnTo>
                    <a:pt x="1257" y="735"/>
                  </a:lnTo>
                  <a:lnTo>
                    <a:pt x="1207" y="763"/>
                  </a:lnTo>
                  <a:lnTo>
                    <a:pt x="1152" y="792"/>
                  </a:lnTo>
                  <a:lnTo>
                    <a:pt x="1101" y="817"/>
                  </a:lnTo>
                  <a:lnTo>
                    <a:pt x="1047" y="846"/>
                  </a:lnTo>
                  <a:lnTo>
                    <a:pt x="996" y="874"/>
                  </a:lnTo>
                  <a:lnTo>
                    <a:pt x="946" y="900"/>
                  </a:lnTo>
                  <a:lnTo>
                    <a:pt x="896" y="928"/>
                  </a:lnTo>
                  <a:lnTo>
                    <a:pt x="845" y="954"/>
                  </a:lnTo>
                  <a:lnTo>
                    <a:pt x="800" y="980"/>
                  </a:lnTo>
                  <a:lnTo>
                    <a:pt x="754" y="1005"/>
                  </a:lnTo>
                  <a:lnTo>
                    <a:pt x="708" y="1031"/>
                  </a:lnTo>
                  <a:lnTo>
                    <a:pt x="663" y="1054"/>
                  </a:lnTo>
                  <a:lnTo>
                    <a:pt x="622" y="1076"/>
                  </a:lnTo>
                  <a:lnTo>
                    <a:pt x="580" y="1099"/>
                  </a:lnTo>
                  <a:lnTo>
                    <a:pt x="544" y="1122"/>
                  </a:lnTo>
                  <a:lnTo>
                    <a:pt x="503" y="1142"/>
                  </a:lnTo>
                  <a:lnTo>
                    <a:pt x="466" y="1162"/>
                  </a:lnTo>
                  <a:lnTo>
                    <a:pt x="430" y="1182"/>
                  </a:lnTo>
                  <a:lnTo>
                    <a:pt x="398" y="1199"/>
                  </a:lnTo>
                  <a:lnTo>
                    <a:pt x="366" y="1216"/>
                  </a:lnTo>
                  <a:lnTo>
                    <a:pt x="343" y="1230"/>
                  </a:lnTo>
                  <a:lnTo>
                    <a:pt x="311" y="1244"/>
                  </a:lnTo>
                  <a:lnTo>
                    <a:pt x="288" y="1261"/>
                  </a:lnTo>
                  <a:lnTo>
                    <a:pt x="260" y="1270"/>
                  </a:lnTo>
                  <a:lnTo>
                    <a:pt x="242" y="1281"/>
                  </a:lnTo>
                  <a:lnTo>
                    <a:pt x="229" y="1287"/>
                  </a:lnTo>
                  <a:lnTo>
                    <a:pt x="210" y="1299"/>
                  </a:lnTo>
                  <a:lnTo>
                    <a:pt x="201" y="1304"/>
                  </a:lnTo>
                  <a:lnTo>
                    <a:pt x="187" y="1307"/>
                  </a:lnTo>
                  <a:lnTo>
                    <a:pt x="183" y="1307"/>
                  </a:lnTo>
                  <a:lnTo>
                    <a:pt x="178" y="1310"/>
                  </a:lnTo>
                  <a:lnTo>
                    <a:pt x="165" y="1307"/>
                  </a:lnTo>
                  <a:lnTo>
                    <a:pt x="155" y="1307"/>
                  </a:lnTo>
                  <a:lnTo>
                    <a:pt x="137" y="1304"/>
                  </a:lnTo>
                  <a:lnTo>
                    <a:pt x="123" y="1304"/>
                  </a:lnTo>
                  <a:lnTo>
                    <a:pt x="105" y="1299"/>
                  </a:lnTo>
                  <a:lnTo>
                    <a:pt x="91" y="1299"/>
                  </a:lnTo>
                  <a:lnTo>
                    <a:pt x="73" y="1296"/>
                  </a:lnTo>
                  <a:lnTo>
                    <a:pt x="64" y="1293"/>
                  </a:lnTo>
                  <a:lnTo>
                    <a:pt x="46" y="1287"/>
                  </a:lnTo>
                  <a:lnTo>
                    <a:pt x="32" y="1287"/>
                  </a:lnTo>
                  <a:lnTo>
                    <a:pt x="18" y="1284"/>
                  </a:lnTo>
                  <a:lnTo>
                    <a:pt x="9" y="1284"/>
                  </a:lnTo>
                  <a:lnTo>
                    <a:pt x="0" y="1281"/>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197" name="Freeform 187"/>
            <p:cNvSpPr>
              <a:spLocks/>
            </p:cNvSpPr>
            <p:nvPr>
              <p:custDataLst>
                <p:tags r:id="rId96"/>
              </p:custDataLst>
            </p:nvPr>
          </p:nvSpPr>
          <p:spPr bwMode="gray">
            <a:xfrm>
              <a:off x="0" y="1175"/>
              <a:ext cx="5547" cy="378"/>
            </a:xfrm>
            <a:custGeom>
              <a:avLst/>
              <a:gdLst>
                <a:gd name="T0" fmla="*/ 137 w 5411"/>
                <a:gd name="T1" fmla="*/ 23 h 413"/>
                <a:gd name="T2" fmla="*/ 419 w 5411"/>
                <a:gd name="T3" fmla="*/ 27 h 413"/>
                <a:gd name="T4" fmla="*/ 792 w 5411"/>
                <a:gd name="T5" fmla="*/ 29 h 413"/>
                <a:gd name="T6" fmla="*/ 1235 w 5411"/>
                <a:gd name="T7" fmla="*/ 32 h 413"/>
                <a:gd name="T8" fmla="*/ 1745 w 5411"/>
                <a:gd name="T9" fmla="*/ 35 h 413"/>
                <a:gd name="T10" fmla="*/ 2301 w 5411"/>
                <a:gd name="T11" fmla="*/ 38 h 413"/>
                <a:gd name="T12" fmla="*/ 2885 w 5411"/>
                <a:gd name="T13" fmla="*/ 38 h 413"/>
                <a:gd name="T14" fmla="*/ 3504 w 5411"/>
                <a:gd name="T15" fmla="*/ 41 h 413"/>
                <a:gd name="T16" fmla="*/ 4129 w 5411"/>
                <a:gd name="T17" fmla="*/ 41 h 413"/>
                <a:gd name="T18" fmla="*/ 4759 w 5411"/>
                <a:gd name="T19" fmla="*/ 41 h 413"/>
                <a:gd name="T20" fmla="*/ 5374 w 5411"/>
                <a:gd name="T21" fmla="*/ 41 h 413"/>
                <a:gd name="T22" fmla="*/ 5964 w 5411"/>
                <a:gd name="T23" fmla="*/ 39 h 413"/>
                <a:gd name="T24" fmla="*/ 6526 w 5411"/>
                <a:gd name="T25" fmla="*/ 38 h 413"/>
                <a:gd name="T26" fmla="*/ 7032 w 5411"/>
                <a:gd name="T27" fmla="*/ 35 h 413"/>
                <a:gd name="T28" fmla="*/ 7519 w 5411"/>
                <a:gd name="T29" fmla="*/ 32 h 413"/>
                <a:gd name="T30" fmla="*/ 7972 w 5411"/>
                <a:gd name="T31" fmla="*/ 31 h 413"/>
                <a:gd name="T32" fmla="*/ 8402 w 5411"/>
                <a:gd name="T33" fmla="*/ 27 h 413"/>
                <a:gd name="T34" fmla="*/ 8785 w 5411"/>
                <a:gd name="T35" fmla="*/ 25 h 413"/>
                <a:gd name="T36" fmla="*/ 9130 w 5411"/>
                <a:gd name="T37" fmla="*/ 23 h 413"/>
                <a:gd name="T38" fmla="*/ 9436 w 5411"/>
                <a:gd name="T39" fmla="*/ 19 h 413"/>
                <a:gd name="T40" fmla="*/ 9704 w 5411"/>
                <a:gd name="T41" fmla="*/ 16 h 413"/>
                <a:gd name="T42" fmla="*/ 9927 w 5411"/>
                <a:gd name="T43" fmla="*/ 15 h 413"/>
                <a:gd name="T44" fmla="*/ 10097 w 5411"/>
                <a:gd name="T45" fmla="*/ 13 h 413"/>
                <a:gd name="T46" fmla="*/ 10233 w 5411"/>
                <a:gd name="T47" fmla="*/ 12 h 413"/>
                <a:gd name="T48" fmla="*/ 10318 w 5411"/>
                <a:gd name="T49" fmla="*/ 11 h 413"/>
                <a:gd name="T50" fmla="*/ 9982 w 5411"/>
                <a:gd name="T51" fmla="*/ 3 h 413"/>
                <a:gd name="T52" fmla="*/ 9839 w 5411"/>
                <a:gd name="T53" fmla="*/ 5 h 413"/>
                <a:gd name="T54" fmla="*/ 9639 w 5411"/>
                <a:gd name="T55" fmla="*/ 5 h 413"/>
                <a:gd name="T56" fmla="*/ 9352 w 5411"/>
                <a:gd name="T57" fmla="*/ 5 h 413"/>
                <a:gd name="T58" fmla="*/ 9016 w 5411"/>
                <a:gd name="T59" fmla="*/ 9 h 413"/>
                <a:gd name="T60" fmla="*/ 8628 w 5411"/>
                <a:gd name="T61" fmla="*/ 12 h 413"/>
                <a:gd name="T62" fmla="*/ 8190 w 5411"/>
                <a:gd name="T63" fmla="*/ 14 h 413"/>
                <a:gd name="T64" fmla="*/ 7704 w 5411"/>
                <a:gd name="T65" fmla="*/ 16 h 413"/>
                <a:gd name="T66" fmla="*/ 7193 w 5411"/>
                <a:gd name="T67" fmla="*/ 19 h 413"/>
                <a:gd name="T68" fmla="*/ 6640 w 5411"/>
                <a:gd name="T69" fmla="*/ 23 h 413"/>
                <a:gd name="T70" fmla="*/ 6066 w 5411"/>
                <a:gd name="T71" fmla="*/ 25 h 413"/>
                <a:gd name="T72" fmla="*/ 5482 w 5411"/>
                <a:gd name="T73" fmla="*/ 25 h 413"/>
                <a:gd name="T74" fmla="*/ 4868 w 5411"/>
                <a:gd name="T75" fmla="*/ 27 h 413"/>
                <a:gd name="T76" fmla="*/ 4278 w 5411"/>
                <a:gd name="T77" fmla="*/ 27 h 413"/>
                <a:gd name="T78" fmla="*/ 3722 w 5411"/>
                <a:gd name="T79" fmla="*/ 27 h 413"/>
                <a:gd name="T80" fmla="*/ 3190 w 5411"/>
                <a:gd name="T81" fmla="*/ 27 h 413"/>
                <a:gd name="T82" fmla="*/ 2699 w 5411"/>
                <a:gd name="T83" fmla="*/ 25 h 413"/>
                <a:gd name="T84" fmla="*/ 2242 w 5411"/>
                <a:gd name="T85" fmla="*/ 24 h 413"/>
                <a:gd name="T86" fmla="*/ 1838 w 5411"/>
                <a:gd name="T87" fmla="*/ 23 h 413"/>
                <a:gd name="T88" fmla="*/ 1449 w 5411"/>
                <a:gd name="T89" fmla="*/ 21 h 413"/>
                <a:gd name="T90" fmla="*/ 1141 w 5411"/>
                <a:gd name="T91" fmla="*/ 19 h 413"/>
                <a:gd name="T92" fmla="*/ 869 w 5411"/>
                <a:gd name="T93" fmla="*/ 17 h 413"/>
                <a:gd name="T94" fmla="*/ 657 w 5411"/>
                <a:gd name="T95" fmla="*/ 16 h 413"/>
                <a:gd name="T96" fmla="*/ 514 w 5411"/>
                <a:gd name="T97" fmla="*/ 14 h 413"/>
                <a:gd name="T98" fmla="*/ 410 w 5411"/>
                <a:gd name="T99" fmla="*/ 14 h 413"/>
                <a:gd name="T100" fmla="*/ 252 w 5411"/>
                <a:gd name="T101" fmla="*/ 14 h 413"/>
                <a:gd name="T102" fmla="*/ 74 w 5411"/>
                <a:gd name="T103" fmla="*/ 17 h 413"/>
                <a:gd name="T104" fmla="*/ 0 w 5411"/>
                <a:gd name="T105" fmla="*/ 19 h 41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411"/>
                <a:gd name="T160" fmla="*/ 0 h 413"/>
                <a:gd name="T161" fmla="*/ 5411 w 5411"/>
                <a:gd name="T162" fmla="*/ 413 h 41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411" h="413">
                  <a:moveTo>
                    <a:pt x="0" y="199"/>
                  </a:moveTo>
                  <a:lnTo>
                    <a:pt x="5" y="208"/>
                  </a:lnTo>
                  <a:lnTo>
                    <a:pt x="23" y="213"/>
                  </a:lnTo>
                  <a:lnTo>
                    <a:pt x="46" y="222"/>
                  </a:lnTo>
                  <a:lnTo>
                    <a:pt x="73" y="231"/>
                  </a:lnTo>
                  <a:lnTo>
                    <a:pt x="96" y="239"/>
                  </a:lnTo>
                  <a:lnTo>
                    <a:pt x="123" y="248"/>
                  </a:lnTo>
                  <a:lnTo>
                    <a:pt x="155" y="253"/>
                  </a:lnTo>
                  <a:lnTo>
                    <a:pt x="187" y="262"/>
                  </a:lnTo>
                  <a:lnTo>
                    <a:pt x="219" y="268"/>
                  </a:lnTo>
                  <a:lnTo>
                    <a:pt x="256" y="273"/>
                  </a:lnTo>
                  <a:lnTo>
                    <a:pt x="292" y="282"/>
                  </a:lnTo>
                  <a:lnTo>
                    <a:pt x="334" y="287"/>
                  </a:lnTo>
                  <a:lnTo>
                    <a:pt x="375" y="293"/>
                  </a:lnTo>
                  <a:lnTo>
                    <a:pt x="416" y="299"/>
                  </a:lnTo>
                  <a:lnTo>
                    <a:pt x="462" y="307"/>
                  </a:lnTo>
                  <a:lnTo>
                    <a:pt x="507" y="313"/>
                  </a:lnTo>
                  <a:lnTo>
                    <a:pt x="553" y="319"/>
                  </a:lnTo>
                  <a:lnTo>
                    <a:pt x="599" y="324"/>
                  </a:lnTo>
                  <a:lnTo>
                    <a:pt x="649" y="330"/>
                  </a:lnTo>
                  <a:lnTo>
                    <a:pt x="699" y="336"/>
                  </a:lnTo>
                  <a:lnTo>
                    <a:pt x="750" y="339"/>
                  </a:lnTo>
                  <a:lnTo>
                    <a:pt x="804" y="344"/>
                  </a:lnTo>
                  <a:lnTo>
                    <a:pt x="859" y="350"/>
                  </a:lnTo>
                  <a:lnTo>
                    <a:pt x="914" y="356"/>
                  </a:lnTo>
                  <a:lnTo>
                    <a:pt x="969" y="359"/>
                  </a:lnTo>
                  <a:lnTo>
                    <a:pt x="1028" y="364"/>
                  </a:lnTo>
                  <a:lnTo>
                    <a:pt x="1088" y="367"/>
                  </a:lnTo>
                  <a:lnTo>
                    <a:pt x="1147" y="373"/>
                  </a:lnTo>
                  <a:lnTo>
                    <a:pt x="1207" y="376"/>
                  </a:lnTo>
                  <a:lnTo>
                    <a:pt x="1266" y="379"/>
                  </a:lnTo>
                  <a:lnTo>
                    <a:pt x="1325" y="384"/>
                  </a:lnTo>
                  <a:lnTo>
                    <a:pt x="1394" y="390"/>
                  </a:lnTo>
                  <a:lnTo>
                    <a:pt x="1453" y="390"/>
                  </a:lnTo>
                  <a:lnTo>
                    <a:pt x="1513" y="393"/>
                  </a:lnTo>
                  <a:lnTo>
                    <a:pt x="1577" y="396"/>
                  </a:lnTo>
                  <a:lnTo>
                    <a:pt x="1645" y="399"/>
                  </a:lnTo>
                  <a:lnTo>
                    <a:pt x="1709" y="401"/>
                  </a:lnTo>
                  <a:lnTo>
                    <a:pt x="1773" y="401"/>
                  </a:lnTo>
                  <a:lnTo>
                    <a:pt x="1837" y="404"/>
                  </a:lnTo>
                  <a:lnTo>
                    <a:pt x="1906" y="407"/>
                  </a:lnTo>
                  <a:lnTo>
                    <a:pt x="1970" y="410"/>
                  </a:lnTo>
                  <a:lnTo>
                    <a:pt x="2034" y="410"/>
                  </a:lnTo>
                  <a:lnTo>
                    <a:pt x="2098" y="410"/>
                  </a:lnTo>
                  <a:lnTo>
                    <a:pt x="2166" y="413"/>
                  </a:lnTo>
                  <a:lnTo>
                    <a:pt x="2235" y="413"/>
                  </a:lnTo>
                  <a:lnTo>
                    <a:pt x="2299" y="413"/>
                  </a:lnTo>
                  <a:lnTo>
                    <a:pt x="2363" y="413"/>
                  </a:lnTo>
                  <a:lnTo>
                    <a:pt x="2431" y="413"/>
                  </a:lnTo>
                  <a:lnTo>
                    <a:pt x="2495" y="413"/>
                  </a:lnTo>
                  <a:lnTo>
                    <a:pt x="2559" y="413"/>
                  </a:lnTo>
                  <a:lnTo>
                    <a:pt x="2623" y="410"/>
                  </a:lnTo>
                  <a:lnTo>
                    <a:pt x="2692" y="410"/>
                  </a:lnTo>
                  <a:lnTo>
                    <a:pt x="2751" y="410"/>
                  </a:lnTo>
                  <a:lnTo>
                    <a:pt x="2820" y="407"/>
                  </a:lnTo>
                  <a:lnTo>
                    <a:pt x="2879" y="404"/>
                  </a:lnTo>
                  <a:lnTo>
                    <a:pt x="2943" y="404"/>
                  </a:lnTo>
                  <a:lnTo>
                    <a:pt x="3003" y="401"/>
                  </a:lnTo>
                  <a:lnTo>
                    <a:pt x="3067" y="401"/>
                  </a:lnTo>
                  <a:lnTo>
                    <a:pt x="3126" y="399"/>
                  </a:lnTo>
                  <a:lnTo>
                    <a:pt x="3185" y="396"/>
                  </a:lnTo>
                  <a:lnTo>
                    <a:pt x="3245" y="390"/>
                  </a:lnTo>
                  <a:lnTo>
                    <a:pt x="3304" y="390"/>
                  </a:lnTo>
                  <a:lnTo>
                    <a:pt x="3364" y="384"/>
                  </a:lnTo>
                  <a:lnTo>
                    <a:pt x="3423" y="381"/>
                  </a:lnTo>
                  <a:lnTo>
                    <a:pt x="3473" y="376"/>
                  </a:lnTo>
                  <a:lnTo>
                    <a:pt x="3528" y="373"/>
                  </a:lnTo>
                  <a:lnTo>
                    <a:pt x="3583" y="367"/>
                  </a:lnTo>
                  <a:lnTo>
                    <a:pt x="3638" y="364"/>
                  </a:lnTo>
                  <a:lnTo>
                    <a:pt x="3688" y="359"/>
                  </a:lnTo>
                  <a:lnTo>
                    <a:pt x="3743" y="353"/>
                  </a:lnTo>
                  <a:lnTo>
                    <a:pt x="3789" y="347"/>
                  </a:lnTo>
                  <a:lnTo>
                    <a:pt x="3843" y="344"/>
                  </a:lnTo>
                  <a:lnTo>
                    <a:pt x="3889" y="339"/>
                  </a:lnTo>
                  <a:lnTo>
                    <a:pt x="3944" y="333"/>
                  </a:lnTo>
                  <a:lnTo>
                    <a:pt x="3990" y="327"/>
                  </a:lnTo>
                  <a:lnTo>
                    <a:pt x="4040" y="324"/>
                  </a:lnTo>
                  <a:lnTo>
                    <a:pt x="4086" y="316"/>
                  </a:lnTo>
                  <a:lnTo>
                    <a:pt x="4136" y="313"/>
                  </a:lnTo>
                  <a:lnTo>
                    <a:pt x="4182" y="307"/>
                  </a:lnTo>
                  <a:lnTo>
                    <a:pt x="4232" y="302"/>
                  </a:lnTo>
                  <a:lnTo>
                    <a:pt x="4273" y="296"/>
                  </a:lnTo>
                  <a:lnTo>
                    <a:pt x="4319" y="287"/>
                  </a:lnTo>
                  <a:lnTo>
                    <a:pt x="4360" y="285"/>
                  </a:lnTo>
                  <a:lnTo>
                    <a:pt x="4406" y="279"/>
                  </a:lnTo>
                  <a:lnTo>
                    <a:pt x="4447" y="273"/>
                  </a:lnTo>
                  <a:lnTo>
                    <a:pt x="4488" y="265"/>
                  </a:lnTo>
                  <a:lnTo>
                    <a:pt x="4529" y="262"/>
                  </a:lnTo>
                  <a:lnTo>
                    <a:pt x="4570" y="256"/>
                  </a:lnTo>
                  <a:lnTo>
                    <a:pt x="4607" y="250"/>
                  </a:lnTo>
                  <a:lnTo>
                    <a:pt x="4643" y="239"/>
                  </a:lnTo>
                  <a:lnTo>
                    <a:pt x="4680" y="236"/>
                  </a:lnTo>
                  <a:lnTo>
                    <a:pt x="4721" y="231"/>
                  </a:lnTo>
                  <a:lnTo>
                    <a:pt x="4753" y="225"/>
                  </a:lnTo>
                  <a:lnTo>
                    <a:pt x="4789" y="219"/>
                  </a:lnTo>
                  <a:lnTo>
                    <a:pt x="4821" y="213"/>
                  </a:lnTo>
                  <a:lnTo>
                    <a:pt x="4858" y="208"/>
                  </a:lnTo>
                  <a:lnTo>
                    <a:pt x="4890" y="202"/>
                  </a:lnTo>
                  <a:lnTo>
                    <a:pt x="4922" y="196"/>
                  </a:lnTo>
                  <a:lnTo>
                    <a:pt x="4949" y="191"/>
                  </a:lnTo>
                  <a:lnTo>
                    <a:pt x="4981" y="185"/>
                  </a:lnTo>
                  <a:lnTo>
                    <a:pt x="5009" y="179"/>
                  </a:lnTo>
                  <a:lnTo>
                    <a:pt x="5041" y="174"/>
                  </a:lnTo>
                  <a:lnTo>
                    <a:pt x="5064" y="168"/>
                  </a:lnTo>
                  <a:lnTo>
                    <a:pt x="5091" y="165"/>
                  </a:lnTo>
                  <a:lnTo>
                    <a:pt x="5119" y="159"/>
                  </a:lnTo>
                  <a:lnTo>
                    <a:pt x="5141" y="154"/>
                  </a:lnTo>
                  <a:lnTo>
                    <a:pt x="5164" y="151"/>
                  </a:lnTo>
                  <a:lnTo>
                    <a:pt x="5187" y="148"/>
                  </a:lnTo>
                  <a:lnTo>
                    <a:pt x="5205" y="142"/>
                  </a:lnTo>
                  <a:lnTo>
                    <a:pt x="5228" y="139"/>
                  </a:lnTo>
                  <a:lnTo>
                    <a:pt x="5247" y="137"/>
                  </a:lnTo>
                  <a:lnTo>
                    <a:pt x="5265" y="131"/>
                  </a:lnTo>
                  <a:lnTo>
                    <a:pt x="5283" y="128"/>
                  </a:lnTo>
                  <a:lnTo>
                    <a:pt x="5297" y="122"/>
                  </a:lnTo>
                  <a:lnTo>
                    <a:pt x="5315" y="119"/>
                  </a:lnTo>
                  <a:lnTo>
                    <a:pt x="5329" y="117"/>
                  </a:lnTo>
                  <a:lnTo>
                    <a:pt x="5338" y="114"/>
                  </a:lnTo>
                  <a:lnTo>
                    <a:pt x="5352" y="111"/>
                  </a:lnTo>
                  <a:lnTo>
                    <a:pt x="5365" y="111"/>
                  </a:lnTo>
                  <a:lnTo>
                    <a:pt x="5374" y="108"/>
                  </a:lnTo>
                  <a:lnTo>
                    <a:pt x="5388" y="102"/>
                  </a:lnTo>
                  <a:lnTo>
                    <a:pt x="5402" y="102"/>
                  </a:lnTo>
                  <a:lnTo>
                    <a:pt x="5411" y="100"/>
                  </a:lnTo>
                  <a:lnTo>
                    <a:pt x="5265" y="0"/>
                  </a:lnTo>
                  <a:lnTo>
                    <a:pt x="5260" y="0"/>
                  </a:lnTo>
                  <a:lnTo>
                    <a:pt x="5251" y="3"/>
                  </a:lnTo>
                  <a:lnTo>
                    <a:pt x="5242" y="3"/>
                  </a:lnTo>
                  <a:lnTo>
                    <a:pt x="5233" y="3"/>
                  </a:lnTo>
                  <a:lnTo>
                    <a:pt x="5219" y="3"/>
                  </a:lnTo>
                  <a:lnTo>
                    <a:pt x="5210" y="8"/>
                  </a:lnTo>
                  <a:lnTo>
                    <a:pt x="5196" y="11"/>
                  </a:lnTo>
                  <a:lnTo>
                    <a:pt x="5178" y="14"/>
                  </a:lnTo>
                  <a:lnTo>
                    <a:pt x="5160" y="17"/>
                  </a:lnTo>
                  <a:lnTo>
                    <a:pt x="5141" y="20"/>
                  </a:lnTo>
                  <a:lnTo>
                    <a:pt x="5119" y="23"/>
                  </a:lnTo>
                  <a:lnTo>
                    <a:pt x="5100" y="25"/>
                  </a:lnTo>
                  <a:lnTo>
                    <a:pt x="5077" y="31"/>
                  </a:lnTo>
                  <a:lnTo>
                    <a:pt x="5055" y="37"/>
                  </a:lnTo>
                  <a:lnTo>
                    <a:pt x="5023" y="40"/>
                  </a:lnTo>
                  <a:lnTo>
                    <a:pt x="5000" y="43"/>
                  </a:lnTo>
                  <a:lnTo>
                    <a:pt x="4968" y="48"/>
                  </a:lnTo>
                  <a:lnTo>
                    <a:pt x="4940" y="51"/>
                  </a:lnTo>
                  <a:lnTo>
                    <a:pt x="4904" y="57"/>
                  </a:lnTo>
                  <a:lnTo>
                    <a:pt x="4872" y="60"/>
                  </a:lnTo>
                  <a:lnTo>
                    <a:pt x="4840" y="68"/>
                  </a:lnTo>
                  <a:lnTo>
                    <a:pt x="4808" y="71"/>
                  </a:lnTo>
                  <a:lnTo>
                    <a:pt x="4767" y="77"/>
                  </a:lnTo>
                  <a:lnTo>
                    <a:pt x="4730" y="82"/>
                  </a:lnTo>
                  <a:lnTo>
                    <a:pt x="4694" y="88"/>
                  </a:lnTo>
                  <a:lnTo>
                    <a:pt x="4652" y="91"/>
                  </a:lnTo>
                  <a:lnTo>
                    <a:pt x="4611" y="97"/>
                  </a:lnTo>
                  <a:lnTo>
                    <a:pt x="4570" y="102"/>
                  </a:lnTo>
                  <a:lnTo>
                    <a:pt x="4524" y="111"/>
                  </a:lnTo>
                  <a:lnTo>
                    <a:pt x="4488" y="117"/>
                  </a:lnTo>
                  <a:lnTo>
                    <a:pt x="4438" y="122"/>
                  </a:lnTo>
                  <a:lnTo>
                    <a:pt x="4392" y="128"/>
                  </a:lnTo>
                  <a:lnTo>
                    <a:pt x="4342" y="134"/>
                  </a:lnTo>
                  <a:lnTo>
                    <a:pt x="4296" y="139"/>
                  </a:lnTo>
                  <a:lnTo>
                    <a:pt x="4246" y="142"/>
                  </a:lnTo>
                  <a:lnTo>
                    <a:pt x="4200" y="151"/>
                  </a:lnTo>
                  <a:lnTo>
                    <a:pt x="4145" y="154"/>
                  </a:lnTo>
                  <a:lnTo>
                    <a:pt x="4095" y="162"/>
                  </a:lnTo>
                  <a:lnTo>
                    <a:pt x="4040" y="165"/>
                  </a:lnTo>
                  <a:lnTo>
                    <a:pt x="3990" y="174"/>
                  </a:lnTo>
                  <a:lnTo>
                    <a:pt x="3935" y="176"/>
                  </a:lnTo>
                  <a:lnTo>
                    <a:pt x="3885" y="185"/>
                  </a:lnTo>
                  <a:lnTo>
                    <a:pt x="3830" y="185"/>
                  </a:lnTo>
                  <a:lnTo>
                    <a:pt x="3770" y="193"/>
                  </a:lnTo>
                  <a:lnTo>
                    <a:pt x="3716" y="199"/>
                  </a:lnTo>
                  <a:lnTo>
                    <a:pt x="3661" y="205"/>
                  </a:lnTo>
                  <a:lnTo>
                    <a:pt x="3597" y="208"/>
                  </a:lnTo>
                  <a:lnTo>
                    <a:pt x="3542" y="213"/>
                  </a:lnTo>
                  <a:lnTo>
                    <a:pt x="3482" y="219"/>
                  </a:lnTo>
                  <a:lnTo>
                    <a:pt x="3423" y="225"/>
                  </a:lnTo>
                  <a:lnTo>
                    <a:pt x="3364" y="228"/>
                  </a:lnTo>
                  <a:lnTo>
                    <a:pt x="3304" y="231"/>
                  </a:lnTo>
                  <a:lnTo>
                    <a:pt x="3245" y="236"/>
                  </a:lnTo>
                  <a:lnTo>
                    <a:pt x="3181" y="239"/>
                  </a:lnTo>
                  <a:lnTo>
                    <a:pt x="3121" y="242"/>
                  </a:lnTo>
                  <a:lnTo>
                    <a:pt x="3057" y="248"/>
                  </a:lnTo>
                  <a:lnTo>
                    <a:pt x="2998" y="250"/>
                  </a:lnTo>
                  <a:lnTo>
                    <a:pt x="2934" y="253"/>
                  </a:lnTo>
                  <a:lnTo>
                    <a:pt x="2875" y="256"/>
                  </a:lnTo>
                  <a:lnTo>
                    <a:pt x="2806" y="259"/>
                  </a:lnTo>
                  <a:lnTo>
                    <a:pt x="2747" y="262"/>
                  </a:lnTo>
                  <a:lnTo>
                    <a:pt x="2683" y="265"/>
                  </a:lnTo>
                  <a:lnTo>
                    <a:pt x="2619" y="265"/>
                  </a:lnTo>
                  <a:lnTo>
                    <a:pt x="2555" y="268"/>
                  </a:lnTo>
                  <a:lnTo>
                    <a:pt x="2495" y="268"/>
                  </a:lnTo>
                  <a:lnTo>
                    <a:pt x="2431" y="270"/>
                  </a:lnTo>
                  <a:lnTo>
                    <a:pt x="2367" y="270"/>
                  </a:lnTo>
                  <a:lnTo>
                    <a:pt x="2308" y="270"/>
                  </a:lnTo>
                  <a:lnTo>
                    <a:pt x="2244" y="270"/>
                  </a:lnTo>
                  <a:lnTo>
                    <a:pt x="2185" y="270"/>
                  </a:lnTo>
                  <a:lnTo>
                    <a:pt x="2125" y="270"/>
                  </a:lnTo>
                  <a:lnTo>
                    <a:pt x="2070" y="268"/>
                  </a:lnTo>
                  <a:lnTo>
                    <a:pt x="2011" y="268"/>
                  </a:lnTo>
                  <a:lnTo>
                    <a:pt x="1951" y="268"/>
                  </a:lnTo>
                  <a:lnTo>
                    <a:pt x="1897" y="265"/>
                  </a:lnTo>
                  <a:lnTo>
                    <a:pt x="1842" y="265"/>
                  </a:lnTo>
                  <a:lnTo>
                    <a:pt x="1787" y="262"/>
                  </a:lnTo>
                  <a:lnTo>
                    <a:pt x="1732" y="262"/>
                  </a:lnTo>
                  <a:lnTo>
                    <a:pt x="1673" y="262"/>
                  </a:lnTo>
                  <a:lnTo>
                    <a:pt x="1622" y="259"/>
                  </a:lnTo>
                  <a:lnTo>
                    <a:pt x="1568" y="256"/>
                  </a:lnTo>
                  <a:lnTo>
                    <a:pt x="1517" y="253"/>
                  </a:lnTo>
                  <a:lnTo>
                    <a:pt x="1467" y="250"/>
                  </a:lnTo>
                  <a:lnTo>
                    <a:pt x="1417" y="250"/>
                  </a:lnTo>
                  <a:lnTo>
                    <a:pt x="1362" y="248"/>
                  </a:lnTo>
                  <a:lnTo>
                    <a:pt x="1321" y="245"/>
                  </a:lnTo>
                  <a:lnTo>
                    <a:pt x="1270" y="239"/>
                  </a:lnTo>
                  <a:lnTo>
                    <a:pt x="1220" y="239"/>
                  </a:lnTo>
                  <a:lnTo>
                    <a:pt x="1175" y="236"/>
                  </a:lnTo>
                  <a:lnTo>
                    <a:pt x="1129" y="233"/>
                  </a:lnTo>
                  <a:lnTo>
                    <a:pt x="1088" y="231"/>
                  </a:lnTo>
                  <a:lnTo>
                    <a:pt x="1042" y="228"/>
                  </a:lnTo>
                  <a:lnTo>
                    <a:pt x="1001" y="225"/>
                  </a:lnTo>
                  <a:lnTo>
                    <a:pt x="964" y="219"/>
                  </a:lnTo>
                  <a:lnTo>
                    <a:pt x="919" y="216"/>
                  </a:lnTo>
                  <a:lnTo>
                    <a:pt x="877" y="213"/>
                  </a:lnTo>
                  <a:lnTo>
                    <a:pt x="841" y="208"/>
                  </a:lnTo>
                  <a:lnTo>
                    <a:pt x="804" y="208"/>
                  </a:lnTo>
                  <a:lnTo>
                    <a:pt x="759" y="202"/>
                  </a:lnTo>
                  <a:lnTo>
                    <a:pt x="731" y="199"/>
                  </a:lnTo>
                  <a:lnTo>
                    <a:pt x="695" y="196"/>
                  </a:lnTo>
                  <a:lnTo>
                    <a:pt x="663" y="193"/>
                  </a:lnTo>
                  <a:lnTo>
                    <a:pt x="631" y="188"/>
                  </a:lnTo>
                  <a:lnTo>
                    <a:pt x="599" y="185"/>
                  </a:lnTo>
                  <a:lnTo>
                    <a:pt x="567" y="182"/>
                  </a:lnTo>
                  <a:lnTo>
                    <a:pt x="539" y="179"/>
                  </a:lnTo>
                  <a:lnTo>
                    <a:pt x="507" y="174"/>
                  </a:lnTo>
                  <a:lnTo>
                    <a:pt x="484" y="174"/>
                  </a:lnTo>
                  <a:lnTo>
                    <a:pt x="457" y="168"/>
                  </a:lnTo>
                  <a:lnTo>
                    <a:pt x="434" y="165"/>
                  </a:lnTo>
                  <a:lnTo>
                    <a:pt x="411" y="162"/>
                  </a:lnTo>
                  <a:lnTo>
                    <a:pt x="384" y="159"/>
                  </a:lnTo>
                  <a:lnTo>
                    <a:pt x="361" y="156"/>
                  </a:lnTo>
                  <a:lnTo>
                    <a:pt x="343" y="154"/>
                  </a:lnTo>
                  <a:lnTo>
                    <a:pt x="329" y="151"/>
                  </a:lnTo>
                  <a:lnTo>
                    <a:pt x="311" y="148"/>
                  </a:lnTo>
                  <a:lnTo>
                    <a:pt x="292" y="145"/>
                  </a:lnTo>
                  <a:lnTo>
                    <a:pt x="283" y="142"/>
                  </a:lnTo>
                  <a:lnTo>
                    <a:pt x="270" y="139"/>
                  </a:lnTo>
                  <a:lnTo>
                    <a:pt x="256" y="139"/>
                  </a:lnTo>
                  <a:lnTo>
                    <a:pt x="242" y="137"/>
                  </a:lnTo>
                  <a:lnTo>
                    <a:pt x="238" y="137"/>
                  </a:lnTo>
                  <a:lnTo>
                    <a:pt x="224" y="134"/>
                  </a:lnTo>
                  <a:lnTo>
                    <a:pt x="215" y="134"/>
                  </a:lnTo>
                  <a:lnTo>
                    <a:pt x="201" y="128"/>
                  </a:lnTo>
                  <a:lnTo>
                    <a:pt x="187" y="128"/>
                  </a:lnTo>
                  <a:lnTo>
                    <a:pt x="169" y="131"/>
                  </a:lnTo>
                  <a:lnTo>
                    <a:pt x="155" y="134"/>
                  </a:lnTo>
                  <a:lnTo>
                    <a:pt x="133" y="137"/>
                  </a:lnTo>
                  <a:lnTo>
                    <a:pt x="114" y="142"/>
                  </a:lnTo>
                  <a:lnTo>
                    <a:pt x="96" y="151"/>
                  </a:lnTo>
                  <a:lnTo>
                    <a:pt x="78" y="159"/>
                  </a:lnTo>
                  <a:lnTo>
                    <a:pt x="59" y="165"/>
                  </a:lnTo>
                  <a:lnTo>
                    <a:pt x="41" y="174"/>
                  </a:lnTo>
                  <a:lnTo>
                    <a:pt x="23" y="179"/>
                  </a:lnTo>
                  <a:lnTo>
                    <a:pt x="14" y="185"/>
                  </a:lnTo>
                  <a:lnTo>
                    <a:pt x="0" y="191"/>
                  </a:lnTo>
                  <a:lnTo>
                    <a:pt x="0" y="196"/>
                  </a:lnTo>
                  <a:lnTo>
                    <a:pt x="0" y="19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198" name="Freeform 188"/>
            <p:cNvSpPr>
              <a:spLocks/>
            </p:cNvSpPr>
            <p:nvPr>
              <p:custDataLst>
                <p:tags r:id="rId97"/>
              </p:custDataLst>
            </p:nvPr>
          </p:nvSpPr>
          <p:spPr bwMode="gray">
            <a:xfrm>
              <a:off x="932" y="1412"/>
              <a:ext cx="3823" cy="1413"/>
            </a:xfrm>
            <a:custGeom>
              <a:avLst/>
              <a:gdLst>
                <a:gd name="T0" fmla="*/ 223 w 3730"/>
                <a:gd name="T1" fmla="*/ 12 h 1546"/>
                <a:gd name="T2" fmla="*/ 202 w 3730"/>
                <a:gd name="T3" fmla="*/ 22 h 1546"/>
                <a:gd name="T4" fmla="*/ 181 w 3730"/>
                <a:gd name="T5" fmla="*/ 34 h 1546"/>
                <a:gd name="T6" fmla="*/ 145 w 3730"/>
                <a:gd name="T7" fmla="*/ 48 h 1546"/>
                <a:gd name="T8" fmla="*/ 116 w 3730"/>
                <a:gd name="T9" fmla="*/ 65 h 1546"/>
                <a:gd name="T10" fmla="*/ 75 w 3730"/>
                <a:gd name="T11" fmla="*/ 83 h 1546"/>
                <a:gd name="T12" fmla="*/ 54 w 3730"/>
                <a:gd name="T13" fmla="*/ 98 h 1546"/>
                <a:gd name="T14" fmla="*/ 14 w 3730"/>
                <a:gd name="T15" fmla="*/ 112 h 1546"/>
                <a:gd name="T16" fmla="*/ 5 w 3730"/>
                <a:gd name="T17" fmla="*/ 123 h 1546"/>
                <a:gd name="T18" fmla="*/ 0 w 3730"/>
                <a:gd name="T19" fmla="*/ 131 h 1546"/>
                <a:gd name="T20" fmla="*/ 5 w 3730"/>
                <a:gd name="T21" fmla="*/ 132 h 1546"/>
                <a:gd name="T22" fmla="*/ 123 w 3730"/>
                <a:gd name="T23" fmla="*/ 133 h 1546"/>
                <a:gd name="T24" fmla="*/ 271 w 3730"/>
                <a:gd name="T25" fmla="*/ 134 h 1546"/>
                <a:gd name="T26" fmla="*/ 461 w 3730"/>
                <a:gd name="T27" fmla="*/ 137 h 1546"/>
                <a:gd name="T28" fmla="*/ 696 w 3730"/>
                <a:gd name="T29" fmla="*/ 138 h 1546"/>
                <a:gd name="T30" fmla="*/ 963 w 3730"/>
                <a:gd name="T31" fmla="*/ 140 h 1546"/>
                <a:gd name="T32" fmla="*/ 1252 w 3730"/>
                <a:gd name="T33" fmla="*/ 142 h 1546"/>
                <a:gd name="T34" fmla="*/ 1571 w 3730"/>
                <a:gd name="T35" fmla="*/ 144 h 1546"/>
                <a:gd name="T36" fmla="*/ 1893 w 3730"/>
                <a:gd name="T37" fmla="*/ 144 h 1546"/>
                <a:gd name="T38" fmla="*/ 2211 w 3730"/>
                <a:gd name="T39" fmla="*/ 146 h 1546"/>
                <a:gd name="T40" fmla="*/ 2537 w 3730"/>
                <a:gd name="T41" fmla="*/ 148 h 1546"/>
                <a:gd name="T42" fmla="*/ 2881 w 3730"/>
                <a:gd name="T43" fmla="*/ 150 h 1546"/>
                <a:gd name="T44" fmla="*/ 3238 w 3730"/>
                <a:gd name="T45" fmla="*/ 150 h 1546"/>
                <a:gd name="T46" fmla="*/ 3611 w 3730"/>
                <a:gd name="T47" fmla="*/ 150 h 1546"/>
                <a:gd name="T48" fmla="*/ 3984 w 3730"/>
                <a:gd name="T49" fmla="*/ 149 h 1546"/>
                <a:gd name="T50" fmla="*/ 4362 w 3730"/>
                <a:gd name="T51" fmla="*/ 148 h 1546"/>
                <a:gd name="T52" fmla="*/ 4708 w 3730"/>
                <a:gd name="T53" fmla="*/ 147 h 1546"/>
                <a:gd name="T54" fmla="*/ 5047 w 3730"/>
                <a:gd name="T55" fmla="*/ 145 h 1546"/>
                <a:gd name="T56" fmla="*/ 5353 w 3730"/>
                <a:gd name="T57" fmla="*/ 144 h 1546"/>
                <a:gd name="T58" fmla="*/ 5623 w 3730"/>
                <a:gd name="T59" fmla="*/ 144 h 1546"/>
                <a:gd name="T60" fmla="*/ 5847 w 3730"/>
                <a:gd name="T61" fmla="*/ 143 h 1546"/>
                <a:gd name="T62" fmla="*/ 6025 w 3730"/>
                <a:gd name="T63" fmla="*/ 142 h 1546"/>
                <a:gd name="T64" fmla="*/ 6201 w 3730"/>
                <a:gd name="T65" fmla="*/ 140 h 1546"/>
                <a:gd name="T66" fmla="*/ 6364 w 3730"/>
                <a:gd name="T67" fmla="*/ 139 h 1546"/>
                <a:gd name="T68" fmla="*/ 6505 w 3730"/>
                <a:gd name="T69" fmla="*/ 138 h 1546"/>
                <a:gd name="T70" fmla="*/ 6640 w 3730"/>
                <a:gd name="T71" fmla="*/ 137 h 1546"/>
                <a:gd name="T72" fmla="*/ 6797 w 3730"/>
                <a:gd name="T73" fmla="*/ 134 h 1546"/>
                <a:gd name="T74" fmla="*/ 6978 w 3730"/>
                <a:gd name="T75" fmla="*/ 133 h 1546"/>
                <a:gd name="T76" fmla="*/ 7077 w 3730"/>
                <a:gd name="T77" fmla="*/ 132 h 1546"/>
                <a:gd name="T78" fmla="*/ 6496 w 3730"/>
                <a:gd name="T79" fmla="*/ 123 h 1546"/>
                <a:gd name="T80" fmla="*/ 6372 w 3730"/>
                <a:gd name="T81" fmla="*/ 124 h 1546"/>
                <a:gd name="T82" fmla="*/ 6209 w 3730"/>
                <a:gd name="T83" fmla="*/ 126 h 1546"/>
                <a:gd name="T84" fmla="*/ 6000 w 3730"/>
                <a:gd name="T85" fmla="*/ 126 h 1546"/>
                <a:gd name="T86" fmla="*/ 5736 w 3730"/>
                <a:gd name="T87" fmla="*/ 128 h 1546"/>
                <a:gd name="T88" fmla="*/ 5451 w 3730"/>
                <a:gd name="T89" fmla="*/ 130 h 1546"/>
                <a:gd name="T90" fmla="*/ 5131 w 3730"/>
                <a:gd name="T91" fmla="*/ 131 h 1546"/>
                <a:gd name="T92" fmla="*/ 4799 w 3730"/>
                <a:gd name="T93" fmla="*/ 132 h 1546"/>
                <a:gd name="T94" fmla="*/ 4451 w 3730"/>
                <a:gd name="T95" fmla="*/ 133 h 1546"/>
                <a:gd name="T96" fmla="*/ 4086 w 3730"/>
                <a:gd name="T97" fmla="*/ 134 h 1546"/>
                <a:gd name="T98" fmla="*/ 3726 w 3730"/>
                <a:gd name="T99" fmla="*/ 134 h 1546"/>
                <a:gd name="T100" fmla="*/ 3328 w 3730"/>
                <a:gd name="T101" fmla="*/ 134 h 1546"/>
                <a:gd name="T102" fmla="*/ 2911 w 3730"/>
                <a:gd name="T103" fmla="*/ 133 h 1546"/>
                <a:gd name="T104" fmla="*/ 2482 w 3730"/>
                <a:gd name="T105" fmla="*/ 132 h 1546"/>
                <a:gd name="T106" fmla="*/ 2061 w 3730"/>
                <a:gd name="T107" fmla="*/ 132 h 1546"/>
                <a:gd name="T108" fmla="*/ 1667 w 3730"/>
                <a:gd name="T109" fmla="*/ 130 h 1546"/>
                <a:gd name="T110" fmla="*/ 1301 w 3730"/>
                <a:gd name="T111" fmla="*/ 128 h 1546"/>
                <a:gd name="T112" fmla="*/ 987 w 3730"/>
                <a:gd name="T113" fmla="*/ 126 h 1546"/>
                <a:gd name="T114" fmla="*/ 747 w 3730"/>
                <a:gd name="T115" fmla="*/ 125 h 1546"/>
                <a:gd name="T116" fmla="*/ 584 w 3730"/>
                <a:gd name="T117" fmla="*/ 123 h 1546"/>
                <a:gd name="T118" fmla="*/ 589 w 3730"/>
                <a:gd name="T119" fmla="*/ 9 h 154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30"/>
                <a:gd name="T181" fmla="*/ 0 h 1546"/>
                <a:gd name="T182" fmla="*/ 3730 w 3730"/>
                <a:gd name="T183" fmla="*/ 1546 h 154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30" h="1546">
                  <a:moveTo>
                    <a:pt x="133" y="85"/>
                  </a:moveTo>
                  <a:lnTo>
                    <a:pt x="133" y="88"/>
                  </a:lnTo>
                  <a:lnTo>
                    <a:pt x="128" y="94"/>
                  </a:lnTo>
                  <a:lnTo>
                    <a:pt x="124" y="102"/>
                  </a:lnTo>
                  <a:lnTo>
                    <a:pt x="124" y="114"/>
                  </a:lnTo>
                  <a:lnTo>
                    <a:pt x="119" y="122"/>
                  </a:lnTo>
                  <a:lnTo>
                    <a:pt x="119" y="136"/>
                  </a:lnTo>
                  <a:lnTo>
                    <a:pt x="119" y="151"/>
                  </a:lnTo>
                  <a:lnTo>
                    <a:pt x="119" y="168"/>
                  </a:lnTo>
                  <a:lnTo>
                    <a:pt x="115" y="182"/>
                  </a:lnTo>
                  <a:lnTo>
                    <a:pt x="110" y="199"/>
                  </a:lnTo>
                  <a:lnTo>
                    <a:pt x="106" y="219"/>
                  </a:lnTo>
                  <a:lnTo>
                    <a:pt x="106" y="239"/>
                  </a:lnTo>
                  <a:lnTo>
                    <a:pt x="106" y="259"/>
                  </a:lnTo>
                  <a:lnTo>
                    <a:pt x="101" y="282"/>
                  </a:lnTo>
                  <a:lnTo>
                    <a:pt x="96" y="304"/>
                  </a:lnTo>
                  <a:lnTo>
                    <a:pt x="96" y="327"/>
                  </a:lnTo>
                  <a:lnTo>
                    <a:pt x="96" y="353"/>
                  </a:lnTo>
                  <a:lnTo>
                    <a:pt x="92" y="376"/>
                  </a:lnTo>
                  <a:lnTo>
                    <a:pt x="87" y="401"/>
                  </a:lnTo>
                  <a:lnTo>
                    <a:pt x="87" y="427"/>
                  </a:lnTo>
                  <a:lnTo>
                    <a:pt x="87" y="453"/>
                  </a:lnTo>
                  <a:lnTo>
                    <a:pt x="83" y="481"/>
                  </a:lnTo>
                  <a:lnTo>
                    <a:pt x="78" y="509"/>
                  </a:lnTo>
                  <a:lnTo>
                    <a:pt x="74" y="535"/>
                  </a:lnTo>
                  <a:lnTo>
                    <a:pt x="74" y="564"/>
                  </a:lnTo>
                  <a:lnTo>
                    <a:pt x="74" y="592"/>
                  </a:lnTo>
                  <a:lnTo>
                    <a:pt x="69" y="621"/>
                  </a:lnTo>
                  <a:lnTo>
                    <a:pt x="64" y="649"/>
                  </a:lnTo>
                  <a:lnTo>
                    <a:pt x="60" y="680"/>
                  </a:lnTo>
                  <a:lnTo>
                    <a:pt x="60" y="709"/>
                  </a:lnTo>
                  <a:lnTo>
                    <a:pt x="55" y="737"/>
                  </a:lnTo>
                  <a:lnTo>
                    <a:pt x="55" y="766"/>
                  </a:lnTo>
                  <a:lnTo>
                    <a:pt x="51" y="797"/>
                  </a:lnTo>
                  <a:lnTo>
                    <a:pt x="51" y="826"/>
                  </a:lnTo>
                  <a:lnTo>
                    <a:pt x="42" y="854"/>
                  </a:lnTo>
                  <a:lnTo>
                    <a:pt x="42" y="883"/>
                  </a:lnTo>
                  <a:lnTo>
                    <a:pt x="37" y="911"/>
                  </a:lnTo>
                  <a:lnTo>
                    <a:pt x="37" y="939"/>
                  </a:lnTo>
                  <a:lnTo>
                    <a:pt x="37" y="968"/>
                  </a:lnTo>
                  <a:lnTo>
                    <a:pt x="37" y="994"/>
                  </a:lnTo>
                  <a:lnTo>
                    <a:pt x="28" y="1019"/>
                  </a:lnTo>
                  <a:lnTo>
                    <a:pt x="28" y="1045"/>
                  </a:lnTo>
                  <a:lnTo>
                    <a:pt x="19" y="1073"/>
                  </a:lnTo>
                  <a:lnTo>
                    <a:pt x="19" y="1099"/>
                  </a:lnTo>
                  <a:lnTo>
                    <a:pt x="19" y="1122"/>
                  </a:lnTo>
                  <a:lnTo>
                    <a:pt x="19" y="1142"/>
                  </a:lnTo>
                  <a:lnTo>
                    <a:pt x="14" y="1167"/>
                  </a:lnTo>
                  <a:lnTo>
                    <a:pt x="14" y="1190"/>
                  </a:lnTo>
                  <a:lnTo>
                    <a:pt x="10" y="1210"/>
                  </a:lnTo>
                  <a:lnTo>
                    <a:pt x="10" y="1227"/>
                  </a:lnTo>
                  <a:lnTo>
                    <a:pt x="10" y="1247"/>
                  </a:lnTo>
                  <a:lnTo>
                    <a:pt x="5" y="1267"/>
                  </a:lnTo>
                  <a:lnTo>
                    <a:pt x="5" y="1281"/>
                  </a:lnTo>
                  <a:lnTo>
                    <a:pt x="0" y="1298"/>
                  </a:lnTo>
                  <a:lnTo>
                    <a:pt x="0" y="1312"/>
                  </a:lnTo>
                  <a:lnTo>
                    <a:pt x="0" y="1327"/>
                  </a:lnTo>
                  <a:lnTo>
                    <a:pt x="0" y="1338"/>
                  </a:lnTo>
                  <a:lnTo>
                    <a:pt x="0" y="1347"/>
                  </a:lnTo>
                  <a:lnTo>
                    <a:pt x="0" y="1355"/>
                  </a:lnTo>
                  <a:lnTo>
                    <a:pt x="0" y="1364"/>
                  </a:lnTo>
                  <a:lnTo>
                    <a:pt x="0" y="1372"/>
                  </a:lnTo>
                  <a:lnTo>
                    <a:pt x="0" y="1375"/>
                  </a:lnTo>
                  <a:lnTo>
                    <a:pt x="0" y="1378"/>
                  </a:lnTo>
                  <a:lnTo>
                    <a:pt x="5" y="1378"/>
                  </a:lnTo>
                  <a:lnTo>
                    <a:pt x="14" y="1378"/>
                  </a:lnTo>
                  <a:lnTo>
                    <a:pt x="28" y="1381"/>
                  </a:lnTo>
                  <a:lnTo>
                    <a:pt x="37" y="1381"/>
                  </a:lnTo>
                  <a:lnTo>
                    <a:pt x="42" y="1387"/>
                  </a:lnTo>
                  <a:lnTo>
                    <a:pt x="55" y="1387"/>
                  </a:lnTo>
                  <a:lnTo>
                    <a:pt x="64" y="1387"/>
                  </a:lnTo>
                  <a:lnTo>
                    <a:pt x="74" y="1387"/>
                  </a:lnTo>
                  <a:lnTo>
                    <a:pt x="87" y="1389"/>
                  </a:lnTo>
                  <a:lnTo>
                    <a:pt x="96" y="1392"/>
                  </a:lnTo>
                  <a:lnTo>
                    <a:pt x="115" y="1395"/>
                  </a:lnTo>
                  <a:lnTo>
                    <a:pt x="124" y="1398"/>
                  </a:lnTo>
                  <a:lnTo>
                    <a:pt x="142" y="1398"/>
                  </a:lnTo>
                  <a:lnTo>
                    <a:pt x="156" y="1398"/>
                  </a:lnTo>
                  <a:lnTo>
                    <a:pt x="174" y="1404"/>
                  </a:lnTo>
                  <a:lnTo>
                    <a:pt x="188" y="1406"/>
                  </a:lnTo>
                  <a:lnTo>
                    <a:pt x="206" y="1409"/>
                  </a:lnTo>
                  <a:lnTo>
                    <a:pt x="224" y="1409"/>
                  </a:lnTo>
                  <a:lnTo>
                    <a:pt x="243" y="1412"/>
                  </a:lnTo>
                  <a:lnTo>
                    <a:pt x="261" y="1415"/>
                  </a:lnTo>
                  <a:lnTo>
                    <a:pt x="279" y="1418"/>
                  </a:lnTo>
                  <a:lnTo>
                    <a:pt x="302" y="1421"/>
                  </a:lnTo>
                  <a:lnTo>
                    <a:pt x="325" y="1424"/>
                  </a:lnTo>
                  <a:lnTo>
                    <a:pt x="343" y="1426"/>
                  </a:lnTo>
                  <a:lnTo>
                    <a:pt x="366" y="1429"/>
                  </a:lnTo>
                  <a:lnTo>
                    <a:pt x="389" y="1432"/>
                  </a:lnTo>
                  <a:lnTo>
                    <a:pt x="416" y="1435"/>
                  </a:lnTo>
                  <a:lnTo>
                    <a:pt x="435" y="1441"/>
                  </a:lnTo>
                  <a:lnTo>
                    <a:pt x="457" y="1443"/>
                  </a:lnTo>
                  <a:lnTo>
                    <a:pt x="485" y="1443"/>
                  </a:lnTo>
                  <a:lnTo>
                    <a:pt x="508" y="1449"/>
                  </a:lnTo>
                  <a:lnTo>
                    <a:pt x="531" y="1452"/>
                  </a:lnTo>
                  <a:lnTo>
                    <a:pt x="558" y="1455"/>
                  </a:lnTo>
                  <a:lnTo>
                    <a:pt x="581" y="1458"/>
                  </a:lnTo>
                  <a:lnTo>
                    <a:pt x="608" y="1463"/>
                  </a:lnTo>
                  <a:lnTo>
                    <a:pt x="636" y="1463"/>
                  </a:lnTo>
                  <a:lnTo>
                    <a:pt x="659" y="1466"/>
                  </a:lnTo>
                  <a:lnTo>
                    <a:pt x="686" y="1469"/>
                  </a:lnTo>
                  <a:lnTo>
                    <a:pt x="713" y="1475"/>
                  </a:lnTo>
                  <a:lnTo>
                    <a:pt x="741" y="1478"/>
                  </a:lnTo>
                  <a:lnTo>
                    <a:pt x="768" y="1481"/>
                  </a:lnTo>
                  <a:lnTo>
                    <a:pt x="800" y="1486"/>
                  </a:lnTo>
                  <a:lnTo>
                    <a:pt x="828" y="1486"/>
                  </a:lnTo>
                  <a:lnTo>
                    <a:pt x="855" y="1489"/>
                  </a:lnTo>
                  <a:lnTo>
                    <a:pt x="882" y="1492"/>
                  </a:lnTo>
                  <a:lnTo>
                    <a:pt x="910" y="1495"/>
                  </a:lnTo>
                  <a:lnTo>
                    <a:pt x="937" y="1498"/>
                  </a:lnTo>
                  <a:lnTo>
                    <a:pt x="965" y="1500"/>
                  </a:lnTo>
                  <a:lnTo>
                    <a:pt x="997" y="1506"/>
                  </a:lnTo>
                  <a:lnTo>
                    <a:pt x="1020" y="1506"/>
                  </a:lnTo>
                  <a:lnTo>
                    <a:pt x="1052" y="1512"/>
                  </a:lnTo>
                  <a:lnTo>
                    <a:pt x="1079" y="1512"/>
                  </a:lnTo>
                  <a:lnTo>
                    <a:pt x="1106" y="1515"/>
                  </a:lnTo>
                  <a:lnTo>
                    <a:pt x="1138" y="1518"/>
                  </a:lnTo>
                  <a:lnTo>
                    <a:pt x="1166" y="1520"/>
                  </a:lnTo>
                  <a:lnTo>
                    <a:pt x="1193" y="1523"/>
                  </a:lnTo>
                  <a:lnTo>
                    <a:pt x="1225" y="1526"/>
                  </a:lnTo>
                  <a:lnTo>
                    <a:pt x="1253" y="1529"/>
                  </a:lnTo>
                  <a:lnTo>
                    <a:pt x="1285" y="1532"/>
                  </a:lnTo>
                  <a:lnTo>
                    <a:pt x="1308" y="1535"/>
                  </a:lnTo>
                  <a:lnTo>
                    <a:pt x="1335" y="1535"/>
                  </a:lnTo>
                  <a:lnTo>
                    <a:pt x="1362" y="1535"/>
                  </a:lnTo>
                  <a:lnTo>
                    <a:pt x="1394" y="1537"/>
                  </a:lnTo>
                  <a:lnTo>
                    <a:pt x="1422" y="1537"/>
                  </a:lnTo>
                  <a:lnTo>
                    <a:pt x="1454" y="1540"/>
                  </a:lnTo>
                  <a:lnTo>
                    <a:pt x="1486" y="1540"/>
                  </a:lnTo>
                  <a:lnTo>
                    <a:pt x="1518" y="1543"/>
                  </a:lnTo>
                  <a:lnTo>
                    <a:pt x="1545" y="1543"/>
                  </a:lnTo>
                  <a:lnTo>
                    <a:pt x="1577" y="1546"/>
                  </a:lnTo>
                  <a:lnTo>
                    <a:pt x="1609" y="1546"/>
                  </a:lnTo>
                  <a:lnTo>
                    <a:pt x="1641" y="1546"/>
                  </a:lnTo>
                  <a:lnTo>
                    <a:pt x="1673" y="1546"/>
                  </a:lnTo>
                  <a:lnTo>
                    <a:pt x="1705" y="1546"/>
                  </a:lnTo>
                  <a:lnTo>
                    <a:pt x="1742" y="1546"/>
                  </a:lnTo>
                  <a:lnTo>
                    <a:pt x="1774" y="1546"/>
                  </a:lnTo>
                  <a:lnTo>
                    <a:pt x="1806" y="1546"/>
                  </a:lnTo>
                  <a:lnTo>
                    <a:pt x="1838" y="1546"/>
                  </a:lnTo>
                  <a:lnTo>
                    <a:pt x="1865" y="1546"/>
                  </a:lnTo>
                  <a:lnTo>
                    <a:pt x="1902" y="1546"/>
                  </a:lnTo>
                  <a:lnTo>
                    <a:pt x="1929" y="1546"/>
                  </a:lnTo>
                  <a:lnTo>
                    <a:pt x="1966" y="1546"/>
                  </a:lnTo>
                  <a:lnTo>
                    <a:pt x="1998" y="1546"/>
                  </a:lnTo>
                  <a:lnTo>
                    <a:pt x="2034" y="1546"/>
                  </a:lnTo>
                  <a:lnTo>
                    <a:pt x="2066" y="1543"/>
                  </a:lnTo>
                  <a:lnTo>
                    <a:pt x="2098" y="1540"/>
                  </a:lnTo>
                  <a:lnTo>
                    <a:pt x="2130" y="1540"/>
                  </a:lnTo>
                  <a:lnTo>
                    <a:pt x="2167" y="1540"/>
                  </a:lnTo>
                  <a:lnTo>
                    <a:pt x="2199" y="1537"/>
                  </a:lnTo>
                  <a:lnTo>
                    <a:pt x="2235" y="1537"/>
                  </a:lnTo>
                  <a:lnTo>
                    <a:pt x="2263" y="1535"/>
                  </a:lnTo>
                  <a:lnTo>
                    <a:pt x="2299" y="1535"/>
                  </a:lnTo>
                  <a:lnTo>
                    <a:pt x="2327" y="1535"/>
                  </a:lnTo>
                  <a:lnTo>
                    <a:pt x="2359" y="1535"/>
                  </a:lnTo>
                  <a:lnTo>
                    <a:pt x="2391" y="1529"/>
                  </a:lnTo>
                  <a:lnTo>
                    <a:pt x="2423" y="1529"/>
                  </a:lnTo>
                  <a:lnTo>
                    <a:pt x="2455" y="1526"/>
                  </a:lnTo>
                  <a:lnTo>
                    <a:pt x="2482" y="1526"/>
                  </a:lnTo>
                  <a:lnTo>
                    <a:pt x="2514" y="1523"/>
                  </a:lnTo>
                  <a:lnTo>
                    <a:pt x="2546" y="1523"/>
                  </a:lnTo>
                  <a:lnTo>
                    <a:pt x="2573" y="1520"/>
                  </a:lnTo>
                  <a:lnTo>
                    <a:pt x="2601" y="1520"/>
                  </a:lnTo>
                  <a:lnTo>
                    <a:pt x="2633" y="1518"/>
                  </a:lnTo>
                  <a:lnTo>
                    <a:pt x="2660" y="1515"/>
                  </a:lnTo>
                  <a:lnTo>
                    <a:pt x="2688" y="1512"/>
                  </a:lnTo>
                  <a:lnTo>
                    <a:pt x="2715" y="1512"/>
                  </a:lnTo>
                  <a:lnTo>
                    <a:pt x="2743" y="1509"/>
                  </a:lnTo>
                  <a:lnTo>
                    <a:pt x="2775" y="1509"/>
                  </a:lnTo>
                  <a:lnTo>
                    <a:pt x="2797" y="1506"/>
                  </a:lnTo>
                  <a:lnTo>
                    <a:pt x="2820" y="1503"/>
                  </a:lnTo>
                  <a:lnTo>
                    <a:pt x="2848" y="1500"/>
                  </a:lnTo>
                  <a:lnTo>
                    <a:pt x="2875" y="1498"/>
                  </a:lnTo>
                  <a:lnTo>
                    <a:pt x="2893" y="1498"/>
                  </a:lnTo>
                  <a:lnTo>
                    <a:pt x="2921" y="1495"/>
                  </a:lnTo>
                  <a:lnTo>
                    <a:pt x="2944" y="1492"/>
                  </a:lnTo>
                  <a:lnTo>
                    <a:pt x="2962" y="1492"/>
                  </a:lnTo>
                  <a:lnTo>
                    <a:pt x="2989" y="1489"/>
                  </a:lnTo>
                  <a:lnTo>
                    <a:pt x="3008" y="1486"/>
                  </a:lnTo>
                  <a:lnTo>
                    <a:pt x="3026" y="1486"/>
                  </a:lnTo>
                  <a:lnTo>
                    <a:pt x="3049" y="1486"/>
                  </a:lnTo>
                  <a:lnTo>
                    <a:pt x="3067" y="1481"/>
                  </a:lnTo>
                  <a:lnTo>
                    <a:pt x="3081" y="1481"/>
                  </a:lnTo>
                  <a:lnTo>
                    <a:pt x="3099" y="1478"/>
                  </a:lnTo>
                  <a:lnTo>
                    <a:pt x="3117" y="1478"/>
                  </a:lnTo>
                  <a:lnTo>
                    <a:pt x="3131" y="1475"/>
                  </a:lnTo>
                  <a:lnTo>
                    <a:pt x="3145" y="1472"/>
                  </a:lnTo>
                  <a:lnTo>
                    <a:pt x="3163" y="1469"/>
                  </a:lnTo>
                  <a:lnTo>
                    <a:pt x="3177" y="1466"/>
                  </a:lnTo>
                  <a:lnTo>
                    <a:pt x="3190" y="1463"/>
                  </a:lnTo>
                  <a:lnTo>
                    <a:pt x="3209" y="1463"/>
                  </a:lnTo>
                  <a:lnTo>
                    <a:pt x="3222" y="1461"/>
                  </a:lnTo>
                  <a:lnTo>
                    <a:pt x="3241" y="1461"/>
                  </a:lnTo>
                  <a:lnTo>
                    <a:pt x="3254" y="1455"/>
                  </a:lnTo>
                  <a:lnTo>
                    <a:pt x="3268" y="1455"/>
                  </a:lnTo>
                  <a:lnTo>
                    <a:pt x="3282" y="1452"/>
                  </a:lnTo>
                  <a:lnTo>
                    <a:pt x="3296" y="1452"/>
                  </a:lnTo>
                  <a:lnTo>
                    <a:pt x="3309" y="1449"/>
                  </a:lnTo>
                  <a:lnTo>
                    <a:pt x="3323" y="1446"/>
                  </a:lnTo>
                  <a:lnTo>
                    <a:pt x="3341" y="1443"/>
                  </a:lnTo>
                  <a:lnTo>
                    <a:pt x="3355" y="1443"/>
                  </a:lnTo>
                  <a:lnTo>
                    <a:pt x="3364" y="1441"/>
                  </a:lnTo>
                  <a:lnTo>
                    <a:pt x="3378" y="1438"/>
                  </a:lnTo>
                  <a:lnTo>
                    <a:pt x="3391" y="1435"/>
                  </a:lnTo>
                  <a:lnTo>
                    <a:pt x="3405" y="1432"/>
                  </a:lnTo>
                  <a:lnTo>
                    <a:pt x="3419" y="1432"/>
                  </a:lnTo>
                  <a:lnTo>
                    <a:pt x="3428" y="1429"/>
                  </a:lnTo>
                  <a:lnTo>
                    <a:pt x="3442" y="1426"/>
                  </a:lnTo>
                  <a:lnTo>
                    <a:pt x="3455" y="1424"/>
                  </a:lnTo>
                  <a:lnTo>
                    <a:pt x="3465" y="1421"/>
                  </a:lnTo>
                  <a:lnTo>
                    <a:pt x="3478" y="1421"/>
                  </a:lnTo>
                  <a:lnTo>
                    <a:pt x="3492" y="1418"/>
                  </a:lnTo>
                  <a:lnTo>
                    <a:pt x="3501" y="1415"/>
                  </a:lnTo>
                  <a:lnTo>
                    <a:pt x="3515" y="1412"/>
                  </a:lnTo>
                  <a:lnTo>
                    <a:pt x="3529" y="1412"/>
                  </a:lnTo>
                  <a:lnTo>
                    <a:pt x="3538" y="1409"/>
                  </a:lnTo>
                  <a:lnTo>
                    <a:pt x="3547" y="1409"/>
                  </a:lnTo>
                  <a:lnTo>
                    <a:pt x="3565" y="1404"/>
                  </a:lnTo>
                  <a:lnTo>
                    <a:pt x="3583" y="1398"/>
                  </a:lnTo>
                  <a:lnTo>
                    <a:pt x="3602" y="1398"/>
                  </a:lnTo>
                  <a:lnTo>
                    <a:pt x="3620" y="1392"/>
                  </a:lnTo>
                  <a:lnTo>
                    <a:pt x="3634" y="1389"/>
                  </a:lnTo>
                  <a:lnTo>
                    <a:pt x="3652" y="1387"/>
                  </a:lnTo>
                  <a:lnTo>
                    <a:pt x="3666" y="1387"/>
                  </a:lnTo>
                  <a:lnTo>
                    <a:pt x="3679" y="1381"/>
                  </a:lnTo>
                  <a:lnTo>
                    <a:pt x="3689" y="1378"/>
                  </a:lnTo>
                  <a:lnTo>
                    <a:pt x="3698" y="1375"/>
                  </a:lnTo>
                  <a:lnTo>
                    <a:pt x="3707" y="1372"/>
                  </a:lnTo>
                  <a:lnTo>
                    <a:pt x="3711" y="1372"/>
                  </a:lnTo>
                  <a:lnTo>
                    <a:pt x="3725" y="1372"/>
                  </a:lnTo>
                  <a:lnTo>
                    <a:pt x="3730" y="1372"/>
                  </a:lnTo>
                  <a:lnTo>
                    <a:pt x="3538" y="0"/>
                  </a:lnTo>
                  <a:lnTo>
                    <a:pt x="3341" y="11"/>
                  </a:lnTo>
                  <a:lnTo>
                    <a:pt x="3442" y="1281"/>
                  </a:lnTo>
                  <a:lnTo>
                    <a:pt x="3433" y="1281"/>
                  </a:lnTo>
                  <a:lnTo>
                    <a:pt x="3423" y="1281"/>
                  </a:lnTo>
                  <a:lnTo>
                    <a:pt x="3410" y="1281"/>
                  </a:lnTo>
                  <a:lnTo>
                    <a:pt x="3401" y="1281"/>
                  </a:lnTo>
                  <a:lnTo>
                    <a:pt x="3391" y="1284"/>
                  </a:lnTo>
                  <a:lnTo>
                    <a:pt x="3378" y="1284"/>
                  </a:lnTo>
                  <a:lnTo>
                    <a:pt x="3369" y="1287"/>
                  </a:lnTo>
                  <a:lnTo>
                    <a:pt x="3359" y="1287"/>
                  </a:lnTo>
                  <a:lnTo>
                    <a:pt x="3346" y="1290"/>
                  </a:lnTo>
                  <a:lnTo>
                    <a:pt x="3332" y="1293"/>
                  </a:lnTo>
                  <a:lnTo>
                    <a:pt x="3323" y="1293"/>
                  </a:lnTo>
                  <a:lnTo>
                    <a:pt x="3305" y="1295"/>
                  </a:lnTo>
                  <a:lnTo>
                    <a:pt x="3291" y="1295"/>
                  </a:lnTo>
                  <a:lnTo>
                    <a:pt x="3273" y="1298"/>
                  </a:lnTo>
                  <a:lnTo>
                    <a:pt x="3254" y="1301"/>
                  </a:lnTo>
                  <a:lnTo>
                    <a:pt x="3236" y="1301"/>
                  </a:lnTo>
                  <a:lnTo>
                    <a:pt x="3218" y="1304"/>
                  </a:lnTo>
                  <a:lnTo>
                    <a:pt x="3200" y="1307"/>
                  </a:lnTo>
                  <a:lnTo>
                    <a:pt x="3181" y="1310"/>
                  </a:lnTo>
                  <a:lnTo>
                    <a:pt x="3163" y="1310"/>
                  </a:lnTo>
                  <a:lnTo>
                    <a:pt x="3140" y="1312"/>
                  </a:lnTo>
                  <a:lnTo>
                    <a:pt x="3117" y="1315"/>
                  </a:lnTo>
                  <a:lnTo>
                    <a:pt x="3099" y="1318"/>
                  </a:lnTo>
                  <a:lnTo>
                    <a:pt x="3072" y="1321"/>
                  </a:lnTo>
                  <a:lnTo>
                    <a:pt x="3049" y="1324"/>
                  </a:lnTo>
                  <a:lnTo>
                    <a:pt x="3026" y="1327"/>
                  </a:lnTo>
                  <a:lnTo>
                    <a:pt x="3003" y="1330"/>
                  </a:lnTo>
                  <a:lnTo>
                    <a:pt x="2980" y="1332"/>
                  </a:lnTo>
                  <a:lnTo>
                    <a:pt x="2953" y="1332"/>
                  </a:lnTo>
                  <a:lnTo>
                    <a:pt x="2925" y="1335"/>
                  </a:lnTo>
                  <a:lnTo>
                    <a:pt x="2898" y="1338"/>
                  </a:lnTo>
                  <a:lnTo>
                    <a:pt x="2875" y="1341"/>
                  </a:lnTo>
                  <a:lnTo>
                    <a:pt x="2848" y="1344"/>
                  </a:lnTo>
                  <a:lnTo>
                    <a:pt x="2820" y="1347"/>
                  </a:lnTo>
                  <a:lnTo>
                    <a:pt x="2793" y="1350"/>
                  </a:lnTo>
                  <a:lnTo>
                    <a:pt x="2765" y="1350"/>
                  </a:lnTo>
                  <a:lnTo>
                    <a:pt x="2733" y="1352"/>
                  </a:lnTo>
                  <a:lnTo>
                    <a:pt x="2706" y="1355"/>
                  </a:lnTo>
                  <a:lnTo>
                    <a:pt x="2679" y="1361"/>
                  </a:lnTo>
                  <a:lnTo>
                    <a:pt x="2651" y="1361"/>
                  </a:lnTo>
                  <a:lnTo>
                    <a:pt x="2619" y="1364"/>
                  </a:lnTo>
                  <a:lnTo>
                    <a:pt x="2587" y="1367"/>
                  </a:lnTo>
                  <a:lnTo>
                    <a:pt x="2560" y="1369"/>
                  </a:lnTo>
                  <a:lnTo>
                    <a:pt x="2528" y="1372"/>
                  </a:lnTo>
                  <a:lnTo>
                    <a:pt x="2500" y="1372"/>
                  </a:lnTo>
                  <a:lnTo>
                    <a:pt x="2468" y="1375"/>
                  </a:lnTo>
                  <a:lnTo>
                    <a:pt x="2436" y="1378"/>
                  </a:lnTo>
                  <a:lnTo>
                    <a:pt x="2404" y="1378"/>
                  </a:lnTo>
                  <a:lnTo>
                    <a:pt x="2377" y="1381"/>
                  </a:lnTo>
                  <a:lnTo>
                    <a:pt x="2345" y="1384"/>
                  </a:lnTo>
                  <a:lnTo>
                    <a:pt x="2313" y="1387"/>
                  </a:lnTo>
                  <a:lnTo>
                    <a:pt x="2281" y="1387"/>
                  </a:lnTo>
                  <a:lnTo>
                    <a:pt x="2254" y="1389"/>
                  </a:lnTo>
                  <a:lnTo>
                    <a:pt x="2217" y="1392"/>
                  </a:lnTo>
                  <a:lnTo>
                    <a:pt x="2190" y="1392"/>
                  </a:lnTo>
                  <a:lnTo>
                    <a:pt x="2153" y="1395"/>
                  </a:lnTo>
                  <a:lnTo>
                    <a:pt x="2126" y="1398"/>
                  </a:lnTo>
                  <a:lnTo>
                    <a:pt x="2094" y="1398"/>
                  </a:lnTo>
                  <a:lnTo>
                    <a:pt x="2066" y="1398"/>
                  </a:lnTo>
                  <a:lnTo>
                    <a:pt x="2034" y="1398"/>
                  </a:lnTo>
                  <a:lnTo>
                    <a:pt x="1998" y="1398"/>
                  </a:lnTo>
                  <a:lnTo>
                    <a:pt x="1966" y="1398"/>
                  </a:lnTo>
                  <a:lnTo>
                    <a:pt x="1929" y="1401"/>
                  </a:lnTo>
                  <a:lnTo>
                    <a:pt x="1897" y="1401"/>
                  </a:lnTo>
                  <a:lnTo>
                    <a:pt x="1860" y="1401"/>
                  </a:lnTo>
                  <a:lnTo>
                    <a:pt x="1829" y="1401"/>
                  </a:lnTo>
                  <a:lnTo>
                    <a:pt x="1792" y="1401"/>
                  </a:lnTo>
                  <a:lnTo>
                    <a:pt x="1755" y="1398"/>
                  </a:lnTo>
                  <a:lnTo>
                    <a:pt x="1723" y="1398"/>
                  </a:lnTo>
                  <a:lnTo>
                    <a:pt x="1682" y="1398"/>
                  </a:lnTo>
                  <a:lnTo>
                    <a:pt x="1646" y="1398"/>
                  </a:lnTo>
                  <a:lnTo>
                    <a:pt x="1609" y="1398"/>
                  </a:lnTo>
                  <a:lnTo>
                    <a:pt x="1573" y="1395"/>
                  </a:lnTo>
                  <a:lnTo>
                    <a:pt x="1536" y="1392"/>
                  </a:lnTo>
                  <a:lnTo>
                    <a:pt x="1499" y="1392"/>
                  </a:lnTo>
                  <a:lnTo>
                    <a:pt x="1458" y="1389"/>
                  </a:lnTo>
                  <a:lnTo>
                    <a:pt x="1422" y="1387"/>
                  </a:lnTo>
                  <a:lnTo>
                    <a:pt x="1385" y="1387"/>
                  </a:lnTo>
                  <a:lnTo>
                    <a:pt x="1344" y="1381"/>
                  </a:lnTo>
                  <a:lnTo>
                    <a:pt x="1308" y="1378"/>
                  </a:lnTo>
                  <a:lnTo>
                    <a:pt x="1271" y="1378"/>
                  </a:lnTo>
                  <a:lnTo>
                    <a:pt x="1234" y="1375"/>
                  </a:lnTo>
                  <a:lnTo>
                    <a:pt x="1198" y="1372"/>
                  </a:lnTo>
                  <a:lnTo>
                    <a:pt x="1161" y="1369"/>
                  </a:lnTo>
                  <a:lnTo>
                    <a:pt x="1125" y="1367"/>
                  </a:lnTo>
                  <a:lnTo>
                    <a:pt x="1088" y="1364"/>
                  </a:lnTo>
                  <a:lnTo>
                    <a:pt x="1052" y="1361"/>
                  </a:lnTo>
                  <a:lnTo>
                    <a:pt x="1020" y="1358"/>
                  </a:lnTo>
                  <a:lnTo>
                    <a:pt x="983" y="1355"/>
                  </a:lnTo>
                  <a:lnTo>
                    <a:pt x="946" y="1352"/>
                  </a:lnTo>
                  <a:lnTo>
                    <a:pt x="914" y="1350"/>
                  </a:lnTo>
                  <a:lnTo>
                    <a:pt x="878" y="1347"/>
                  </a:lnTo>
                  <a:lnTo>
                    <a:pt x="846" y="1344"/>
                  </a:lnTo>
                  <a:lnTo>
                    <a:pt x="809" y="1338"/>
                  </a:lnTo>
                  <a:lnTo>
                    <a:pt x="777" y="1335"/>
                  </a:lnTo>
                  <a:lnTo>
                    <a:pt x="745" y="1332"/>
                  </a:lnTo>
                  <a:lnTo>
                    <a:pt x="718" y="1330"/>
                  </a:lnTo>
                  <a:lnTo>
                    <a:pt x="686" y="1327"/>
                  </a:lnTo>
                  <a:lnTo>
                    <a:pt x="659" y="1324"/>
                  </a:lnTo>
                  <a:lnTo>
                    <a:pt x="627" y="1321"/>
                  </a:lnTo>
                  <a:lnTo>
                    <a:pt x="599" y="1315"/>
                  </a:lnTo>
                  <a:lnTo>
                    <a:pt x="576" y="1312"/>
                  </a:lnTo>
                  <a:lnTo>
                    <a:pt x="549" y="1310"/>
                  </a:lnTo>
                  <a:lnTo>
                    <a:pt x="521" y="1307"/>
                  </a:lnTo>
                  <a:lnTo>
                    <a:pt x="499" y="1304"/>
                  </a:lnTo>
                  <a:lnTo>
                    <a:pt x="476" y="1304"/>
                  </a:lnTo>
                  <a:lnTo>
                    <a:pt x="453" y="1301"/>
                  </a:lnTo>
                  <a:lnTo>
                    <a:pt x="430" y="1298"/>
                  </a:lnTo>
                  <a:lnTo>
                    <a:pt x="412" y="1295"/>
                  </a:lnTo>
                  <a:lnTo>
                    <a:pt x="393" y="1293"/>
                  </a:lnTo>
                  <a:lnTo>
                    <a:pt x="380" y="1293"/>
                  </a:lnTo>
                  <a:lnTo>
                    <a:pt x="361" y="1290"/>
                  </a:lnTo>
                  <a:lnTo>
                    <a:pt x="343" y="1287"/>
                  </a:lnTo>
                  <a:lnTo>
                    <a:pt x="330" y="1284"/>
                  </a:lnTo>
                  <a:lnTo>
                    <a:pt x="320" y="1284"/>
                  </a:lnTo>
                  <a:lnTo>
                    <a:pt x="307" y="1281"/>
                  </a:lnTo>
                  <a:lnTo>
                    <a:pt x="298" y="1281"/>
                  </a:lnTo>
                  <a:lnTo>
                    <a:pt x="288" y="1281"/>
                  </a:lnTo>
                  <a:lnTo>
                    <a:pt x="279" y="1281"/>
                  </a:lnTo>
                  <a:lnTo>
                    <a:pt x="275" y="1281"/>
                  </a:lnTo>
                  <a:lnTo>
                    <a:pt x="270" y="1281"/>
                  </a:lnTo>
                  <a:lnTo>
                    <a:pt x="311" y="91"/>
                  </a:lnTo>
                  <a:lnTo>
                    <a:pt x="133" y="85"/>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199" name="Freeform 189"/>
            <p:cNvSpPr>
              <a:spLocks/>
            </p:cNvSpPr>
            <p:nvPr>
              <p:custDataLst>
                <p:tags r:id="rId98"/>
              </p:custDataLst>
            </p:nvPr>
          </p:nvSpPr>
          <p:spPr bwMode="gray">
            <a:xfrm>
              <a:off x="2572" y="1972"/>
              <a:ext cx="800" cy="748"/>
            </a:xfrm>
            <a:custGeom>
              <a:avLst/>
              <a:gdLst>
                <a:gd name="T0" fmla="*/ 0 w 781"/>
                <a:gd name="T1" fmla="*/ 74 h 820"/>
                <a:gd name="T2" fmla="*/ 0 w 781"/>
                <a:gd name="T3" fmla="*/ 71 h 820"/>
                <a:gd name="T4" fmla="*/ 5 w 781"/>
                <a:gd name="T5" fmla="*/ 68 h 820"/>
                <a:gd name="T6" fmla="*/ 5 w 781"/>
                <a:gd name="T7" fmla="*/ 65 h 820"/>
                <a:gd name="T8" fmla="*/ 5 w 781"/>
                <a:gd name="T9" fmla="*/ 62 h 820"/>
                <a:gd name="T10" fmla="*/ 5 w 781"/>
                <a:gd name="T11" fmla="*/ 58 h 820"/>
                <a:gd name="T12" fmla="*/ 5 w 781"/>
                <a:gd name="T13" fmla="*/ 56 h 820"/>
                <a:gd name="T14" fmla="*/ 9 w 781"/>
                <a:gd name="T15" fmla="*/ 52 h 820"/>
                <a:gd name="T16" fmla="*/ 9 w 781"/>
                <a:gd name="T17" fmla="*/ 47 h 820"/>
                <a:gd name="T18" fmla="*/ 9 w 781"/>
                <a:gd name="T19" fmla="*/ 43 h 820"/>
                <a:gd name="T20" fmla="*/ 18 w 781"/>
                <a:gd name="T21" fmla="*/ 39 h 820"/>
                <a:gd name="T22" fmla="*/ 18 w 781"/>
                <a:gd name="T23" fmla="*/ 34 h 820"/>
                <a:gd name="T24" fmla="*/ 58 w 781"/>
                <a:gd name="T25" fmla="*/ 30 h 820"/>
                <a:gd name="T26" fmla="*/ 64 w 781"/>
                <a:gd name="T27" fmla="*/ 26 h 820"/>
                <a:gd name="T28" fmla="*/ 90 w 781"/>
                <a:gd name="T29" fmla="*/ 23 h 820"/>
                <a:gd name="T30" fmla="*/ 122 w 781"/>
                <a:gd name="T31" fmla="*/ 19 h 820"/>
                <a:gd name="T32" fmla="*/ 136 w 781"/>
                <a:gd name="T33" fmla="*/ 16 h 820"/>
                <a:gd name="T34" fmla="*/ 169 w 781"/>
                <a:gd name="T35" fmla="*/ 13 h 820"/>
                <a:gd name="T36" fmla="*/ 213 w 781"/>
                <a:gd name="T37" fmla="*/ 11 h 820"/>
                <a:gd name="T38" fmla="*/ 255 w 781"/>
                <a:gd name="T39" fmla="*/ 8 h 820"/>
                <a:gd name="T40" fmla="*/ 307 w 781"/>
                <a:gd name="T41" fmla="*/ 5 h 820"/>
                <a:gd name="T42" fmla="*/ 382 w 781"/>
                <a:gd name="T43" fmla="*/ 5 h 820"/>
                <a:gd name="T44" fmla="*/ 494 w 781"/>
                <a:gd name="T45" fmla="*/ 5 h 820"/>
                <a:gd name="T46" fmla="*/ 544 w 781"/>
                <a:gd name="T47" fmla="*/ 5 h 820"/>
                <a:gd name="T48" fmla="*/ 605 w 781"/>
                <a:gd name="T49" fmla="*/ 5 h 820"/>
                <a:gd name="T50" fmla="*/ 683 w 781"/>
                <a:gd name="T51" fmla="*/ 0 h 820"/>
                <a:gd name="T52" fmla="*/ 761 w 781"/>
                <a:gd name="T53" fmla="*/ 3 h 820"/>
                <a:gd name="T54" fmla="*/ 827 w 781"/>
                <a:gd name="T55" fmla="*/ 5 h 820"/>
                <a:gd name="T56" fmla="*/ 939 w 781"/>
                <a:gd name="T57" fmla="*/ 5 h 820"/>
                <a:gd name="T58" fmla="*/ 1033 w 781"/>
                <a:gd name="T59" fmla="*/ 5 h 820"/>
                <a:gd name="T60" fmla="*/ 1129 w 781"/>
                <a:gd name="T61" fmla="*/ 5 h 820"/>
                <a:gd name="T62" fmla="*/ 1222 w 781"/>
                <a:gd name="T63" fmla="*/ 8 h 820"/>
                <a:gd name="T64" fmla="*/ 1287 w 781"/>
                <a:gd name="T65" fmla="*/ 12 h 820"/>
                <a:gd name="T66" fmla="*/ 1341 w 781"/>
                <a:gd name="T67" fmla="*/ 15 h 820"/>
                <a:gd name="T68" fmla="*/ 1369 w 781"/>
                <a:gd name="T69" fmla="*/ 16 h 820"/>
                <a:gd name="T70" fmla="*/ 1381 w 781"/>
                <a:gd name="T71" fmla="*/ 19 h 820"/>
                <a:gd name="T72" fmla="*/ 1390 w 781"/>
                <a:gd name="T73" fmla="*/ 21 h 820"/>
                <a:gd name="T74" fmla="*/ 1408 w 781"/>
                <a:gd name="T75" fmla="*/ 23 h 820"/>
                <a:gd name="T76" fmla="*/ 1416 w 781"/>
                <a:gd name="T77" fmla="*/ 27 h 820"/>
                <a:gd name="T78" fmla="*/ 1424 w 781"/>
                <a:gd name="T79" fmla="*/ 30 h 820"/>
                <a:gd name="T80" fmla="*/ 1437 w 781"/>
                <a:gd name="T81" fmla="*/ 33 h 820"/>
                <a:gd name="T82" fmla="*/ 1442 w 781"/>
                <a:gd name="T83" fmla="*/ 36 h 820"/>
                <a:gd name="T84" fmla="*/ 1450 w 781"/>
                <a:gd name="T85" fmla="*/ 40 h 820"/>
                <a:gd name="T86" fmla="*/ 1450 w 781"/>
                <a:gd name="T87" fmla="*/ 44 h 820"/>
                <a:gd name="T88" fmla="*/ 1458 w 781"/>
                <a:gd name="T89" fmla="*/ 47 h 820"/>
                <a:gd name="T90" fmla="*/ 1458 w 781"/>
                <a:gd name="T91" fmla="*/ 52 h 820"/>
                <a:gd name="T92" fmla="*/ 1458 w 781"/>
                <a:gd name="T93" fmla="*/ 56 h 820"/>
                <a:gd name="T94" fmla="*/ 1458 w 781"/>
                <a:gd name="T95" fmla="*/ 58 h 820"/>
                <a:gd name="T96" fmla="*/ 1458 w 781"/>
                <a:gd name="T97" fmla="*/ 62 h 820"/>
                <a:gd name="T98" fmla="*/ 1458 w 781"/>
                <a:gd name="T99" fmla="*/ 64 h 820"/>
                <a:gd name="T100" fmla="*/ 1458 w 781"/>
                <a:gd name="T101" fmla="*/ 67 h 820"/>
                <a:gd name="T102" fmla="*/ 1458 w 781"/>
                <a:gd name="T103" fmla="*/ 68 h 820"/>
                <a:gd name="T104" fmla="*/ 1458 w 781"/>
                <a:gd name="T105" fmla="*/ 70 h 820"/>
                <a:gd name="T106" fmla="*/ 1458 w 781"/>
                <a:gd name="T107" fmla="*/ 73 h 820"/>
                <a:gd name="T108" fmla="*/ 0 w 781"/>
                <a:gd name="T109" fmla="*/ 75 h 82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1"/>
                <a:gd name="T166" fmla="*/ 0 h 820"/>
                <a:gd name="T167" fmla="*/ 781 w 781"/>
                <a:gd name="T168" fmla="*/ 820 h 82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1" h="820">
                  <a:moveTo>
                    <a:pt x="0" y="820"/>
                  </a:moveTo>
                  <a:lnTo>
                    <a:pt x="0" y="812"/>
                  </a:lnTo>
                  <a:lnTo>
                    <a:pt x="0" y="806"/>
                  </a:lnTo>
                  <a:lnTo>
                    <a:pt x="0" y="797"/>
                  </a:lnTo>
                  <a:lnTo>
                    <a:pt x="0" y="786"/>
                  </a:lnTo>
                  <a:lnTo>
                    <a:pt x="0" y="777"/>
                  </a:lnTo>
                  <a:lnTo>
                    <a:pt x="0" y="766"/>
                  </a:lnTo>
                  <a:lnTo>
                    <a:pt x="0" y="757"/>
                  </a:lnTo>
                  <a:lnTo>
                    <a:pt x="5" y="749"/>
                  </a:lnTo>
                  <a:lnTo>
                    <a:pt x="5" y="738"/>
                  </a:lnTo>
                  <a:lnTo>
                    <a:pt x="5" y="726"/>
                  </a:lnTo>
                  <a:lnTo>
                    <a:pt x="5" y="712"/>
                  </a:lnTo>
                  <a:lnTo>
                    <a:pt x="5" y="700"/>
                  </a:lnTo>
                  <a:lnTo>
                    <a:pt x="5" y="689"/>
                  </a:lnTo>
                  <a:lnTo>
                    <a:pt x="5" y="675"/>
                  </a:lnTo>
                  <a:lnTo>
                    <a:pt x="5" y="663"/>
                  </a:lnTo>
                  <a:lnTo>
                    <a:pt x="5" y="649"/>
                  </a:lnTo>
                  <a:lnTo>
                    <a:pt x="5" y="638"/>
                  </a:lnTo>
                  <a:lnTo>
                    <a:pt x="5" y="624"/>
                  </a:lnTo>
                  <a:lnTo>
                    <a:pt x="5" y="609"/>
                  </a:lnTo>
                  <a:lnTo>
                    <a:pt x="5" y="595"/>
                  </a:lnTo>
                  <a:lnTo>
                    <a:pt x="5" y="578"/>
                  </a:lnTo>
                  <a:lnTo>
                    <a:pt x="9" y="564"/>
                  </a:lnTo>
                  <a:lnTo>
                    <a:pt x="9" y="552"/>
                  </a:lnTo>
                  <a:lnTo>
                    <a:pt x="9" y="538"/>
                  </a:lnTo>
                  <a:lnTo>
                    <a:pt x="9" y="521"/>
                  </a:lnTo>
                  <a:lnTo>
                    <a:pt x="9" y="510"/>
                  </a:lnTo>
                  <a:lnTo>
                    <a:pt x="9" y="493"/>
                  </a:lnTo>
                  <a:lnTo>
                    <a:pt x="9" y="478"/>
                  </a:lnTo>
                  <a:lnTo>
                    <a:pt x="9" y="464"/>
                  </a:lnTo>
                  <a:lnTo>
                    <a:pt x="14" y="450"/>
                  </a:lnTo>
                  <a:lnTo>
                    <a:pt x="14" y="433"/>
                  </a:lnTo>
                  <a:lnTo>
                    <a:pt x="18" y="419"/>
                  </a:lnTo>
                  <a:lnTo>
                    <a:pt x="18" y="404"/>
                  </a:lnTo>
                  <a:lnTo>
                    <a:pt x="18" y="387"/>
                  </a:lnTo>
                  <a:lnTo>
                    <a:pt x="18" y="373"/>
                  </a:lnTo>
                  <a:lnTo>
                    <a:pt x="23" y="359"/>
                  </a:lnTo>
                  <a:lnTo>
                    <a:pt x="27" y="345"/>
                  </a:lnTo>
                  <a:lnTo>
                    <a:pt x="32" y="330"/>
                  </a:lnTo>
                  <a:lnTo>
                    <a:pt x="32" y="316"/>
                  </a:lnTo>
                  <a:lnTo>
                    <a:pt x="37" y="302"/>
                  </a:lnTo>
                  <a:lnTo>
                    <a:pt x="37" y="285"/>
                  </a:lnTo>
                  <a:lnTo>
                    <a:pt x="46" y="273"/>
                  </a:lnTo>
                  <a:lnTo>
                    <a:pt x="46" y="259"/>
                  </a:lnTo>
                  <a:lnTo>
                    <a:pt x="50" y="245"/>
                  </a:lnTo>
                  <a:lnTo>
                    <a:pt x="55" y="231"/>
                  </a:lnTo>
                  <a:lnTo>
                    <a:pt x="55" y="219"/>
                  </a:lnTo>
                  <a:lnTo>
                    <a:pt x="64" y="208"/>
                  </a:lnTo>
                  <a:lnTo>
                    <a:pt x="69" y="196"/>
                  </a:lnTo>
                  <a:lnTo>
                    <a:pt x="73" y="182"/>
                  </a:lnTo>
                  <a:lnTo>
                    <a:pt x="73" y="171"/>
                  </a:lnTo>
                  <a:lnTo>
                    <a:pt x="82" y="159"/>
                  </a:lnTo>
                  <a:lnTo>
                    <a:pt x="87" y="148"/>
                  </a:lnTo>
                  <a:lnTo>
                    <a:pt x="91" y="137"/>
                  </a:lnTo>
                  <a:lnTo>
                    <a:pt x="96" y="125"/>
                  </a:lnTo>
                  <a:lnTo>
                    <a:pt x="110" y="117"/>
                  </a:lnTo>
                  <a:lnTo>
                    <a:pt x="114" y="108"/>
                  </a:lnTo>
                  <a:lnTo>
                    <a:pt x="123" y="97"/>
                  </a:lnTo>
                  <a:lnTo>
                    <a:pt x="128" y="91"/>
                  </a:lnTo>
                  <a:lnTo>
                    <a:pt x="137" y="83"/>
                  </a:lnTo>
                  <a:lnTo>
                    <a:pt x="146" y="74"/>
                  </a:lnTo>
                  <a:lnTo>
                    <a:pt x="155" y="68"/>
                  </a:lnTo>
                  <a:lnTo>
                    <a:pt x="165" y="60"/>
                  </a:lnTo>
                  <a:lnTo>
                    <a:pt x="174" y="54"/>
                  </a:lnTo>
                  <a:lnTo>
                    <a:pt x="187" y="48"/>
                  </a:lnTo>
                  <a:lnTo>
                    <a:pt x="206" y="40"/>
                  </a:lnTo>
                  <a:lnTo>
                    <a:pt x="224" y="31"/>
                  </a:lnTo>
                  <a:lnTo>
                    <a:pt x="242" y="23"/>
                  </a:lnTo>
                  <a:lnTo>
                    <a:pt x="265" y="17"/>
                  </a:lnTo>
                  <a:lnTo>
                    <a:pt x="274" y="14"/>
                  </a:lnTo>
                  <a:lnTo>
                    <a:pt x="283" y="11"/>
                  </a:lnTo>
                  <a:lnTo>
                    <a:pt x="292" y="9"/>
                  </a:lnTo>
                  <a:lnTo>
                    <a:pt x="306" y="6"/>
                  </a:lnTo>
                  <a:lnTo>
                    <a:pt x="311" y="6"/>
                  </a:lnTo>
                  <a:lnTo>
                    <a:pt x="324" y="6"/>
                  </a:lnTo>
                  <a:lnTo>
                    <a:pt x="334" y="3"/>
                  </a:lnTo>
                  <a:lnTo>
                    <a:pt x="347" y="3"/>
                  </a:lnTo>
                  <a:lnTo>
                    <a:pt x="366" y="0"/>
                  </a:lnTo>
                  <a:lnTo>
                    <a:pt x="384" y="3"/>
                  </a:lnTo>
                  <a:lnTo>
                    <a:pt x="398" y="3"/>
                  </a:lnTo>
                  <a:lnTo>
                    <a:pt x="407" y="3"/>
                  </a:lnTo>
                  <a:lnTo>
                    <a:pt x="416" y="3"/>
                  </a:lnTo>
                  <a:lnTo>
                    <a:pt x="425" y="6"/>
                  </a:lnTo>
                  <a:lnTo>
                    <a:pt x="443" y="6"/>
                  </a:lnTo>
                  <a:lnTo>
                    <a:pt x="466" y="9"/>
                  </a:lnTo>
                  <a:lnTo>
                    <a:pt x="484" y="14"/>
                  </a:lnTo>
                  <a:lnTo>
                    <a:pt x="503" y="20"/>
                  </a:lnTo>
                  <a:lnTo>
                    <a:pt x="521" y="23"/>
                  </a:lnTo>
                  <a:lnTo>
                    <a:pt x="539" y="28"/>
                  </a:lnTo>
                  <a:lnTo>
                    <a:pt x="553" y="37"/>
                  </a:lnTo>
                  <a:lnTo>
                    <a:pt x="576" y="43"/>
                  </a:lnTo>
                  <a:lnTo>
                    <a:pt x="590" y="48"/>
                  </a:lnTo>
                  <a:lnTo>
                    <a:pt x="603" y="60"/>
                  </a:lnTo>
                  <a:lnTo>
                    <a:pt x="622" y="68"/>
                  </a:lnTo>
                  <a:lnTo>
                    <a:pt x="635" y="77"/>
                  </a:lnTo>
                  <a:lnTo>
                    <a:pt x="654" y="85"/>
                  </a:lnTo>
                  <a:lnTo>
                    <a:pt x="663" y="97"/>
                  </a:lnTo>
                  <a:lnTo>
                    <a:pt x="672" y="108"/>
                  </a:lnTo>
                  <a:lnTo>
                    <a:pt x="690" y="120"/>
                  </a:lnTo>
                  <a:lnTo>
                    <a:pt x="699" y="131"/>
                  </a:lnTo>
                  <a:lnTo>
                    <a:pt x="708" y="142"/>
                  </a:lnTo>
                  <a:lnTo>
                    <a:pt x="718" y="154"/>
                  </a:lnTo>
                  <a:lnTo>
                    <a:pt x="727" y="165"/>
                  </a:lnTo>
                  <a:lnTo>
                    <a:pt x="727" y="171"/>
                  </a:lnTo>
                  <a:lnTo>
                    <a:pt x="731" y="177"/>
                  </a:lnTo>
                  <a:lnTo>
                    <a:pt x="736" y="185"/>
                  </a:lnTo>
                  <a:lnTo>
                    <a:pt x="736" y="194"/>
                  </a:lnTo>
                  <a:lnTo>
                    <a:pt x="740" y="199"/>
                  </a:lnTo>
                  <a:lnTo>
                    <a:pt x="745" y="208"/>
                  </a:lnTo>
                  <a:lnTo>
                    <a:pt x="745" y="216"/>
                  </a:lnTo>
                  <a:lnTo>
                    <a:pt x="745" y="228"/>
                  </a:lnTo>
                  <a:lnTo>
                    <a:pt x="745" y="236"/>
                  </a:lnTo>
                  <a:lnTo>
                    <a:pt x="754" y="245"/>
                  </a:lnTo>
                  <a:lnTo>
                    <a:pt x="754" y="256"/>
                  </a:lnTo>
                  <a:lnTo>
                    <a:pt x="754" y="268"/>
                  </a:lnTo>
                  <a:lnTo>
                    <a:pt x="759" y="279"/>
                  </a:lnTo>
                  <a:lnTo>
                    <a:pt x="759" y="290"/>
                  </a:lnTo>
                  <a:lnTo>
                    <a:pt x="759" y="302"/>
                  </a:lnTo>
                  <a:lnTo>
                    <a:pt x="763" y="313"/>
                  </a:lnTo>
                  <a:lnTo>
                    <a:pt x="763" y="327"/>
                  </a:lnTo>
                  <a:lnTo>
                    <a:pt x="763" y="336"/>
                  </a:lnTo>
                  <a:lnTo>
                    <a:pt x="763" y="347"/>
                  </a:lnTo>
                  <a:lnTo>
                    <a:pt x="768" y="362"/>
                  </a:lnTo>
                  <a:lnTo>
                    <a:pt x="768" y="379"/>
                  </a:lnTo>
                  <a:lnTo>
                    <a:pt x="772" y="390"/>
                  </a:lnTo>
                  <a:lnTo>
                    <a:pt x="772" y="401"/>
                  </a:lnTo>
                  <a:lnTo>
                    <a:pt x="777" y="416"/>
                  </a:lnTo>
                  <a:lnTo>
                    <a:pt x="777" y="430"/>
                  </a:lnTo>
                  <a:lnTo>
                    <a:pt x="777" y="444"/>
                  </a:lnTo>
                  <a:lnTo>
                    <a:pt x="777" y="456"/>
                  </a:lnTo>
                  <a:lnTo>
                    <a:pt x="777" y="470"/>
                  </a:lnTo>
                  <a:lnTo>
                    <a:pt x="777" y="484"/>
                  </a:lnTo>
                  <a:lnTo>
                    <a:pt x="777" y="498"/>
                  </a:lnTo>
                  <a:lnTo>
                    <a:pt x="777" y="510"/>
                  </a:lnTo>
                  <a:lnTo>
                    <a:pt x="781" y="524"/>
                  </a:lnTo>
                  <a:lnTo>
                    <a:pt x="781" y="538"/>
                  </a:lnTo>
                  <a:lnTo>
                    <a:pt x="781" y="552"/>
                  </a:lnTo>
                  <a:lnTo>
                    <a:pt x="781" y="561"/>
                  </a:lnTo>
                  <a:lnTo>
                    <a:pt x="781" y="575"/>
                  </a:lnTo>
                  <a:lnTo>
                    <a:pt x="781" y="587"/>
                  </a:lnTo>
                  <a:lnTo>
                    <a:pt x="781" y="601"/>
                  </a:lnTo>
                  <a:lnTo>
                    <a:pt x="781" y="612"/>
                  </a:lnTo>
                  <a:lnTo>
                    <a:pt x="781" y="626"/>
                  </a:lnTo>
                  <a:lnTo>
                    <a:pt x="781" y="635"/>
                  </a:lnTo>
                  <a:lnTo>
                    <a:pt x="781" y="649"/>
                  </a:lnTo>
                  <a:lnTo>
                    <a:pt x="781" y="658"/>
                  </a:lnTo>
                  <a:lnTo>
                    <a:pt x="781" y="669"/>
                  </a:lnTo>
                  <a:lnTo>
                    <a:pt x="781" y="681"/>
                  </a:lnTo>
                  <a:lnTo>
                    <a:pt x="781" y="692"/>
                  </a:lnTo>
                  <a:lnTo>
                    <a:pt x="781" y="700"/>
                  </a:lnTo>
                  <a:lnTo>
                    <a:pt x="781" y="712"/>
                  </a:lnTo>
                  <a:lnTo>
                    <a:pt x="781" y="720"/>
                  </a:lnTo>
                  <a:lnTo>
                    <a:pt x="781" y="726"/>
                  </a:lnTo>
                  <a:lnTo>
                    <a:pt x="781" y="735"/>
                  </a:lnTo>
                  <a:lnTo>
                    <a:pt x="781" y="743"/>
                  </a:lnTo>
                  <a:lnTo>
                    <a:pt x="781" y="749"/>
                  </a:lnTo>
                  <a:lnTo>
                    <a:pt x="781" y="757"/>
                  </a:lnTo>
                  <a:lnTo>
                    <a:pt x="781" y="763"/>
                  </a:lnTo>
                  <a:lnTo>
                    <a:pt x="781" y="769"/>
                  </a:lnTo>
                  <a:lnTo>
                    <a:pt x="781" y="777"/>
                  </a:lnTo>
                  <a:lnTo>
                    <a:pt x="781" y="786"/>
                  </a:lnTo>
                  <a:lnTo>
                    <a:pt x="781" y="789"/>
                  </a:lnTo>
                  <a:lnTo>
                    <a:pt x="781" y="792"/>
                  </a:lnTo>
                  <a:lnTo>
                    <a:pt x="0" y="82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00" name="Freeform 190"/>
            <p:cNvSpPr>
              <a:spLocks/>
            </p:cNvSpPr>
            <p:nvPr>
              <p:custDataLst>
                <p:tags r:id="rId99"/>
              </p:custDataLst>
            </p:nvPr>
          </p:nvSpPr>
          <p:spPr bwMode="gray">
            <a:xfrm>
              <a:off x="1134" y="2045"/>
              <a:ext cx="1339" cy="362"/>
            </a:xfrm>
            <a:custGeom>
              <a:avLst/>
              <a:gdLst>
                <a:gd name="T0" fmla="*/ 90 w 1307"/>
                <a:gd name="T1" fmla="*/ 5 h 396"/>
                <a:gd name="T2" fmla="*/ 207 w 1307"/>
                <a:gd name="T3" fmla="*/ 5 h 396"/>
                <a:gd name="T4" fmla="*/ 326 w 1307"/>
                <a:gd name="T5" fmla="*/ 5 h 396"/>
                <a:gd name="T6" fmla="*/ 446 w 1307"/>
                <a:gd name="T7" fmla="*/ 5 h 396"/>
                <a:gd name="T8" fmla="*/ 591 w 1307"/>
                <a:gd name="T9" fmla="*/ 5 h 396"/>
                <a:gd name="T10" fmla="*/ 739 w 1307"/>
                <a:gd name="T11" fmla="*/ 5 h 396"/>
                <a:gd name="T12" fmla="*/ 884 w 1307"/>
                <a:gd name="T13" fmla="*/ 5 h 396"/>
                <a:gd name="T14" fmla="*/ 1038 w 1307"/>
                <a:gd name="T15" fmla="*/ 6 h 396"/>
                <a:gd name="T16" fmla="*/ 1190 w 1307"/>
                <a:gd name="T17" fmla="*/ 7 h 396"/>
                <a:gd name="T18" fmla="*/ 1336 w 1307"/>
                <a:gd name="T19" fmla="*/ 7 h 396"/>
                <a:gd name="T20" fmla="*/ 1490 w 1307"/>
                <a:gd name="T21" fmla="*/ 8 h 396"/>
                <a:gd name="T22" fmla="*/ 1637 w 1307"/>
                <a:gd name="T23" fmla="*/ 8 h 396"/>
                <a:gd name="T24" fmla="*/ 1775 w 1307"/>
                <a:gd name="T25" fmla="*/ 8 h 396"/>
                <a:gd name="T26" fmla="*/ 1900 w 1307"/>
                <a:gd name="T27" fmla="*/ 9 h 396"/>
                <a:gd name="T28" fmla="*/ 2023 w 1307"/>
                <a:gd name="T29" fmla="*/ 10 h 396"/>
                <a:gd name="T30" fmla="*/ 2125 w 1307"/>
                <a:gd name="T31" fmla="*/ 10 h 396"/>
                <a:gd name="T32" fmla="*/ 2223 w 1307"/>
                <a:gd name="T33" fmla="*/ 10 h 396"/>
                <a:gd name="T34" fmla="*/ 2303 w 1307"/>
                <a:gd name="T35" fmla="*/ 10 h 396"/>
                <a:gd name="T36" fmla="*/ 2377 w 1307"/>
                <a:gd name="T37" fmla="*/ 10 h 396"/>
                <a:gd name="T38" fmla="*/ 2445 w 1307"/>
                <a:gd name="T39" fmla="*/ 10 h 396"/>
                <a:gd name="T40" fmla="*/ 2416 w 1307"/>
                <a:gd name="T41" fmla="*/ 37 h 396"/>
                <a:gd name="T42" fmla="*/ 2356 w 1307"/>
                <a:gd name="T43" fmla="*/ 37 h 396"/>
                <a:gd name="T44" fmla="*/ 2296 w 1307"/>
                <a:gd name="T45" fmla="*/ 37 h 396"/>
                <a:gd name="T46" fmla="*/ 2223 w 1307"/>
                <a:gd name="T47" fmla="*/ 37 h 396"/>
                <a:gd name="T48" fmla="*/ 2125 w 1307"/>
                <a:gd name="T49" fmla="*/ 37 h 396"/>
                <a:gd name="T50" fmla="*/ 2016 w 1307"/>
                <a:gd name="T51" fmla="*/ 37 h 396"/>
                <a:gd name="T52" fmla="*/ 1956 w 1307"/>
                <a:gd name="T53" fmla="*/ 37 h 396"/>
                <a:gd name="T54" fmla="*/ 1894 w 1307"/>
                <a:gd name="T55" fmla="*/ 37 h 396"/>
                <a:gd name="T56" fmla="*/ 1818 w 1307"/>
                <a:gd name="T57" fmla="*/ 37 h 396"/>
                <a:gd name="T58" fmla="*/ 1749 w 1307"/>
                <a:gd name="T59" fmla="*/ 37 h 396"/>
                <a:gd name="T60" fmla="*/ 1670 w 1307"/>
                <a:gd name="T61" fmla="*/ 37 h 396"/>
                <a:gd name="T62" fmla="*/ 1585 w 1307"/>
                <a:gd name="T63" fmla="*/ 37 h 396"/>
                <a:gd name="T64" fmla="*/ 1508 w 1307"/>
                <a:gd name="T65" fmla="*/ 37 h 396"/>
                <a:gd name="T66" fmla="*/ 1423 w 1307"/>
                <a:gd name="T67" fmla="*/ 37 h 396"/>
                <a:gd name="T68" fmla="*/ 1330 w 1307"/>
                <a:gd name="T69" fmla="*/ 37 h 396"/>
                <a:gd name="T70" fmla="*/ 1237 w 1307"/>
                <a:gd name="T71" fmla="*/ 37 h 396"/>
                <a:gd name="T72" fmla="*/ 1140 w 1307"/>
                <a:gd name="T73" fmla="*/ 36 h 396"/>
                <a:gd name="T74" fmla="*/ 1047 w 1307"/>
                <a:gd name="T75" fmla="*/ 36 h 396"/>
                <a:gd name="T76" fmla="*/ 951 w 1307"/>
                <a:gd name="T77" fmla="*/ 34 h 396"/>
                <a:gd name="T78" fmla="*/ 857 w 1307"/>
                <a:gd name="T79" fmla="*/ 34 h 396"/>
                <a:gd name="T80" fmla="*/ 763 w 1307"/>
                <a:gd name="T81" fmla="*/ 34 h 396"/>
                <a:gd name="T82" fmla="*/ 687 w 1307"/>
                <a:gd name="T83" fmla="*/ 34 h 396"/>
                <a:gd name="T84" fmla="*/ 591 w 1307"/>
                <a:gd name="T85" fmla="*/ 34 h 396"/>
                <a:gd name="T86" fmla="*/ 514 w 1307"/>
                <a:gd name="T87" fmla="*/ 34 h 396"/>
                <a:gd name="T88" fmla="*/ 436 w 1307"/>
                <a:gd name="T89" fmla="*/ 34 h 396"/>
                <a:gd name="T90" fmla="*/ 360 w 1307"/>
                <a:gd name="T91" fmla="*/ 33 h 396"/>
                <a:gd name="T92" fmla="*/ 299 w 1307"/>
                <a:gd name="T93" fmla="*/ 31 h 396"/>
                <a:gd name="T94" fmla="*/ 229 w 1307"/>
                <a:gd name="T95" fmla="*/ 31 h 396"/>
                <a:gd name="T96" fmla="*/ 151 w 1307"/>
                <a:gd name="T97" fmla="*/ 31 h 396"/>
                <a:gd name="T98" fmla="*/ 64 w 1307"/>
                <a:gd name="T99" fmla="*/ 31 h 396"/>
                <a:gd name="T100" fmla="*/ 5 w 1307"/>
                <a:gd name="T101" fmla="*/ 31 h 396"/>
                <a:gd name="T102" fmla="*/ 18 w 1307"/>
                <a:gd name="T103" fmla="*/ 0 h 39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07"/>
                <a:gd name="T157" fmla="*/ 0 h 396"/>
                <a:gd name="T158" fmla="*/ 1307 w 1307"/>
                <a:gd name="T159" fmla="*/ 396 h 39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07" h="396">
                  <a:moveTo>
                    <a:pt x="18" y="0"/>
                  </a:moveTo>
                  <a:lnTo>
                    <a:pt x="32" y="3"/>
                  </a:lnTo>
                  <a:lnTo>
                    <a:pt x="50" y="5"/>
                  </a:lnTo>
                  <a:lnTo>
                    <a:pt x="69" y="11"/>
                  </a:lnTo>
                  <a:lnTo>
                    <a:pt x="91" y="14"/>
                  </a:lnTo>
                  <a:lnTo>
                    <a:pt x="110" y="17"/>
                  </a:lnTo>
                  <a:lnTo>
                    <a:pt x="128" y="22"/>
                  </a:lnTo>
                  <a:lnTo>
                    <a:pt x="151" y="25"/>
                  </a:lnTo>
                  <a:lnTo>
                    <a:pt x="174" y="28"/>
                  </a:lnTo>
                  <a:lnTo>
                    <a:pt x="196" y="31"/>
                  </a:lnTo>
                  <a:lnTo>
                    <a:pt x="219" y="34"/>
                  </a:lnTo>
                  <a:lnTo>
                    <a:pt x="238" y="40"/>
                  </a:lnTo>
                  <a:lnTo>
                    <a:pt x="270" y="40"/>
                  </a:lnTo>
                  <a:lnTo>
                    <a:pt x="288" y="42"/>
                  </a:lnTo>
                  <a:lnTo>
                    <a:pt x="315" y="45"/>
                  </a:lnTo>
                  <a:lnTo>
                    <a:pt x="338" y="51"/>
                  </a:lnTo>
                  <a:lnTo>
                    <a:pt x="366" y="51"/>
                  </a:lnTo>
                  <a:lnTo>
                    <a:pt x="393" y="54"/>
                  </a:lnTo>
                  <a:lnTo>
                    <a:pt x="420" y="57"/>
                  </a:lnTo>
                  <a:lnTo>
                    <a:pt x="443" y="60"/>
                  </a:lnTo>
                  <a:lnTo>
                    <a:pt x="471" y="62"/>
                  </a:lnTo>
                  <a:lnTo>
                    <a:pt x="498" y="62"/>
                  </a:lnTo>
                  <a:lnTo>
                    <a:pt x="526" y="65"/>
                  </a:lnTo>
                  <a:lnTo>
                    <a:pt x="553" y="68"/>
                  </a:lnTo>
                  <a:lnTo>
                    <a:pt x="580" y="71"/>
                  </a:lnTo>
                  <a:lnTo>
                    <a:pt x="608" y="71"/>
                  </a:lnTo>
                  <a:lnTo>
                    <a:pt x="635" y="74"/>
                  </a:lnTo>
                  <a:lnTo>
                    <a:pt x="658" y="74"/>
                  </a:lnTo>
                  <a:lnTo>
                    <a:pt x="685" y="74"/>
                  </a:lnTo>
                  <a:lnTo>
                    <a:pt x="713" y="77"/>
                  </a:lnTo>
                  <a:lnTo>
                    <a:pt x="740" y="79"/>
                  </a:lnTo>
                  <a:lnTo>
                    <a:pt x="768" y="79"/>
                  </a:lnTo>
                  <a:lnTo>
                    <a:pt x="795" y="82"/>
                  </a:lnTo>
                  <a:lnTo>
                    <a:pt x="823" y="82"/>
                  </a:lnTo>
                  <a:lnTo>
                    <a:pt x="845" y="85"/>
                  </a:lnTo>
                  <a:lnTo>
                    <a:pt x="873" y="85"/>
                  </a:lnTo>
                  <a:lnTo>
                    <a:pt x="896" y="85"/>
                  </a:lnTo>
                  <a:lnTo>
                    <a:pt x="919" y="85"/>
                  </a:lnTo>
                  <a:lnTo>
                    <a:pt x="946" y="85"/>
                  </a:lnTo>
                  <a:lnTo>
                    <a:pt x="969" y="88"/>
                  </a:lnTo>
                  <a:lnTo>
                    <a:pt x="992" y="91"/>
                  </a:lnTo>
                  <a:lnTo>
                    <a:pt x="1015" y="91"/>
                  </a:lnTo>
                  <a:lnTo>
                    <a:pt x="1037" y="91"/>
                  </a:lnTo>
                  <a:lnTo>
                    <a:pt x="1056" y="91"/>
                  </a:lnTo>
                  <a:lnTo>
                    <a:pt x="1079" y="94"/>
                  </a:lnTo>
                  <a:lnTo>
                    <a:pt x="1097" y="94"/>
                  </a:lnTo>
                  <a:lnTo>
                    <a:pt x="1115" y="94"/>
                  </a:lnTo>
                  <a:lnTo>
                    <a:pt x="1133" y="94"/>
                  </a:lnTo>
                  <a:lnTo>
                    <a:pt x="1156" y="94"/>
                  </a:lnTo>
                  <a:lnTo>
                    <a:pt x="1165" y="94"/>
                  </a:lnTo>
                  <a:lnTo>
                    <a:pt x="1184" y="94"/>
                  </a:lnTo>
                  <a:lnTo>
                    <a:pt x="1202" y="94"/>
                  </a:lnTo>
                  <a:lnTo>
                    <a:pt x="1216" y="94"/>
                  </a:lnTo>
                  <a:lnTo>
                    <a:pt x="1229" y="94"/>
                  </a:lnTo>
                  <a:lnTo>
                    <a:pt x="1243" y="94"/>
                  </a:lnTo>
                  <a:lnTo>
                    <a:pt x="1252" y="94"/>
                  </a:lnTo>
                  <a:lnTo>
                    <a:pt x="1266" y="97"/>
                  </a:lnTo>
                  <a:lnTo>
                    <a:pt x="1280" y="97"/>
                  </a:lnTo>
                  <a:lnTo>
                    <a:pt x="1298" y="97"/>
                  </a:lnTo>
                  <a:lnTo>
                    <a:pt x="1302" y="97"/>
                  </a:lnTo>
                  <a:lnTo>
                    <a:pt x="1307" y="97"/>
                  </a:lnTo>
                  <a:lnTo>
                    <a:pt x="1293" y="396"/>
                  </a:lnTo>
                  <a:lnTo>
                    <a:pt x="1289" y="396"/>
                  </a:lnTo>
                  <a:lnTo>
                    <a:pt x="1284" y="396"/>
                  </a:lnTo>
                  <a:lnTo>
                    <a:pt x="1270" y="396"/>
                  </a:lnTo>
                  <a:lnTo>
                    <a:pt x="1257" y="396"/>
                  </a:lnTo>
                  <a:lnTo>
                    <a:pt x="1248" y="396"/>
                  </a:lnTo>
                  <a:lnTo>
                    <a:pt x="1234" y="396"/>
                  </a:lnTo>
                  <a:lnTo>
                    <a:pt x="1225" y="396"/>
                  </a:lnTo>
                  <a:lnTo>
                    <a:pt x="1216" y="396"/>
                  </a:lnTo>
                  <a:lnTo>
                    <a:pt x="1197" y="396"/>
                  </a:lnTo>
                  <a:lnTo>
                    <a:pt x="1184" y="396"/>
                  </a:lnTo>
                  <a:lnTo>
                    <a:pt x="1165" y="396"/>
                  </a:lnTo>
                  <a:lnTo>
                    <a:pt x="1156" y="396"/>
                  </a:lnTo>
                  <a:lnTo>
                    <a:pt x="1133" y="396"/>
                  </a:lnTo>
                  <a:lnTo>
                    <a:pt x="1115" y="396"/>
                  </a:lnTo>
                  <a:lnTo>
                    <a:pt x="1097" y="396"/>
                  </a:lnTo>
                  <a:lnTo>
                    <a:pt x="1074" y="396"/>
                  </a:lnTo>
                  <a:lnTo>
                    <a:pt x="1065" y="396"/>
                  </a:lnTo>
                  <a:lnTo>
                    <a:pt x="1056" y="396"/>
                  </a:lnTo>
                  <a:lnTo>
                    <a:pt x="1042" y="396"/>
                  </a:lnTo>
                  <a:lnTo>
                    <a:pt x="1033" y="396"/>
                  </a:lnTo>
                  <a:lnTo>
                    <a:pt x="1019" y="396"/>
                  </a:lnTo>
                  <a:lnTo>
                    <a:pt x="1010" y="396"/>
                  </a:lnTo>
                  <a:lnTo>
                    <a:pt x="996" y="396"/>
                  </a:lnTo>
                  <a:lnTo>
                    <a:pt x="987" y="396"/>
                  </a:lnTo>
                  <a:lnTo>
                    <a:pt x="969" y="393"/>
                  </a:lnTo>
                  <a:lnTo>
                    <a:pt x="960" y="393"/>
                  </a:lnTo>
                  <a:lnTo>
                    <a:pt x="946" y="393"/>
                  </a:lnTo>
                  <a:lnTo>
                    <a:pt x="932" y="393"/>
                  </a:lnTo>
                  <a:lnTo>
                    <a:pt x="919" y="390"/>
                  </a:lnTo>
                  <a:lnTo>
                    <a:pt x="905" y="390"/>
                  </a:lnTo>
                  <a:lnTo>
                    <a:pt x="891" y="387"/>
                  </a:lnTo>
                  <a:lnTo>
                    <a:pt x="877" y="387"/>
                  </a:lnTo>
                  <a:lnTo>
                    <a:pt x="864" y="387"/>
                  </a:lnTo>
                  <a:lnTo>
                    <a:pt x="845" y="387"/>
                  </a:lnTo>
                  <a:lnTo>
                    <a:pt x="836" y="387"/>
                  </a:lnTo>
                  <a:lnTo>
                    <a:pt x="823" y="387"/>
                  </a:lnTo>
                  <a:lnTo>
                    <a:pt x="804" y="387"/>
                  </a:lnTo>
                  <a:lnTo>
                    <a:pt x="786" y="387"/>
                  </a:lnTo>
                  <a:lnTo>
                    <a:pt x="772" y="384"/>
                  </a:lnTo>
                  <a:lnTo>
                    <a:pt x="759" y="384"/>
                  </a:lnTo>
                  <a:lnTo>
                    <a:pt x="740" y="381"/>
                  </a:lnTo>
                  <a:lnTo>
                    <a:pt x="722" y="381"/>
                  </a:lnTo>
                  <a:lnTo>
                    <a:pt x="708" y="381"/>
                  </a:lnTo>
                  <a:lnTo>
                    <a:pt x="695" y="378"/>
                  </a:lnTo>
                  <a:lnTo>
                    <a:pt x="676" y="376"/>
                  </a:lnTo>
                  <a:lnTo>
                    <a:pt x="658" y="376"/>
                  </a:lnTo>
                  <a:lnTo>
                    <a:pt x="640" y="376"/>
                  </a:lnTo>
                  <a:lnTo>
                    <a:pt x="622" y="376"/>
                  </a:lnTo>
                  <a:lnTo>
                    <a:pt x="608" y="370"/>
                  </a:lnTo>
                  <a:lnTo>
                    <a:pt x="590" y="370"/>
                  </a:lnTo>
                  <a:lnTo>
                    <a:pt x="571" y="370"/>
                  </a:lnTo>
                  <a:lnTo>
                    <a:pt x="558" y="370"/>
                  </a:lnTo>
                  <a:lnTo>
                    <a:pt x="539" y="367"/>
                  </a:lnTo>
                  <a:lnTo>
                    <a:pt x="526" y="367"/>
                  </a:lnTo>
                  <a:lnTo>
                    <a:pt x="507" y="364"/>
                  </a:lnTo>
                  <a:lnTo>
                    <a:pt x="489" y="364"/>
                  </a:lnTo>
                  <a:lnTo>
                    <a:pt x="475" y="361"/>
                  </a:lnTo>
                  <a:lnTo>
                    <a:pt x="457" y="359"/>
                  </a:lnTo>
                  <a:lnTo>
                    <a:pt x="439" y="359"/>
                  </a:lnTo>
                  <a:lnTo>
                    <a:pt x="425" y="359"/>
                  </a:lnTo>
                  <a:lnTo>
                    <a:pt x="407" y="356"/>
                  </a:lnTo>
                  <a:lnTo>
                    <a:pt x="393" y="356"/>
                  </a:lnTo>
                  <a:lnTo>
                    <a:pt x="379" y="353"/>
                  </a:lnTo>
                  <a:lnTo>
                    <a:pt x="366" y="353"/>
                  </a:lnTo>
                  <a:lnTo>
                    <a:pt x="347" y="353"/>
                  </a:lnTo>
                  <a:lnTo>
                    <a:pt x="334" y="350"/>
                  </a:lnTo>
                  <a:lnTo>
                    <a:pt x="315" y="350"/>
                  </a:lnTo>
                  <a:lnTo>
                    <a:pt x="302" y="347"/>
                  </a:lnTo>
                  <a:lnTo>
                    <a:pt x="288" y="344"/>
                  </a:lnTo>
                  <a:lnTo>
                    <a:pt x="274" y="344"/>
                  </a:lnTo>
                  <a:lnTo>
                    <a:pt x="256" y="341"/>
                  </a:lnTo>
                  <a:lnTo>
                    <a:pt x="247" y="341"/>
                  </a:lnTo>
                  <a:lnTo>
                    <a:pt x="233" y="341"/>
                  </a:lnTo>
                  <a:lnTo>
                    <a:pt x="219" y="339"/>
                  </a:lnTo>
                  <a:lnTo>
                    <a:pt x="201" y="339"/>
                  </a:lnTo>
                  <a:lnTo>
                    <a:pt x="192" y="339"/>
                  </a:lnTo>
                  <a:lnTo>
                    <a:pt x="183" y="336"/>
                  </a:lnTo>
                  <a:lnTo>
                    <a:pt x="169" y="336"/>
                  </a:lnTo>
                  <a:lnTo>
                    <a:pt x="160" y="333"/>
                  </a:lnTo>
                  <a:lnTo>
                    <a:pt x="146" y="333"/>
                  </a:lnTo>
                  <a:lnTo>
                    <a:pt x="133" y="330"/>
                  </a:lnTo>
                  <a:lnTo>
                    <a:pt x="123" y="330"/>
                  </a:lnTo>
                  <a:lnTo>
                    <a:pt x="114" y="327"/>
                  </a:lnTo>
                  <a:lnTo>
                    <a:pt x="101" y="327"/>
                  </a:lnTo>
                  <a:lnTo>
                    <a:pt x="82" y="327"/>
                  </a:lnTo>
                  <a:lnTo>
                    <a:pt x="69" y="324"/>
                  </a:lnTo>
                  <a:lnTo>
                    <a:pt x="50" y="321"/>
                  </a:lnTo>
                  <a:lnTo>
                    <a:pt x="37" y="321"/>
                  </a:lnTo>
                  <a:lnTo>
                    <a:pt x="23" y="319"/>
                  </a:lnTo>
                  <a:lnTo>
                    <a:pt x="18" y="319"/>
                  </a:lnTo>
                  <a:lnTo>
                    <a:pt x="5" y="319"/>
                  </a:lnTo>
                  <a:lnTo>
                    <a:pt x="0" y="319"/>
                  </a:lnTo>
                  <a:lnTo>
                    <a:pt x="18"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01" name="Freeform 191"/>
            <p:cNvSpPr>
              <a:spLocks/>
            </p:cNvSpPr>
            <p:nvPr>
              <p:custDataLst>
                <p:tags r:id="rId100"/>
              </p:custDataLst>
            </p:nvPr>
          </p:nvSpPr>
          <p:spPr bwMode="gray">
            <a:xfrm>
              <a:off x="3527" y="2060"/>
              <a:ext cx="1022" cy="403"/>
            </a:xfrm>
            <a:custGeom>
              <a:avLst/>
              <a:gdLst>
                <a:gd name="T0" fmla="*/ 84 w 997"/>
                <a:gd name="T1" fmla="*/ 5 h 441"/>
                <a:gd name="T2" fmla="*/ 210 w 997"/>
                <a:gd name="T3" fmla="*/ 5 h 441"/>
                <a:gd name="T4" fmla="*/ 340 w 997"/>
                <a:gd name="T5" fmla="*/ 5 h 441"/>
                <a:gd name="T6" fmla="*/ 463 w 997"/>
                <a:gd name="T7" fmla="*/ 5 h 441"/>
                <a:gd name="T8" fmla="*/ 585 w 997"/>
                <a:gd name="T9" fmla="*/ 5 h 441"/>
                <a:gd name="T10" fmla="*/ 696 w 997"/>
                <a:gd name="T11" fmla="*/ 5 h 441"/>
                <a:gd name="T12" fmla="*/ 820 w 997"/>
                <a:gd name="T13" fmla="*/ 5 h 441"/>
                <a:gd name="T14" fmla="*/ 922 w 997"/>
                <a:gd name="T15" fmla="*/ 5 h 441"/>
                <a:gd name="T16" fmla="*/ 1034 w 997"/>
                <a:gd name="T17" fmla="*/ 5 h 441"/>
                <a:gd name="T18" fmla="*/ 1140 w 997"/>
                <a:gd name="T19" fmla="*/ 5 h 441"/>
                <a:gd name="T20" fmla="*/ 1234 w 997"/>
                <a:gd name="T21" fmla="*/ 5 h 441"/>
                <a:gd name="T22" fmla="*/ 1323 w 997"/>
                <a:gd name="T23" fmla="*/ 5 h 441"/>
                <a:gd name="T24" fmla="*/ 1398 w 997"/>
                <a:gd name="T25" fmla="*/ 5 h 441"/>
                <a:gd name="T26" fmla="*/ 1478 w 997"/>
                <a:gd name="T27" fmla="*/ 5 h 441"/>
                <a:gd name="T28" fmla="*/ 1550 w 997"/>
                <a:gd name="T29" fmla="*/ 5 h 441"/>
                <a:gd name="T30" fmla="*/ 1612 w 997"/>
                <a:gd name="T31" fmla="*/ 5 h 441"/>
                <a:gd name="T32" fmla="*/ 1686 w 997"/>
                <a:gd name="T33" fmla="*/ 5 h 441"/>
                <a:gd name="T34" fmla="*/ 1765 w 997"/>
                <a:gd name="T35" fmla="*/ 0 h 441"/>
                <a:gd name="T36" fmla="*/ 1774 w 997"/>
                <a:gd name="T37" fmla="*/ 5 h 441"/>
                <a:gd name="T38" fmla="*/ 1795 w 997"/>
                <a:gd name="T39" fmla="*/ 5 h 441"/>
                <a:gd name="T40" fmla="*/ 1802 w 997"/>
                <a:gd name="T41" fmla="*/ 5 h 441"/>
                <a:gd name="T42" fmla="*/ 1809 w 997"/>
                <a:gd name="T43" fmla="*/ 6 h 441"/>
                <a:gd name="T44" fmla="*/ 1832 w 997"/>
                <a:gd name="T45" fmla="*/ 9 h 441"/>
                <a:gd name="T46" fmla="*/ 1838 w 997"/>
                <a:gd name="T47" fmla="*/ 11 h 441"/>
                <a:gd name="T48" fmla="*/ 1838 w 997"/>
                <a:gd name="T49" fmla="*/ 14 h 441"/>
                <a:gd name="T50" fmla="*/ 1853 w 997"/>
                <a:gd name="T51" fmla="*/ 15 h 441"/>
                <a:gd name="T52" fmla="*/ 1859 w 997"/>
                <a:gd name="T53" fmla="*/ 18 h 441"/>
                <a:gd name="T54" fmla="*/ 1877 w 997"/>
                <a:gd name="T55" fmla="*/ 20 h 441"/>
                <a:gd name="T56" fmla="*/ 1881 w 997"/>
                <a:gd name="T57" fmla="*/ 23 h 441"/>
                <a:gd name="T58" fmla="*/ 1897 w 997"/>
                <a:gd name="T59" fmla="*/ 25 h 441"/>
                <a:gd name="T60" fmla="*/ 1897 w 997"/>
                <a:gd name="T61" fmla="*/ 27 h 441"/>
                <a:gd name="T62" fmla="*/ 1897 w 997"/>
                <a:gd name="T63" fmla="*/ 28 h 441"/>
                <a:gd name="T64" fmla="*/ 1897 w 997"/>
                <a:gd name="T65" fmla="*/ 31 h 441"/>
                <a:gd name="T66" fmla="*/ 1890 w 997"/>
                <a:gd name="T67" fmla="*/ 34 h 441"/>
                <a:gd name="T68" fmla="*/ 1859 w 997"/>
                <a:gd name="T69" fmla="*/ 34 h 441"/>
                <a:gd name="T70" fmla="*/ 1774 w 997"/>
                <a:gd name="T71" fmla="*/ 34 h 441"/>
                <a:gd name="T72" fmla="*/ 1716 w 997"/>
                <a:gd name="T73" fmla="*/ 34 h 441"/>
                <a:gd name="T74" fmla="*/ 1644 w 997"/>
                <a:gd name="T75" fmla="*/ 34 h 441"/>
                <a:gd name="T76" fmla="*/ 1559 w 997"/>
                <a:gd name="T77" fmla="*/ 34 h 441"/>
                <a:gd name="T78" fmla="*/ 1469 w 997"/>
                <a:gd name="T79" fmla="*/ 36 h 441"/>
                <a:gd name="T80" fmla="*/ 1378 w 997"/>
                <a:gd name="T81" fmla="*/ 37 h 441"/>
                <a:gd name="T82" fmla="*/ 1273 w 997"/>
                <a:gd name="T83" fmla="*/ 37 h 441"/>
                <a:gd name="T84" fmla="*/ 1159 w 997"/>
                <a:gd name="T85" fmla="*/ 37 h 441"/>
                <a:gd name="T86" fmla="*/ 1045 w 997"/>
                <a:gd name="T87" fmla="*/ 37 h 441"/>
                <a:gd name="T88" fmla="*/ 922 w 997"/>
                <a:gd name="T89" fmla="*/ 37 h 441"/>
                <a:gd name="T90" fmla="*/ 820 w 997"/>
                <a:gd name="T91" fmla="*/ 39 h 441"/>
                <a:gd name="T92" fmla="*/ 696 w 997"/>
                <a:gd name="T93" fmla="*/ 40 h 441"/>
                <a:gd name="T94" fmla="*/ 594 w 997"/>
                <a:gd name="T95" fmla="*/ 40 h 441"/>
                <a:gd name="T96" fmla="*/ 488 w 997"/>
                <a:gd name="T97" fmla="*/ 40 h 441"/>
                <a:gd name="T98" fmla="*/ 391 w 997"/>
                <a:gd name="T99" fmla="*/ 40 h 441"/>
                <a:gd name="T100" fmla="*/ 297 w 997"/>
                <a:gd name="T101" fmla="*/ 40 h 441"/>
                <a:gd name="T102" fmla="*/ 226 w 997"/>
                <a:gd name="T103" fmla="*/ 40 h 441"/>
                <a:gd name="T104" fmla="*/ 146 w 997"/>
                <a:gd name="T105" fmla="*/ 41 h 441"/>
                <a:gd name="T106" fmla="*/ 58 w 997"/>
                <a:gd name="T107" fmla="*/ 43 h 44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97"/>
                <a:gd name="T163" fmla="*/ 0 h 441"/>
                <a:gd name="T164" fmla="*/ 997 w 997"/>
                <a:gd name="T165" fmla="*/ 441 h 44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97" h="441">
                  <a:moveTo>
                    <a:pt x="0" y="57"/>
                  </a:moveTo>
                  <a:lnTo>
                    <a:pt x="23" y="57"/>
                  </a:lnTo>
                  <a:lnTo>
                    <a:pt x="46" y="57"/>
                  </a:lnTo>
                  <a:lnTo>
                    <a:pt x="69" y="57"/>
                  </a:lnTo>
                  <a:lnTo>
                    <a:pt x="87" y="57"/>
                  </a:lnTo>
                  <a:lnTo>
                    <a:pt x="110" y="57"/>
                  </a:lnTo>
                  <a:lnTo>
                    <a:pt x="137" y="57"/>
                  </a:lnTo>
                  <a:lnTo>
                    <a:pt x="156" y="57"/>
                  </a:lnTo>
                  <a:lnTo>
                    <a:pt x="179" y="57"/>
                  </a:lnTo>
                  <a:lnTo>
                    <a:pt x="201" y="57"/>
                  </a:lnTo>
                  <a:lnTo>
                    <a:pt x="224" y="54"/>
                  </a:lnTo>
                  <a:lnTo>
                    <a:pt x="243" y="54"/>
                  </a:lnTo>
                  <a:lnTo>
                    <a:pt x="265" y="54"/>
                  </a:lnTo>
                  <a:lnTo>
                    <a:pt x="288" y="51"/>
                  </a:lnTo>
                  <a:lnTo>
                    <a:pt x="307" y="51"/>
                  </a:lnTo>
                  <a:lnTo>
                    <a:pt x="325" y="51"/>
                  </a:lnTo>
                  <a:lnTo>
                    <a:pt x="348" y="51"/>
                  </a:lnTo>
                  <a:lnTo>
                    <a:pt x="366" y="48"/>
                  </a:lnTo>
                  <a:lnTo>
                    <a:pt x="389" y="48"/>
                  </a:lnTo>
                  <a:lnTo>
                    <a:pt x="412" y="45"/>
                  </a:lnTo>
                  <a:lnTo>
                    <a:pt x="430" y="45"/>
                  </a:lnTo>
                  <a:lnTo>
                    <a:pt x="448" y="45"/>
                  </a:lnTo>
                  <a:lnTo>
                    <a:pt x="466" y="45"/>
                  </a:lnTo>
                  <a:lnTo>
                    <a:pt x="485" y="43"/>
                  </a:lnTo>
                  <a:lnTo>
                    <a:pt x="508" y="43"/>
                  </a:lnTo>
                  <a:lnTo>
                    <a:pt x="521" y="40"/>
                  </a:lnTo>
                  <a:lnTo>
                    <a:pt x="544" y="37"/>
                  </a:lnTo>
                  <a:lnTo>
                    <a:pt x="562" y="37"/>
                  </a:lnTo>
                  <a:lnTo>
                    <a:pt x="581" y="34"/>
                  </a:lnTo>
                  <a:lnTo>
                    <a:pt x="599" y="34"/>
                  </a:lnTo>
                  <a:lnTo>
                    <a:pt x="613" y="34"/>
                  </a:lnTo>
                  <a:lnTo>
                    <a:pt x="631" y="31"/>
                  </a:lnTo>
                  <a:lnTo>
                    <a:pt x="649" y="31"/>
                  </a:lnTo>
                  <a:lnTo>
                    <a:pt x="668" y="28"/>
                  </a:lnTo>
                  <a:lnTo>
                    <a:pt x="677" y="28"/>
                  </a:lnTo>
                  <a:lnTo>
                    <a:pt x="695" y="25"/>
                  </a:lnTo>
                  <a:lnTo>
                    <a:pt x="709" y="23"/>
                  </a:lnTo>
                  <a:lnTo>
                    <a:pt x="722" y="23"/>
                  </a:lnTo>
                  <a:lnTo>
                    <a:pt x="736" y="23"/>
                  </a:lnTo>
                  <a:lnTo>
                    <a:pt x="750" y="20"/>
                  </a:lnTo>
                  <a:lnTo>
                    <a:pt x="768" y="20"/>
                  </a:lnTo>
                  <a:lnTo>
                    <a:pt x="777" y="17"/>
                  </a:lnTo>
                  <a:lnTo>
                    <a:pt x="791" y="14"/>
                  </a:lnTo>
                  <a:lnTo>
                    <a:pt x="800" y="14"/>
                  </a:lnTo>
                  <a:lnTo>
                    <a:pt x="814" y="14"/>
                  </a:lnTo>
                  <a:lnTo>
                    <a:pt x="823" y="11"/>
                  </a:lnTo>
                  <a:lnTo>
                    <a:pt x="832" y="11"/>
                  </a:lnTo>
                  <a:lnTo>
                    <a:pt x="846" y="11"/>
                  </a:lnTo>
                  <a:lnTo>
                    <a:pt x="855" y="11"/>
                  </a:lnTo>
                  <a:lnTo>
                    <a:pt x="869" y="8"/>
                  </a:lnTo>
                  <a:lnTo>
                    <a:pt x="887" y="5"/>
                  </a:lnTo>
                  <a:lnTo>
                    <a:pt x="901" y="3"/>
                  </a:lnTo>
                  <a:lnTo>
                    <a:pt x="910" y="3"/>
                  </a:lnTo>
                  <a:lnTo>
                    <a:pt x="928" y="0"/>
                  </a:lnTo>
                  <a:lnTo>
                    <a:pt x="933" y="0"/>
                  </a:lnTo>
                  <a:lnTo>
                    <a:pt x="933" y="5"/>
                  </a:lnTo>
                  <a:lnTo>
                    <a:pt x="933" y="8"/>
                  </a:lnTo>
                  <a:lnTo>
                    <a:pt x="937" y="14"/>
                  </a:lnTo>
                  <a:lnTo>
                    <a:pt x="937" y="23"/>
                  </a:lnTo>
                  <a:lnTo>
                    <a:pt x="942" y="34"/>
                  </a:lnTo>
                  <a:lnTo>
                    <a:pt x="942" y="37"/>
                  </a:lnTo>
                  <a:lnTo>
                    <a:pt x="942" y="43"/>
                  </a:lnTo>
                  <a:lnTo>
                    <a:pt x="946" y="48"/>
                  </a:lnTo>
                  <a:lnTo>
                    <a:pt x="946" y="57"/>
                  </a:lnTo>
                  <a:lnTo>
                    <a:pt x="946" y="62"/>
                  </a:lnTo>
                  <a:lnTo>
                    <a:pt x="951" y="68"/>
                  </a:lnTo>
                  <a:lnTo>
                    <a:pt x="951" y="77"/>
                  </a:lnTo>
                  <a:lnTo>
                    <a:pt x="955" y="82"/>
                  </a:lnTo>
                  <a:lnTo>
                    <a:pt x="960" y="91"/>
                  </a:lnTo>
                  <a:lnTo>
                    <a:pt x="960" y="97"/>
                  </a:lnTo>
                  <a:lnTo>
                    <a:pt x="960" y="105"/>
                  </a:lnTo>
                  <a:lnTo>
                    <a:pt x="965" y="111"/>
                  </a:lnTo>
                  <a:lnTo>
                    <a:pt x="965" y="119"/>
                  </a:lnTo>
                  <a:lnTo>
                    <a:pt x="965" y="128"/>
                  </a:lnTo>
                  <a:lnTo>
                    <a:pt x="965" y="136"/>
                  </a:lnTo>
                  <a:lnTo>
                    <a:pt x="969" y="145"/>
                  </a:lnTo>
                  <a:lnTo>
                    <a:pt x="969" y="154"/>
                  </a:lnTo>
                  <a:lnTo>
                    <a:pt x="974" y="162"/>
                  </a:lnTo>
                  <a:lnTo>
                    <a:pt x="978" y="171"/>
                  </a:lnTo>
                  <a:lnTo>
                    <a:pt x="978" y="179"/>
                  </a:lnTo>
                  <a:lnTo>
                    <a:pt x="978" y="188"/>
                  </a:lnTo>
                  <a:lnTo>
                    <a:pt x="978" y="196"/>
                  </a:lnTo>
                  <a:lnTo>
                    <a:pt x="983" y="202"/>
                  </a:lnTo>
                  <a:lnTo>
                    <a:pt x="983" y="211"/>
                  </a:lnTo>
                  <a:lnTo>
                    <a:pt x="983" y="219"/>
                  </a:lnTo>
                  <a:lnTo>
                    <a:pt x="987" y="228"/>
                  </a:lnTo>
                  <a:lnTo>
                    <a:pt x="987" y="236"/>
                  </a:lnTo>
                  <a:lnTo>
                    <a:pt x="992" y="245"/>
                  </a:lnTo>
                  <a:lnTo>
                    <a:pt x="992" y="250"/>
                  </a:lnTo>
                  <a:lnTo>
                    <a:pt x="997" y="259"/>
                  </a:lnTo>
                  <a:lnTo>
                    <a:pt x="997" y="265"/>
                  </a:lnTo>
                  <a:lnTo>
                    <a:pt x="997" y="273"/>
                  </a:lnTo>
                  <a:lnTo>
                    <a:pt x="997" y="282"/>
                  </a:lnTo>
                  <a:lnTo>
                    <a:pt x="997" y="287"/>
                  </a:lnTo>
                  <a:lnTo>
                    <a:pt x="997" y="293"/>
                  </a:lnTo>
                  <a:lnTo>
                    <a:pt x="997" y="302"/>
                  </a:lnTo>
                  <a:lnTo>
                    <a:pt x="997" y="310"/>
                  </a:lnTo>
                  <a:lnTo>
                    <a:pt x="997" y="322"/>
                  </a:lnTo>
                  <a:lnTo>
                    <a:pt x="997" y="330"/>
                  </a:lnTo>
                  <a:lnTo>
                    <a:pt x="997" y="339"/>
                  </a:lnTo>
                  <a:lnTo>
                    <a:pt x="997" y="344"/>
                  </a:lnTo>
                  <a:lnTo>
                    <a:pt x="992" y="350"/>
                  </a:lnTo>
                  <a:lnTo>
                    <a:pt x="987" y="353"/>
                  </a:lnTo>
                  <a:lnTo>
                    <a:pt x="978" y="353"/>
                  </a:lnTo>
                  <a:lnTo>
                    <a:pt x="965" y="353"/>
                  </a:lnTo>
                  <a:lnTo>
                    <a:pt x="951" y="353"/>
                  </a:lnTo>
                  <a:lnTo>
                    <a:pt x="933" y="356"/>
                  </a:lnTo>
                  <a:lnTo>
                    <a:pt x="923" y="356"/>
                  </a:lnTo>
                  <a:lnTo>
                    <a:pt x="910" y="356"/>
                  </a:lnTo>
                  <a:lnTo>
                    <a:pt x="901" y="359"/>
                  </a:lnTo>
                  <a:lnTo>
                    <a:pt x="891" y="359"/>
                  </a:lnTo>
                  <a:lnTo>
                    <a:pt x="878" y="359"/>
                  </a:lnTo>
                  <a:lnTo>
                    <a:pt x="864" y="361"/>
                  </a:lnTo>
                  <a:lnTo>
                    <a:pt x="850" y="361"/>
                  </a:lnTo>
                  <a:lnTo>
                    <a:pt x="837" y="364"/>
                  </a:lnTo>
                  <a:lnTo>
                    <a:pt x="818" y="364"/>
                  </a:lnTo>
                  <a:lnTo>
                    <a:pt x="805" y="367"/>
                  </a:lnTo>
                  <a:lnTo>
                    <a:pt x="791" y="367"/>
                  </a:lnTo>
                  <a:lnTo>
                    <a:pt x="773" y="370"/>
                  </a:lnTo>
                  <a:lnTo>
                    <a:pt x="754" y="370"/>
                  </a:lnTo>
                  <a:lnTo>
                    <a:pt x="736" y="373"/>
                  </a:lnTo>
                  <a:lnTo>
                    <a:pt x="722" y="376"/>
                  </a:lnTo>
                  <a:lnTo>
                    <a:pt x="704" y="379"/>
                  </a:lnTo>
                  <a:lnTo>
                    <a:pt x="681" y="379"/>
                  </a:lnTo>
                  <a:lnTo>
                    <a:pt x="668" y="379"/>
                  </a:lnTo>
                  <a:lnTo>
                    <a:pt x="645" y="381"/>
                  </a:lnTo>
                  <a:lnTo>
                    <a:pt x="626" y="384"/>
                  </a:lnTo>
                  <a:lnTo>
                    <a:pt x="608" y="387"/>
                  </a:lnTo>
                  <a:lnTo>
                    <a:pt x="590" y="390"/>
                  </a:lnTo>
                  <a:lnTo>
                    <a:pt x="567" y="390"/>
                  </a:lnTo>
                  <a:lnTo>
                    <a:pt x="549" y="393"/>
                  </a:lnTo>
                  <a:lnTo>
                    <a:pt x="526" y="396"/>
                  </a:lnTo>
                  <a:lnTo>
                    <a:pt x="508" y="398"/>
                  </a:lnTo>
                  <a:lnTo>
                    <a:pt x="485" y="398"/>
                  </a:lnTo>
                  <a:lnTo>
                    <a:pt x="466" y="401"/>
                  </a:lnTo>
                  <a:lnTo>
                    <a:pt x="448" y="401"/>
                  </a:lnTo>
                  <a:lnTo>
                    <a:pt x="430" y="404"/>
                  </a:lnTo>
                  <a:lnTo>
                    <a:pt x="412" y="407"/>
                  </a:lnTo>
                  <a:lnTo>
                    <a:pt x="389" y="410"/>
                  </a:lnTo>
                  <a:lnTo>
                    <a:pt x="366" y="413"/>
                  </a:lnTo>
                  <a:lnTo>
                    <a:pt x="348" y="413"/>
                  </a:lnTo>
                  <a:lnTo>
                    <a:pt x="329" y="413"/>
                  </a:lnTo>
                  <a:lnTo>
                    <a:pt x="311" y="416"/>
                  </a:lnTo>
                  <a:lnTo>
                    <a:pt x="293" y="418"/>
                  </a:lnTo>
                  <a:lnTo>
                    <a:pt x="275" y="418"/>
                  </a:lnTo>
                  <a:lnTo>
                    <a:pt x="256" y="421"/>
                  </a:lnTo>
                  <a:lnTo>
                    <a:pt x="243" y="424"/>
                  </a:lnTo>
                  <a:lnTo>
                    <a:pt x="224" y="424"/>
                  </a:lnTo>
                  <a:lnTo>
                    <a:pt x="206" y="424"/>
                  </a:lnTo>
                  <a:lnTo>
                    <a:pt x="188" y="427"/>
                  </a:lnTo>
                  <a:lnTo>
                    <a:pt x="174" y="430"/>
                  </a:lnTo>
                  <a:lnTo>
                    <a:pt x="156" y="430"/>
                  </a:lnTo>
                  <a:lnTo>
                    <a:pt x="142" y="433"/>
                  </a:lnTo>
                  <a:lnTo>
                    <a:pt x="128" y="433"/>
                  </a:lnTo>
                  <a:lnTo>
                    <a:pt x="119" y="433"/>
                  </a:lnTo>
                  <a:lnTo>
                    <a:pt x="101" y="433"/>
                  </a:lnTo>
                  <a:lnTo>
                    <a:pt x="87" y="435"/>
                  </a:lnTo>
                  <a:lnTo>
                    <a:pt x="78" y="435"/>
                  </a:lnTo>
                  <a:lnTo>
                    <a:pt x="69" y="435"/>
                  </a:lnTo>
                  <a:lnTo>
                    <a:pt x="46" y="438"/>
                  </a:lnTo>
                  <a:lnTo>
                    <a:pt x="32" y="441"/>
                  </a:lnTo>
                  <a:lnTo>
                    <a:pt x="0" y="57"/>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02" name="Freeform 192"/>
            <p:cNvSpPr>
              <a:spLocks/>
            </p:cNvSpPr>
            <p:nvPr>
              <p:custDataLst>
                <p:tags r:id="rId101"/>
              </p:custDataLst>
            </p:nvPr>
          </p:nvSpPr>
          <p:spPr bwMode="gray">
            <a:xfrm>
              <a:off x="1134" y="1621"/>
              <a:ext cx="3424" cy="421"/>
            </a:xfrm>
            <a:custGeom>
              <a:avLst/>
              <a:gdLst>
                <a:gd name="T0" fmla="*/ 0 w 3341"/>
                <a:gd name="T1" fmla="*/ 5 h 461"/>
                <a:gd name="T2" fmla="*/ 9 w 3341"/>
                <a:gd name="T3" fmla="*/ 11 h 461"/>
                <a:gd name="T4" fmla="*/ 14 w 3341"/>
                <a:gd name="T5" fmla="*/ 16 h 461"/>
                <a:gd name="T6" fmla="*/ 18 w 3341"/>
                <a:gd name="T7" fmla="*/ 22 h 461"/>
                <a:gd name="T8" fmla="*/ 18 w 3341"/>
                <a:gd name="T9" fmla="*/ 26 h 461"/>
                <a:gd name="T10" fmla="*/ 49 w 3341"/>
                <a:gd name="T11" fmla="*/ 31 h 461"/>
                <a:gd name="T12" fmla="*/ 49 w 3341"/>
                <a:gd name="T13" fmla="*/ 37 h 461"/>
                <a:gd name="T14" fmla="*/ 145 w 3341"/>
                <a:gd name="T15" fmla="*/ 37 h 461"/>
                <a:gd name="T16" fmla="*/ 347 w 3341"/>
                <a:gd name="T17" fmla="*/ 37 h 461"/>
                <a:gd name="T18" fmla="*/ 614 w 3341"/>
                <a:gd name="T19" fmla="*/ 38 h 461"/>
                <a:gd name="T20" fmla="*/ 937 w 3341"/>
                <a:gd name="T21" fmla="*/ 40 h 461"/>
                <a:gd name="T22" fmla="*/ 1263 w 3341"/>
                <a:gd name="T23" fmla="*/ 40 h 461"/>
                <a:gd name="T24" fmla="*/ 1583 w 3341"/>
                <a:gd name="T25" fmla="*/ 42 h 461"/>
                <a:gd name="T26" fmla="*/ 1867 w 3341"/>
                <a:gd name="T27" fmla="*/ 42 h 461"/>
                <a:gd name="T28" fmla="*/ 2095 w 3341"/>
                <a:gd name="T29" fmla="*/ 43 h 461"/>
                <a:gd name="T30" fmla="*/ 2230 w 3341"/>
                <a:gd name="T31" fmla="*/ 43 h 461"/>
                <a:gd name="T32" fmla="*/ 2370 w 3341"/>
                <a:gd name="T33" fmla="*/ 43 h 461"/>
                <a:gd name="T34" fmla="*/ 2540 w 3341"/>
                <a:gd name="T35" fmla="*/ 43 h 461"/>
                <a:gd name="T36" fmla="*/ 2584 w 3341"/>
                <a:gd name="T37" fmla="*/ 40 h 461"/>
                <a:gd name="T38" fmla="*/ 2714 w 3341"/>
                <a:gd name="T39" fmla="*/ 35 h 461"/>
                <a:gd name="T40" fmla="*/ 2921 w 3341"/>
                <a:gd name="T41" fmla="*/ 31 h 461"/>
                <a:gd name="T42" fmla="*/ 3078 w 3341"/>
                <a:gd name="T43" fmla="*/ 28 h 461"/>
                <a:gd name="T44" fmla="*/ 3247 w 3341"/>
                <a:gd name="T45" fmla="*/ 27 h 461"/>
                <a:gd name="T46" fmla="*/ 3390 w 3341"/>
                <a:gd name="T47" fmla="*/ 26 h 461"/>
                <a:gd name="T48" fmla="*/ 3596 w 3341"/>
                <a:gd name="T49" fmla="*/ 26 h 461"/>
                <a:gd name="T50" fmla="*/ 3814 w 3341"/>
                <a:gd name="T51" fmla="*/ 28 h 461"/>
                <a:gd name="T52" fmla="*/ 3978 w 3341"/>
                <a:gd name="T53" fmla="*/ 31 h 461"/>
                <a:gd name="T54" fmla="*/ 4168 w 3341"/>
                <a:gd name="T55" fmla="*/ 36 h 461"/>
                <a:gd name="T56" fmla="*/ 4316 w 3341"/>
                <a:gd name="T57" fmla="*/ 41 h 461"/>
                <a:gd name="T58" fmla="*/ 4396 w 3341"/>
                <a:gd name="T59" fmla="*/ 44 h 461"/>
                <a:gd name="T60" fmla="*/ 4579 w 3341"/>
                <a:gd name="T61" fmla="*/ 43 h 461"/>
                <a:gd name="T62" fmla="*/ 4817 w 3341"/>
                <a:gd name="T63" fmla="*/ 42 h 461"/>
                <a:gd name="T64" fmla="*/ 5108 w 3341"/>
                <a:gd name="T65" fmla="*/ 40 h 461"/>
                <a:gd name="T66" fmla="*/ 5406 w 3341"/>
                <a:gd name="T67" fmla="*/ 40 h 461"/>
                <a:gd name="T68" fmla="*/ 5720 w 3341"/>
                <a:gd name="T69" fmla="*/ 39 h 461"/>
                <a:gd name="T70" fmla="*/ 5988 w 3341"/>
                <a:gd name="T71" fmla="*/ 38 h 461"/>
                <a:gd name="T72" fmla="*/ 6188 w 3341"/>
                <a:gd name="T73" fmla="*/ 37 h 461"/>
                <a:gd name="T74" fmla="*/ 6264 w 3341"/>
                <a:gd name="T75" fmla="*/ 0 h 461"/>
                <a:gd name="T76" fmla="*/ 6107 w 3341"/>
                <a:gd name="T77" fmla="*/ 5 h 461"/>
                <a:gd name="T78" fmla="*/ 5881 w 3341"/>
                <a:gd name="T79" fmla="*/ 5 h 461"/>
                <a:gd name="T80" fmla="*/ 5552 w 3341"/>
                <a:gd name="T81" fmla="*/ 5 h 461"/>
                <a:gd name="T82" fmla="*/ 5175 w 3341"/>
                <a:gd name="T83" fmla="*/ 5 h 461"/>
                <a:gd name="T84" fmla="*/ 4704 w 3341"/>
                <a:gd name="T85" fmla="*/ 7 h 461"/>
                <a:gd name="T86" fmla="*/ 4205 w 3341"/>
                <a:gd name="T87" fmla="*/ 9 h 461"/>
                <a:gd name="T88" fmla="*/ 3656 w 3341"/>
                <a:gd name="T89" fmla="*/ 11 h 461"/>
                <a:gd name="T90" fmla="*/ 3105 w 3341"/>
                <a:gd name="T91" fmla="*/ 12 h 461"/>
                <a:gd name="T92" fmla="*/ 2546 w 3341"/>
                <a:gd name="T93" fmla="*/ 12 h 461"/>
                <a:gd name="T94" fmla="*/ 2023 w 3341"/>
                <a:gd name="T95" fmla="*/ 11 h 461"/>
                <a:gd name="T96" fmla="*/ 1557 w 3341"/>
                <a:gd name="T97" fmla="*/ 10 h 461"/>
                <a:gd name="T98" fmla="*/ 1149 w 3341"/>
                <a:gd name="T99" fmla="*/ 8 h 461"/>
                <a:gd name="T100" fmla="*/ 794 w 3341"/>
                <a:gd name="T101" fmla="*/ 6 h 461"/>
                <a:gd name="T102" fmla="*/ 492 w 3341"/>
                <a:gd name="T103" fmla="*/ 5 h 461"/>
                <a:gd name="T104" fmla="*/ 271 w 3341"/>
                <a:gd name="T105" fmla="*/ 5 h 461"/>
                <a:gd name="T106" fmla="*/ 101 w 3341"/>
                <a:gd name="T107" fmla="*/ 5 h 46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41"/>
                <a:gd name="T163" fmla="*/ 0 h 461"/>
                <a:gd name="T164" fmla="*/ 3341 w 3341"/>
                <a:gd name="T165" fmla="*/ 461 h 46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41" h="461">
                  <a:moveTo>
                    <a:pt x="0" y="14"/>
                  </a:moveTo>
                  <a:lnTo>
                    <a:pt x="0" y="22"/>
                  </a:lnTo>
                  <a:lnTo>
                    <a:pt x="0" y="31"/>
                  </a:lnTo>
                  <a:lnTo>
                    <a:pt x="0" y="42"/>
                  </a:lnTo>
                  <a:lnTo>
                    <a:pt x="0" y="54"/>
                  </a:lnTo>
                  <a:lnTo>
                    <a:pt x="0" y="57"/>
                  </a:lnTo>
                  <a:lnTo>
                    <a:pt x="0" y="65"/>
                  </a:lnTo>
                  <a:lnTo>
                    <a:pt x="0" y="71"/>
                  </a:lnTo>
                  <a:lnTo>
                    <a:pt x="5" y="76"/>
                  </a:lnTo>
                  <a:lnTo>
                    <a:pt x="5" y="82"/>
                  </a:lnTo>
                  <a:lnTo>
                    <a:pt x="5" y="88"/>
                  </a:lnTo>
                  <a:lnTo>
                    <a:pt x="5" y="96"/>
                  </a:lnTo>
                  <a:lnTo>
                    <a:pt x="9" y="105"/>
                  </a:lnTo>
                  <a:lnTo>
                    <a:pt x="9" y="113"/>
                  </a:lnTo>
                  <a:lnTo>
                    <a:pt x="9" y="119"/>
                  </a:lnTo>
                  <a:lnTo>
                    <a:pt x="9" y="128"/>
                  </a:lnTo>
                  <a:lnTo>
                    <a:pt x="14" y="136"/>
                  </a:lnTo>
                  <a:lnTo>
                    <a:pt x="14" y="142"/>
                  </a:lnTo>
                  <a:lnTo>
                    <a:pt x="14" y="153"/>
                  </a:lnTo>
                  <a:lnTo>
                    <a:pt x="14" y="159"/>
                  </a:lnTo>
                  <a:lnTo>
                    <a:pt x="14" y="168"/>
                  </a:lnTo>
                  <a:lnTo>
                    <a:pt x="14" y="173"/>
                  </a:lnTo>
                  <a:lnTo>
                    <a:pt x="14" y="182"/>
                  </a:lnTo>
                  <a:lnTo>
                    <a:pt x="14" y="190"/>
                  </a:lnTo>
                  <a:lnTo>
                    <a:pt x="18" y="199"/>
                  </a:lnTo>
                  <a:lnTo>
                    <a:pt x="18" y="205"/>
                  </a:lnTo>
                  <a:lnTo>
                    <a:pt x="18" y="216"/>
                  </a:lnTo>
                  <a:lnTo>
                    <a:pt x="18" y="225"/>
                  </a:lnTo>
                  <a:lnTo>
                    <a:pt x="18" y="230"/>
                  </a:lnTo>
                  <a:lnTo>
                    <a:pt x="18" y="239"/>
                  </a:lnTo>
                  <a:lnTo>
                    <a:pt x="18" y="244"/>
                  </a:lnTo>
                  <a:lnTo>
                    <a:pt x="18" y="253"/>
                  </a:lnTo>
                  <a:lnTo>
                    <a:pt x="18" y="262"/>
                  </a:lnTo>
                  <a:lnTo>
                    <a:pt x="18" y="267"/>
                  </a:lnTo>
                  <a:lnTo>
                    <a:pt x="18" y="273"/>
                  </a:lnTo>
                  <a:lnTo>
                    <a:pt x="18" y="281"/>
                  </a:lnTo>
                  <a:lnTo>
                    <a:pt x="23" y="290"/>
                  </a:lnTo>
                  <a:lnTo>
                    <a:pt x="23" y="296"/>
                  </a:lnTo>
                  <a:lnTo>
                    <a:pt x="23" y="304"/>
                  </a:lnTo>
                  <a:lnTo>
                    <a:pt x="23" y="310"/>
                  </a:lnTo>
                  <a:lnTo>
                    <a:pt x="23" y="316"/>
                  </a:lnTo>
                  <a:lnTo>
                    <a:pt x="23" y="327"/>
                  </a:lnTo>
                  <a:lnTo>
                    <a:pt x="23" y="341"/>
                  </a:lnTo>
                  <a:lnTo>
                    <a:pt x="23" y="350"/>
                  </a:lnTo>
                  <a:lnTo>
                    <a:pt x="23" y="361"/>
                  </a:lnTo>
                  <a:lnTo>
                    <a:pt x="23" y="367"/>
                  </a:lnTo>
                  <a:lnTo>
                    <a:pt x="23" y="375"/>
                  </a:lnTo>
                  <a:lnTo>
                    <a:pt x="23" y="381"/>
                  </a:lnTo>
                  <a:lnTo>
                    <a:pt x="23" y="387"/>
                  </a:lnTo>
                  <a:lnTo>
                    <a:pt x="23" y="390"/>
                  </a:lnTo>
                  <a:lnTo>
                    <a:pt x="27" y="390"/>
                  </a:lnTo>
                  <a:lnTo>
                    <a:pt x="37" y="390"/>
                  </a:lnTo>
                  <a:lnTo>
                    <a:pt x="50" y="390"/>
                  </a:lnTo>
                  <a:lnTo>
                    <a:pt x="69" y="390"/>
                  </a:lnTo>
                  <a:lnTo>
                    <a:pt x="78" y="390"/>
                  </a:lnTo>
                  <a:lnTo>
                    <a:pt x="91" y="390"/>
                  </a:lnTo>
                  <a:lnTo>
                    <a:pt x="101" y="393"/>
                  </a:lnTo>
                  <a:lnTo>
                    <a:pt x="114" y="393"/>
                  </a:lnTo>
                  <a:lnTo>
                    <a:pt x="133" y="395"/>
                  </a:lnTo>
                  <a:lnTo>
                    <a:pt x="146" y="398"/>
                  </a:lnTo>
                  <a:lnTo>
                    <a:pt x="164" y="398"/>
                  </a:lnTo>
                  <a:lnTo>
                    <a:pt x="183" y="398"/>
                  </a:lnTo>
                  <a:lnTo>
                    <a:pt x="201" y="398"/>
                  </a:lnTo>
                  <a:lnTo>
                    <a:pt x="219" y="401"/>
                  </a:lnTo>
                  <a:lnTo>
                    <a:pt x="238" y="401"/>
                  </a:lnTo>
                  <a:lnTo>
                    <a:pt x="260" y="404"/>
                  </a:lnTo>
                  <a:lnTo>
                    <a:pt x="279" y="404"/>
                  </a:lnTo>
                  <a:lnTo>
                    <a:pt x="306" y="407"/>
                  </a:lnTo>
                  <a:lnTo>
                    <a:pt x="324" y="410"/>
                  </a:lnTo>
                  <a:lnTo>
                    <a:pt x="352" y="410"/>
                  </a:lnTo>
                  <a:lnTo>
                    <a:pt x="375" y="412"/>
                  </a:lnTo>
                  <a:lnTo>
                    <a:pt x="398" y="412"/>
                  </a:lnTo>
                  <a:lnTo>
                    <a:pt x="420" y="415"/>
                  </a:lnTo>
                  <a:lnTo>
                    <a:pt x="443" y="418"/>
                  </a:lnTo>
                  <a:lnTo>
                    <a:pt x="466" y="421"/>
                  </a:lnTo>
                  <a:lnTo>
                    <a:pt x="494" y="421"/>
                  </a:lnTo>
                  <a:lnTo>
                    <a:pt x="521" y="421"/>
                  </a:lnTo>
                  <a:lnTo>
                    <a:pt x="544" y="424"/>
                  </a:lnTo>
                  <a:lnTo>
                    <a:pt x="567" y="424"/>
                  </a:lnTo>
                  <a:lnTo>
                    <a:pt x="594" y="427"/>
                  </a:lnTo>
                  <a:lnTo>
                    <a:pt x="617" y="427"/>
                  </a:lnTo>
                  <a:lnTo>
                    <a:pt x="644" y="432"/>
                  </a:lnTo>
                  <a:lnTo>
                    <a:pt x="667" y="432"/>
                  </a:lnTo>
                  <a:lnTo>
                    <a:pt x="695" y="432"/>
                  </a:lnTo>
                  <a:lnTo>
                    <a:pt x="717" y="432"/>
                  </a:lnTo>
                  <a:lnTo>
                    <a:pt x="745" y="435"/>
                  </a:lnTo>
                  <a:lnTo>
                    <a:pt x="768" y="435"/>
                  </a:lnTo>
                  <a:lnTo>
                    <a:pt x="791" y="438"/>
                  </a:lnTo>
                  <a:lnTo>
                    <a:pt x="813" y="438"/>
                  </a:lnTo>
                  <a:lnTo>
                    <a:pt x="836" y="441"/>
                  </a:lnTo>
                  <a:lnTo>
                    <a:pt x="859" y="441"/>
                  </a:lnTo>
                  <a:lnTo>
                    <a:pt x="882" y="444"/>
                  </a:lnTo>
                  <a:lnTo>
                    <a:pt x="905" y="444"/>
                  </a:lnTo>
                  <a:lnTo>
                    <a:pt x="928" y="444"/>
                  </a:lnTo>
                  <a:lnTo>
                    <a:pt x="946" y="444"/>
                  </a:lnTo>
                  <a:lnTo>
                    <a:pt x="969" y="444"/>
                  </a:lnTo>
                  <a:lnTo>
                    <a:pt x="987" y="444"/>
                  </a:lnTo>
                  <a:lnTo>
                    <a:pt x="1005" y="447"/>
                  </a:lnTo>
                  <a:lnTo>
                    <a:pt x="1024" y="447"/>
                  </a:lnTo>
                  <a:lnTo>
                    <a:pt x="1042" y="449"/>
                  </a:lnTo>
                  <a:lnTo>
                    <a:pt x="1060" y="449"/>
                  </a:lnTo>
                  <a:lnTo>
                    <a:pt x="1074" y="452"/>
                  </a:lnTo>
                  <a:lnTo>
                    <a:pt x="1092" y="452"/>
                  </a:lnTo>
                  <a:lnTo>
                    <a:pt x="1106" y="452"/>
                  </a:lnTo>
                  <a:lnTo>
                    <a:pt x="1115" y="452"/>
                  </a:lnTo>
                  <a:lnTo>
                    <a:pt x="1129" y="452"/>
                  </a:lnTo>
                  <a:lnTo>
                    <a:pt x="1138" y="452"/>
                  </a:lnTo>
                  <a:lnTo>
                    <a:pt x="1147" y="452"/>
                  </a:lnTo>
                  <a:lnTo>
                    <a:pt x="1156" y="452"/>
                  </a:lnTo>
                  <a:lnTo>
                    <a:pt x="1165" y="452"/>
                  </a:lnTo>
                  <a:lnTo>
                    <a:pt x="1179" y="452"/>
                  </a:lnTo>
                  <a:lnTo>
                    <a:pt x="1188" y="452"/>
                  </a:lnTo>
                  <a:lnTo>
                    <a:pt x="1202" y="452"/>
                  </a:lnTo>
                  <a:lnTo>
                    <a:pt x="1211" y="452"/>
                  </a:lnTo>
                  <a:lnTo>
                    <a:pt x="1220" y="452"/>
                  </a:lnTo>
                  <a:lnTo>
                    <a:pt x="1234" y="452"/>
                  </a:lnTo>
                  <a:lnTo>
                    <a:pt x="1238" y="452"/>
                  </a:lnTo>
                  <a:lnTo>
                    <a:pt x="1252" y="452"/>
                  </a:lnTo>
                  <a:lnTo>
                    <a:pt x="1266" y="452"/>
                  </a:lnTo>
                  <a:lnTo>
                    <a:pt x="1280" y="452"/>
                  </a:lnTo>
                  <a:lnTo>
                    <a:pt x="1289" y="452"/>
                  </a:lnTo>
                  <a:lnTo>
                    <a:pt x="1302" y="452"/>
                  </a:lnTo>
                  <a:lnTo>
                    <a:pt x="1321" y="455"/>
                  </a:lnTo>
                  <a:lnTo>
                    <a:pt x="1334" y="455"/>
                  </a:lnTo>
                  <a:lnTo>
                    <a:pt x="1339" y="455"/>
                  </a:lnTo>
                  <a:lnTo>
                    <a:pt x="1344" y="458"/>
                  </a:lnTo>
                  <a:lnTo>
                    <a:pt x="1344" y="455"/>
                  </a:lnTo>
                  <a:lnTo>
                    <a:pt x="1344" y="452"/>
                  </a:lnTo>
                  <a:lnTo>
                    <a:pt x="1348" y="449"/>
                  </a:lnTo>
                  <a:lnTo>
                    <a:pt x="1353" y="444"/>
                  </a:lnTo>
                  <a:lnTo>
                    <a:pt x="1353" y="432"/>
                  </a:lnTo>
                  <a:lnTo>
                    <a:pt x="1366" y="424"/>
                  </a:lnTo>
                  <a:lnTo>
                    <a:pt x="1371" y="415"/>
                  </a:lnTo>
                  <a:lnTo>
                    <a:pt x="1389" y="404"/>
                  </a:lnTo>
                  <a:lnTo>
                    <a:pt x="1394" y="398"/>
                  </a:lnTo>
                  <a:lnTo>
                    <a:pt x="1403" y="393"/>
                  </a:lnTo>
                  <a:lnTo>
                    <a:pt x="1412" y="387"/>
                  </a:lnTo>
                  <a:lnTo>
                    <a:pt x="1421" y="381"/>
                  </a:lnTo>
                  <a:lnTo>
                    <a:pt x="1435" y="375"/>
                  </a:lnTo>
                  <a:lnTo>
                    <a:pt x="1449" y="367"/>
                  </a:lnTo>
                  <a:lnTo>
                    <a:pt x="1458" y="361"/>
                  </a:lnTo>
                  <a:lnTo>
                    <a:pt x="1476" y="356"/>
                  </a:lnTo>
                  <a:lnTo>
                    <a:pt x="1490" y="350"/>
                  </a:lnTo>
                  <a:lnTo>
                    <a:pt x="1508" y="341"/>
                  </a:lnTo>
                  <a:lnTo>
                    <a:pt x="1526" y="336"/>
                  </a:lnTo>
                  <a:lnTo>
                    <a:pt x="1545" y="327"/>
                  </a:lnTo>
                  <a:lnTo>
                    <a:pt x="1554" y="324"/>
                  </a:lnTo>
                  <a:lnTo>
                    <a:pt x="1568" y="321"/>
                  </a:lnTo>
                  <a:lnTo>
                    <a:pt x="1577" y="318"/>
                  </a:lnTo>
                  <a:lnTo>
                    <a:pt x="1590" y="316"/>
                  </a:lnTo>
                  <a:lnTo>
                    <a:pt x="1600" y="313"/>
                  </a:lnTo>
                  <a:lnTo>
                    <a:pt x="1613" y="310"/>
                  </a:lnTo>
                  <a:lnTo>
                    <a:pt x="1627" y="304"/>
                  </a:lnTo>
                  <a:lnTo>
                    <a:pt x="1641" y="304"/>
                  </a:lnTo>
                  <a:lnTo>
                    <a:pt x="1650" y="301"/>
                  </a:lnTo>
                  <a:lnTo>
                    <a:pt x="1663" y="296"/>
                  </a:lnTo>
                  <a:lnTo>
                    <a:pt x="1677" y="293"/>
                  </a:lnTo>
                  <a:lnTo>
                    <a:pt x="1686" y="293"/>
                  </a:lnTo>
                  <a:lnTo>
                    <a:pt x="1700" y="290"/>
                  </a:lnTo>
                  <a:lnTo>
                    <a:pt x="1714" y="287"/>
                  </a:lnTo>
                  <a:lnTo>
                    <a:pt x="1723" y="284"/>
                  </a:lnTo>
                  <a:lnTo>
                    <a:pt x="1732" y="284"/>
                  </a:lnTo>
                  <a:lnTo>
                    <a:pt x="1746" y="284"/>
                  </a:lnTo>
                  <a:lnTo>
                    <a:pt x="1755" y="281"/>
                  </a:lnTo>
                  <a:lnTo>
                    <a:pt x="1769" y="279"/>
                  </a:lnTo>
                  <a:lnTo>
                    <a:pt x="1782" y="279"/>
                  </a:lnTo>
                  <a:lnTo>
                    <a:pt x="1791" y="279"/>
                  </a:lnTo>
                  <a:lnTo>
                    <a:pt x="1801" y="279"/>
                  </a:lnTo>
                  <a:lnTo>
                    <a:pt x="1814" y="279"/>
                  </a:lnTo>
                  <a:lnTo>
                    <a:pt x="1823" y="279"/>
                  </a:lnTo>
                  <a:lnTo>
                    <a:pt x="1842" y="279"/>
                  </a:lnTo>
                  <a:lnTo>
                    <a:pt x="1860" y="279"/>
                  </a:lnTo>
                  <a:lnTo>
                    <a:pt x="1878" y="279"/>
                  </a:lnTo>
                  <a:lnTo>
                    <a:pt x="1901" y="281"/>
                  </a:lnTo>
                  <a:lnTo>
                    <a:pt x="1915" y="281"/>
                  </a:lnTo>
                  <a:lnTo>
                    <a:pt x="1933" y="284"/>
                  </a:lnTo>
                  <a:lnTo>
                    <a:pt x="1951" y="284"/>
                  </a:lnTo>
                  <a:lnTo>
                    <a:pt x="1970" y="290"/>
                  </a:lnTo>
                  <a:lnTo>
                    <a:pt x="1988" y="293"/>
                  </a:lnTo>
                  <a:lnTo>
                    <a:pt x="2002" y="296"/>
                  </a:lnTo>
                  <a:lnTo>
                    <a:pt x="2015" y="301"/>
                  </a:lnTo>
                  <a:lnTo>
                    <a:pt x="2034" y="304"/>
                  </a:lnTo>
                  <a:lnTo>
                    <a:pt x="2043" y="307"/>
                  </a:lnTo>
                  <a:lnTo>
                    <a:pt x="2057" y="313"/>
                  </a:lnTo>
                  <a:lnTo>
                    <a:pt x="2070" y="316"/>
                  </a:lnTo>
                  <a:lnTo>
                    <a:pt x="2084" y="321"/>
                  </a:lnTo>
                  <a:lnTo>
                    <a:pt x="2093" y="324"/>
                  </a:lnTo>
                  <a:lnTo>
                    <a:pt x="2102" y="330"/>
                  </a:lnTo>
                  <a:lnTo>
                    <a:pt x="2111" y="336"/>
                  </a:lnTo>
                  <a:lnTo>
                    <a:pt x="2125" y="338"/>
                  </a:lnTo>
                  <a:lnTo>
                    <a:pt x="2148" y="347"/>
                  </a:lnTo>
                  <a:lnTo>
                    <a:pt x="2162" y="356"/>
                  </a:lnTo>
                  <a:lnTo>
                    <a:pt x="2180" y="364"/>
                  </a:lnTo>
                  <a:lnTo>
                    <a:pt x="2189" y="373"/>
                  </a:lnTo>
                  <a:lnTo>
                    <a:pt x="2203" y="378"/>
                  </a:lnTo>
                  <a:lnTo>
                    <a:pt x="2216" y="390"/>
                  </a:lnTo>
                  <a:lnTo>
                    <a:pt x="2230" y="398"/>
                  </a:lnTo>
                  <a:lnTo>
                    <a:pt x="2239" y="404"/>
                  </a:lnTo>
                  <a:lnTo>
                    <a:pt x="2253" y="412"/>
                  </a:lnTo>
                  <a:lnTo>
                    <a:pt x="2262" y="424"/>
                  </a:lnTo>
                  <a:lnTo>
                    <a:pt x="2271" y="432"/>
                  </a:lnTo>
                  <a:lnTo>
                    <a:pt x="2280" y="438"/>
                  </a:lnTo>
                  <a:lnTo>
                    <a:pt x="2285" y="444"/>
                  </a:lnTo>
                  <a:lnTo>
                    <a:pt x="2290" y="449"/>
                  </a:lnTo>
                  <a:lnTo>
                    <a:pt x="2299" y="458"/>
                  </a:lnTo>
                  <a:lnTo>
                    <a:pt x="2299" y="461"/>
                  </a:lnTo>
                  <a:lnTo>
                    <a:pt x="2303" y="461"/>
                  </a:lnTo>
                  <a:lnTo>
                    <a:pt x="2312" y="461"/>
                  </a:lnTo>
                  <a:lnTo>
                    <a:pt x="2322" y="461"/>
                  </a:lnTo>
                  <a:lnTo>
                    <a:pt x="2340" y="458"/>
                  </a:lnTo>
                  <a:lnTo>
                    <a:pt x="2349" y="455"/>
                  </a:lnTo>
                  <a:lnTo>
                    <a:pt x="2363" y="455"/>
                  </a:lnTo>
                  <a:lnTo>
                    <a:pt x="2372" y="455"/>
                  </a:lnTo>
                  <a:lnTo>
                    <a:pt x="2386" y="455"/>
                  </a:lnTo>
                  <a:lnTo>
                    <a:pt x="2404" y="452"/>
                  </a:lnTo>
                  <a:lnTo>
                    <a:pt x="2418" y="452"/>
                  </a:lnTo>
                  <a:lnTo>
                    <a:pt x="2436" y="452"/>
                  </a:lnTo>
                  <a:lnTo>
                    <a:pt x="2454" y="452"/>
                  </a:lnTo>
                  <a:lnTo>
                    <a:pt x="2472" y="449"/>
                  </a:lnTo>
                  <a:lnTo>
                    <a:pt x="2486" y="447"/>
                  </a:lnTo>
                  <a:lnTo>
                    <a:pt x="2504" y="444"/>
                  </a:lnTo>
                  <a:lnTo>
                    <a:pt x="2523" y="444"/>
                  </a:lnTo>
                  <a:lnTo>
                    <a:pt x="2546" y="444"/>
                  </a:lnTo>
                  <a:lnTo>
                    <a:pt x="2564" y="444"/>
                  </a:lnTo>
                  <a:lnTo>
                    <a:pt x="2587" y="441"/>
                  </a:lnTo>
                  <a:lnTo>
                    <a:pt x="2610" y="441"/>
                  </a:lnTo>
                  <a:lnTo>
                    <a:pt x="2628" y="438"/>
                  </a:lnTo>
                  <a:lnTo>
                    <a:pt x="2651" y="438"/>
                  </a:lnTo>
                  <a:lnTo>
                    <a:pt x="2678" y="432"/>
                  </a:lnTo>
                  <a:lnTo>
                    <a:pt x="2696" y="432"/>
                  </a:lnTo>
                  <a:lnTo>
                    <a:pt x="2719" y="432"/>
                  </a:lnTo>
                  <a:lnTo>
                    <a:pt x="2747" y="432"/>
                  </a:lnTo>
                  <a:lnTo>
                    <a:pt x="2765" y="430"/>
                  </a:lnTo>
                  <a:lnTo>
                    <a:pt x="2792" y="430"/>
                  </a:lnTo>
                  <a:lnTo>
                    <a:pt x="2815" y="427"/>
                  </a:lnTo>
                  <a:lnTo>
                    <a:pt x="2838" y="424"/>
                  </a:lnTo>
                  <a:lnTo>
                    <a:pt x="2856" y="424"/>
                  </a:lnTo>
                  <a:lnTo>
                    <a:pt x="2884" y="421"/>
                  </a:lnTo>
                  <a:lnTo>
                    <a:pt x="2907" y="421"/>
                  </a:lnTo>
                  <a:lnTo>
                    <a:pt x="2929" y="421"/>
                  </a:lnTo>
                  <a:lnTo>
                    <a:pt x="2952" y="418"/>
                  </a:lnTo>
                  <a:lnTo>
                    <a:pt x="2980" y="415"/>
                  </a:lnTo>
                  <a:lnTo>
                    <a:pt x="2998" y="412"/>
                  </a:lnTo>
                  <a:lnTo>
                    <a:pt x="3021" y="412"/>
                  </a:lnTo>
                  <a:lnTo>
                    <a:pt x="3039" y="412"/>
                  </a:lnTo>
                  <a:lnTo>
                    <a:pt x="3062" y="410"/>
                  </a:lnTo>
                  <a:lnTo>
                    <a:pt x="3085" y="410"/>
                  </a:lnTo>
                  <a:lnTo>
                    <a:pt x="3103" y="410"/>
                  </a:lnTo>
                  <a:lnTo>
                    <a:pt x="3126" y="404"/>
                  </a:lnTo>
                  <a:lnTo>
                    <a:pt x="3144" y="404"/>
                  </a:lnTo>
                  <a:lnTo>
                    <a:pt x="3162" y="404"/>
                  </a:lnTo>
                  <a:lnTo>
                    <a:pt x="3181" y="401"/>
                  </a:lnTo>
                  <a:lnTo>
                    <a:pt x="3199" y="401"/>
                  </a:lnTo>
                  <a:lnTo>
                    <a:pt x="3213" y="401"/>
                  </a:lnTo>
                  <a:lnTo>
                    <a:pt x="3231" y="398"/>
                  </a:lnTo>
                  <a:lnTo>
                    <a:pt x="3245" y="398"/>
                  </a:lnTo>
                  <a:lnTo>
                    <a:pt x="3258" y="398"/>
                  </a:lnTo>
                  <a:lnTo>
                    <a:pt x="3272" y="398"/>
                  </a:lnTo>
                  <a:lnTo>
                    <a:pt x="3281" y="398"/>
                  </a:lnTo>
                  <a:lnTo>
                    <a:pt x="3295" y="398"/>
                  </a:lnTo>
                  <a:lnTo>
                    <a:pt x="3304" y="398"/>
                  </a:lnTo>
                  <a:lnTo>
                    <a:pt x="3313" y="398"/>
                  </a:lnTo>
                  <a:lnTo>
                    <a:pt x="3332" y="398"/>
                  </a:lnTo>
                  <a:lnTo>
                    <a:pt x="3341" y="398"/>
                  </a:lnTo>
                  <a:lnTo>
                    <a:pt x="3309" y="0"/>
                  </a:lnTo>
                  <a:lnTo>
                    <a:pt x="3304" y="0"/>
                  </a:lnTo>
                  <a:lnTo>
                    <a:pt x="3295" y="0"/>
                  </a:lnTo>
                  <a:lnTo>
                    <a:pt x="3281" y="0"/>
                  </a:lnTo>
                  <a:lnTo>
                    <a:pt x="3263" y="2"/>
                  </a:lnTo>
                  <a:lnTo>
                    <a:pt x="3254" y="2"/>
                  </a:lnTo>
                  <a:lnTo>
                    <a:pt x="3245" y="5"/>
                  </a:lnTo>
                  <a:lnTo>
                    <a:pt x="3226" y="8"/>
                  </a:lnTo>
                  <a:lnTo>
                    <a:pt x="3213" y="8"/>
                  </a:lnTo>
                  <a:lnTo>
                    <a:pt x="3199" y="11"/>
                  </a:lnTo>
                  <a:lnTo>
                    <a:pt x="3181" y="14"/>
                  </a:lnTo>
                  <a:lnTo>
                    <a:pt x="3162" y="14"/>
                  </a:lnTo>
                  <a:lnTo>
                    <a:pt x="3144" y="17"/>
                  </a:lnTo>
                  <a:lnTo>
                    <a:pt x="3126" y="19"/>
                  </a:lnTo>
                  <a:lnTo>
                    <a:pt x="3108" y="19"/>
                  </a:lnTo>
                  <a:lnTo>
                    <a:pt x="3085" y="22"/>
                  </a:lnTo>
                  <a:lnTo>
                    <a:pt x="3062" y="25"/>
                  </a:lnTo>
                  <a:lnTo>
                    <a:pt x="3039" y="25"/>
                  </a:lnTo>
                  <a:lnTo>
                    <a:pt x="3012" y="31"/>
                  </a:lnTo>
                  <a:lnTo>
                    <a:pt x="2989" y="34"/>
                  </a:lnTo>
                  <a:lnTo>
                    <a:pt x="2966" y="34"/>
                  </a:lnTo>
                  <a:lnTo>
                    <a:pt x="2934" y="37"/>
                  </a:lnTo>
                  <a:lnTo>
                    <a:pt x="2907" y="42"/>
                  </a:lnTo>
                  <a:lnTo>
                    <a:pt x="2879" y="45"/>
                  </a:lnTo>
                  <a:lnTo>
                    <a:pt x="2852" y="48"/>
                  </a:lnTo>
                  <a:lnTo>
                    <a:pt x="2820" y="48"/>
                  </a:lnTo>
                  <a:lnTo>
                    <a:pt x="2792" y="54"/>
                  </a:lnTo>
                  <a:lnTo>
                    <a:pt x="2760" y="57"/>
                  </a:lnTo>
                  <a:lnTo>
                    <a:pt x="2733" y="59"/>
                  </a:lnTo>
                  <a:lnTo>
                    <a:pt x="2696" y="62"/>
                  </a:lnTo>
                  <a:lnTo>
                    <a:pt x="2660" y="65"/>
                  </a:lnTo>
                  <a:lnTo>
                    <a:pt x="2628" y="68"/>
                  </a:lnTo>
                  <a:lnTo>
                    <a:pt x="2591" y="68"/>
                  </a:lnTo>
                  <a:lnTo>
                    <a:pt x="2559" y="71"/>
                  </a:lnTo>
                  <a:lnTo>
                    <a:pt x="2523" y="76"/>
                  </a:lnTo>
                  <a:lnTo>
                    <a:pt x="2486" y="76"/>
                  </a:lnTo>
                  <a:lnTo>
                    <a:pt x="2450" y="79"/>
                  </a:lnTo>
                  <a:lnTo>
                    <a:pt x="2413" y="79"/>
                  </a:lnTo>
                  <a:lnTo>
                    <a:pt x="2376" y="85"/>
                  </a:lnTo>
                  <a:lnTo>
                    <a:pt x="2335" y="85"/>
                  </a:lnTo>
                  <a:lnTo>
                    <a:pt x="2299" y="88"/>
                  </a:lnTo>
                  <a:lnTo>
                    <a:pt x="2258" y="88"/>
                  </a:lnTo>
                  <a:lnTo>
                    <a:pt x="2221" y="94"/>
                  </a:lnTo>
                  <a:lnTo>
                    <a:pt x="2180" y="96"/>
                  </a:lnTo>
                  <a:lnTo>
                    <a:pt x="2143" y="99"/>
                  </a:lnTo>
                  <a:lnTo>
                    <a:pt x="2098" y="99"/>
                  </a:lnTo>
                  <a:lnTo>
                    <a:pt x="2057" y="102"/>
                  </a:lnTo>
                  <a:lnTo>
                    <a:pt x="2015" y="102"/>
                  </a:lnTo>
                  <a:lnTo>
                    <a:pt x="1979" y="105"/>
                  </a:lnTo>
                  <a:lnTo>
                    <a:pt x="1933" y="108"/>
                  </a:lnTo>
                  <a:lnTo>
                    <a:pt x="1892" y="111"/>
                  </a:lnTo>
                  <a:lnTo>
                    <a:pt x="1855" y="111"/>
                  </a:lnTo>
                  <a:lnTo>
                    <a:pt x="1810" y="113"/>
                  </a:lnTo>
                  <a:lnTo>
                    <a:pt x="1769" y="113"/>
                  </a:lnTo>
                  <a:lnTo>
                    <a:pt x="1723" y="113"/>
                  </a:lnTo>
                  <a:lnTo>
                    <a:pt x="1682" y="113"/>
                  </a:lnTo>
                  <a:lnTo>
                    <a:pt x="1641" y="116"/>
                  </a:lnTo>
                  <a:lnTo>
                    <a:pt x="1595" y="116"/>
                  </a:lnTo>
                  <a:lnTo>
                    <a:pt x="1558" y="119"/>
                  </a:lnTo>
                  <a:lnTo>
                    <a:pt x="1513" y="119"/>
                  </a:lnTo>
                  <a:lnTo>
                    <a:pt x="1472" y="119"/>
                  </a:lnTo>
                  <a:lnTo>
                    <a:pt x="1426" y="119"/>
                  </a:lnTo>
                  <a:lnTo>
                    <a:pt x="1389" y="119"/>
                  </a:lnTo>
                  <a:lnTo>
                    <a:pt x="1344" y="116"/>
                  </a:lnTo>
                  <a:lnTo>
                    <a:pt x="1302" y="116"/>
                  </a:lnTo>
                  <a:lnTo>
                    <a:pt x="1266" y="113"/>
                  </a:lnTo>
                  <a:lnTo>
                    <a:pt x="1225" y="113"/>
                  </a:lnTo>
                  <a:lnTo>
                    <a:pt x="1184" y="113"/>
                  </a:lnTo>
                  <a:lnTo>
                    <a:pt x="1147" y="113"/>
                  </a:lnTo>
                  <a:lnTo>
                    <a:pt x="1111" y="111"/>
                  </a:lnTo>
                  <a:lnTo>
                    <a:pt x="1069" y="111"/>
                  </a:lnTo>
                  <a:lnTo>
                    <a:pt x="1033" y="108"/>
                  </a:lnTo>
                  <a:lnTo>
                    <a:pt x="996" y="108"/>
                  </a:lnTo>
                  <a:lnTo>
                    <a:pt x="964" y="102"/>
                  </a:lnTo>
                  <a:lnTo>
                    <a:pt x="928" y="102"/>
                  </a:lnTo>
                  <a:lnTo>
                    <a:pt x="891" y="102"/>
                  </a:lnTo>
                  <a:lnTo>
                    <a:pt x="855" y="102"/>
                  </a:lnTo>
                  <a:lnTo>
                    <a:pt x="823" y="99"/>
                  </a:lnTo>
                  <a:lnTo>
                    <a:pt x="791" y="96"/>
                  </a:lnTo>
                  <a:lnTo>
                    <a:pt x="759" y="94"/>
                  </a:lnTo>
                  <a:lnTo>
                    <a:pt x="727" y="91"/>
                  </a:lnTo>
                  <a:lnTo>
                    <a:pt x="695" y="88"/>
                  </a:lnTo>
                  <a:lnTo>
                    <a:pt x="667" y="88"/>
                  </a:lnTo>
                  <a:lnTo>
                    <a:pt x="635" y="85"/>
                  </a:lnTo>
                  <a:lnTo>
                    <a:pt x="608" y="85"/>
                  </a:lnTo>
                  <a:lnTo>
                    <a:pt x="580" y="79"/>
                  </a:lnTo>
                  <a:lnTo>
                    <a:pt x="544" y="76"/>
                  </a:lnTo>
                  <a:lnTo>
                    <a:pt x="521" y="76"/>
                  </a:lnTo>
                  <a:lnTo>
                    <a:pt x="494" y="76"/>
                  </a:lnTo>
                  <a:lnTo>
                    <a:pt x="466" y="71"/>
                  </a:lnTo>
                  <a:lnTo>
                    <a:pt x="443" y="68"/>
                  </a:lnTo>
                  <a:lnTo>
                    <a:pt x="420" y="68"/>
                  </a:lnTo>
                  <a:lnTo>
                    <a:pt x="398" y="68"/>
                  </a:lnTo>
                  <a:lnTo>
                    <a:pt x="366" y="65"/>
                  </a:lnTo>
                  <a:lnTo>
                    <a:pt x="347" y="59"/>
                  </a:lnTo>
                  <a:lnTo>
                    <a:pt x="324" y="57"/>
                  </a:lnTo>
                  <a:lnTo>
                    <a:pt x="306" y="57"/>
                  </a:lnTo>
                  <a:lnTo>
                    <a:pt x="279" y="54"/>
                  </a:lnTo>
                  <a:lnTo>
                    <a:pt x="260" y="51"/>
                  </a:lnTo>
                  <a:lnTo>
                    <a:pt x="238" y="48"/>
                  </a:lnTo>
                  <a:lnTo>
                    <a:pt x="224" y="45"/>
                  </a:lnTo>
                  <a:lnTo>
                    <a:pt x="201" y="42"/>
                  </a:lnTo>
                  <a:lnTo>
                    <a:pt x="187" y="42"/>
                  </a:lnTo>
                  <a:lnTo>
                    <a:pt x="169" y="37"/>
                  </a:lnTo>
                  <a:lnTo>
                    <a:pt x="160" y="37"/>
                  </a:lnTo>
                  <a:lnTo>
                    <a:pt x="142" y="34"/>
                  </a:lnTo>
                  <a:lnTo>
                    <a:pt x="128" y="34"/>
                  </a:lnTo>
                  <a:lnTo>
                    <a:pt x="114" y="31"/>
                  </a:lnTo>
                  <a:lnTo>
                    <a:pt x="101" y="31"/>
                  </a:lnTo>
                  <a:lnTo>
                    <a:pt x="87" y="25"/>
                  </a:lnTo>
                  <a:lnTo>
                    <a:pt x="78" y="25"/>
                  </a:lnTo>
                  <a:lnTo>
                    <a:pt x="64" y="25"/>
                  </a:lnTo>
                  <a:lnTo>
                    <a:pt x="55" y="22"/>
                  </a:lnTo>
                  <a:lnTo>
                    <a:pt x="37" y="19"/>
                  </a:lnTo>
                  <a:lnTo>
                    <a:pt x="23" y="19"/>
                  </a:lnTo>
                  <a:lnTo>
                    <a:pt x="14" y="14"/>
                  </a:lnTo>
                  <a:lnTo>
                    <a:pt x="0" y="1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03" name="Freeform 193"/>
            <p:cNvSpPr>
              <a:spLocks/>
            </p:cNvSpPr>
            <p:nvPr>
              <p:custDataLst>
                <p:tags r:id="rId102"/>
              </p:custDataLst>
            </p:nvPr>
          </p:nvSpPr>
          <p:spPr bwMode="gray">
            <a:xfrm>
              <a:off x="904" y="576"/>
              <a:ext cx="3795" cy="815"/>
            </a:xfrm>
            <a:custGeom>
              <a:avLst/>
              <a:gdLst>
                <a:gd name="T0" fmla="*/ 2847 w 3702"/>
                <a:gd name="T1" fmla="*/ 7 h 892"/>
                <a:gd name="T2" fmla="*/ 2498 w 3702"/>
                <a:gd name="T3" fmla="*/ 14 h 892"/>
                <a:gd name="T4" fmla="*/ 2150 w 3702"/>
                <a:gd name="T5" fmla="*/ 22 h 892"/>
                <a:gd name="T6" fmla="*/ 1810 w 3702"/>
                <a:gd name="T7" fmla="*/ 29 h 892"/>
                <a:gd name="T8" fmla="*/ 1483 w 3702"/>
                <a:gd name="T9" fmla="*/ 37 h 892"/>
                <a:gd name="T10" fmla="*/ 1167 w 3702"/>
                <a:gd name="T11" fmla="*/ 44 h 892"/>
                <a:gd name="T12" fmla="*/ 883 w 3702"/>
                <a:gd name="T13" fmla="*/ 53 h 892"/>
                <a:gd name="T14" fmla="*/ 618 w 3702"/>
                <a:gd name="T15" fmla="*/ 58 h 892"/>
                <a:gd name="T16" fmla="*/ 391 w 3702"/>
                <a:gd name="T17" fmla="*/ 65 h 892"/>
                <a:gd name="T18" fmla="*/ 216 w 3702"/>
                <a:gd name="T19" fmla="*/ 70 h 892"/>
                <a:gd name="T20" fmla="*/ 84 w 3702"/>
                <a:gd name="T21" fmla="*/ 77 h 892"/>
                <a:gd name="T22" fmla="*/ 0 w 3702"/>
                <a:gd name="T23" fmla="*/ 79 h 892"/>
                <a:gd name="T24" fmla="*/ 74 w 3702"/>
                <a:gd name="T25" fmla="*/ 80 h 892"/>
                <a:gd name="T26" fmla="*/ 201 w 3702"/>
                <a:gd name="T27" fmla="*/ 80 h 892"/>
                <a:gd name="T28" fmla="*/ 391 w 3702"/>
                <a:gd name="T29" fmla="*/ 82 h 892"/>
                <a:gd name="T30" fmla="*/ 618 w 3702"/>
                <a:gd name="T31" fmla="*/ 82 h 892"/>
                <a:gd name="T32" fmla="*/ 883 w 3702"/>
                <a:gd name="T33" fmla="*/ 84 h 892"/>
                <a:gd name="T34" fmla="*/ 1195 w 3702"/>
                <a:gd name="T35" fmla="*/ 84 h 892"/>
                <a:gd name="T36" fmla="*/ 1525 w 3702"/>
                <a:gd name="T37" fmla="*/ 84 h 892"/>
                <a:gd name="T38" fmla="*/ 1882 w 3702"/>
                <a:gd name="T39" fmla="*/ 84 h 892"/>
                <a:gd name="T40" fmla="*/ 2255 w 3702"/>
                <a:gd name="T41" fmla="*/ 84 h 892"/>
                <a:gd name="T42" fmla="*/ 2640 w 3702"/>
                <a:gd name="T43" fmla="*/ 84 h 892"/>
                <a:gd name="T44" fmla="*/ 3030 w 3702"/>
                <a:gd name="T45" fmla="*/ 84 h 892"/>
                <a:gd name="T46" fmla="*/ 3417 w 3702"/>
                <a:gd name="T47" fmla="*/ 84 h 892"/>
                <a:gd name="T48" fmla="*/ 3798 w 3702"/>
                <a:gd name="T49" fmla="*/ 84 h 892"/>
                <a:gd name="T50" fmla="*/ 4189 w 3702"/>
                <a:gd name="T51" fmla="*/ 82 h 892"/>
                <a:gd name="T52" fmla="*/ 4579 w 3702"/>
                <a:gd name="T53" fmla="*/ 81 h 892"/>
                <a:gd name="T54" fmla="*/ 4965 w 3702"/>
                <a:gd name="T55" fmla="*/ 79 h 892"/>
                <a:gd name="T56" fmla="*/ 5320 w 3702"/>
                <a:gd name="T57" fmla="*/ 77 h 892"/>
                <a:gd name="T58" fmla="*/ 5681 w 3702"/>
                <a:gd name="T59" fmla="*/ 77 h 892"/>
                <a:gd name="T60" fmla="*/ 6009 w 3702"/>
                <a:gd name="T61" fmla="*/ 77 h 892"/>
                <a:gd name="T62" fmla="*/ 6297 w 3702"/>
                <a:gd name="T63" fmla="*/ 73 h 892"/>
                <a:gd name="T64" fmla="*/ 6551 w 3702"/>
                <a:gd name="T65" fmla="*/ 72 h 892"/>
                <a:gd name="T66" fmla="*/ 6759 w 3702"/>
                <a:gd name="T67" fmla="*/ 70 h 892"/>
                <a:gd name="T68" fmla="*/ 6915 w 3702"/>
                <a:gd name="T69" fmla="*/ 70 h 892"/>
                <a:gd name="T70" fmla="*/ 7030 w 3702"/>
                <a:gd name="T71" fmla="*/ 70 h 892"/>
                <a:gd name="T72" fmla="*/ 6993 w 3702"/>
                <a:gd name="T73" fmla="*/ 67 h 892"/>
                <a:gd name="T74" fmla="*/ 6863 w 3702"/>
                <a:gd name="T75" fmla="*/ 64 h 892"/>
                <a:gd name="T76" fmla="*/ 6674 w 3702"/>
                <a:gd name="T77" fmla="*/ 60 h 892"/>
                <a:gd name="T78" fmla="*/ 6435 w 3702"/>
                <a:gd name="T79" fmla="*/ 56 h 892"/>
                <a:gd name="T80" fmla="*/ 6166 w 3702"/>
                <a:gd name="T81" fmla="*/ 49 h 892"/>
                <a:gd name="T82" fmla="*/ 5862 w 3702"/>
                <a:gd name="T83" fmla="*/ 44 h 892"/>
                <a:gd name="T84" fmla="*/ 5558 w 3702"/>
                <a:gd name="T85" fmla="*/ 37 h 892"/>
                <a:gd name="T86" fmla="*/ 5235 w 3702"/>
                <a:gd name="T87" fmla="*/ 31 h 892"/>
                <a:gd name="T88" fmla="*/ 4937 w 3702"/>
                <a:gd name="T89" fmla="*/ 25 h 892"/>
                <a:gd name="T90" fmla="*/ 4654 w 3702"/>
                <a:gd name="T91" fmla="*/ 18 h 892"/>
                <a:gd name="T92" fmla="*/ 4398 w 3702"/>
                <a:gd name="T93" fmla="*/ 14 h 892"/>
                <a:gd name="T94" fmla="*/ 4199 w 3702"/>
                <a:gd name="T95" fmla="*/ 10 h 892"/>
                <a:gd name="T96" fmla="*/ 4050 w 3702"/>
                <a:gd name="T97" fmla="*/ 5 h 892"/>
                <a:gd name="T98" fmla="*/ 3928 w 3702"/>
                <a:gd name="T99" fmla="*/ 5 h 892"/>
                <a:gd name="T100" fmla="*/ 3824 w 3702"/>
                <a:gd name="T101" fmla="*/ 5 h 892"/>
                <a:gd name="T102" fmla="*/ 3711 w 3702"/>
                <a:gd name="T103" fmla="*/ 5 h 892"/>
                <a:gd name="T104" fmla="*/ 3607 w 3702"/>
                <a:gd name="T105" fmla="*/ 5 h 892"/>
                <a:gd name="T106" fmla="*/ 3422 w 3702"/>
                <a:gd name="T107" fmla="*/ 0 h 892"/>
                <a:gd name="T108" fmla="*/ 3273 w 3702"/>
                <a:gd name="T109" fmla="*/ 5 h 892"/>
                <a:gd name="T110" fmla="*/ 3154 w 3702"/>
                <a:gd name="T111" fmla="*/ 5 h 8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702"/>
                <a:gd name="T169" fmla="*/ 0 h 892"/>
                <a:gd name="T170" fmla="*/ 3702 w 3702"/>
                <a:gd name="T171" fmla="*/ 892 h 8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702" h="892">
                  <a:moveTo>
                    <a:pt x="1632" y="26"/>
                  </a:moveTo>
                  <a:lnTo>
                    <a:pt x="1595" y="35"/>
                  </a:lnTo>
                  <a:lnTo>
                    <a:pt x="1563" y="49"/>
                  </a:lnTo>
                  <a:lnTo>
                    <a:pt x="1526" y="63"/>
                  </a:lnTo>
                  <a:lnTo>
                    <a:pt x="1494" y="77"/>
                  </a:lnTo>
                  <a:lnTo>
                    <a:pt x="1453" y="89"/>
                  </a:lnTo>
                  <a:lnTo>
                    <a:pt x="1421" y="103"/>
                  </a:lnTo>
                  <a:lnTo>
                    <a:pt x="1380" y="117"/>
                  </a:lnTo>
                  <a:lnTo>
                    <a:pt x="1348" y="131"/>
                  </a:lnTo>
                  <a:lnTo>
                    <a:pt x="1312" y="149"/>
                  </a:lnTo>
                  <a:lnTo>
                    <a:pt x="1275" y="160"/>
                  </a:lnTo>
                  <a:lnTo>
                    <a:pt x="1239" y="174"/>
                  </a:lnTo>
                  <a:lnTo>
                    <a:pt x="1202" y="191"/>
                  </a:lnTo>
                  <a:lnTo>
                    <a:pt x="1165" y="208"/>
                  </a:lnTo>
                  <a:lnTo>
                    <a:pt x="1129" y="225"/>
                  </a:lnTo>
                  <a:lnTo>
                    <a:pt x="1097" y="240"/>
                  </a:lnTo>
                  <a:lnTo>
                    <a:pt x="1060" y="257"/>
                  </a:lnTo>
                  <a:lnTo>
                    <a:pt x="1024" y="274"/>
                  </a:lnTo>
                  <a:lnTo>
                    <a:pt x="987" y="288"/>
                  </a:lnTo>
                  <a:lnTo>
                    <a:pt x="951" y="305"/>
                  </a:lnTo>
                  <a:lnTo>
                    <a:pt x="919" y="322"/>
                  </a:lnTo>
                  <a:lnTo>
                    <a:pt x="877" y="339"/>
                  </a:lnTo>
                  <a:lnTo>
                    <a:pt x="846" y="354"/>
                  </a:lnTo>
                  <a:lnTo>
                    <a:pt x="814" y="371"/>
                  </a:lnTo>
                  <a:lnTo>
                    <a:pt x="777" y="388"/>
                  </a:lnTo>
                  <a:lnTo>
                    <a:pt x="745" y="408"/>
                  </a:lnTo>
                  <a:lnTo>
                    <a:pt x="713" y="422"/>
                  </a:lnTo>
                  <a:lnTo>
                    <a:pt x="681" y="439"/>
                  </a:lnTo>
                  <a:lnTo>
                    <a:pt x="644" y="456"/>
                  </a:lnTo>
                  <a:lnTo>
                    <a:pt x="612" y="470"/>
                  </a:lnTo>
                  <a:lnTo>
                    <a:pt x="580" y="487"/>
                  </a:lnTo>
                  <a:lnTo>
                    <a:pt x="548" y="504"/>
                  </a:lnTo>
                  <a:lnTo>
                    <a:pt x="526" y="519"/>
                  </a:lnTo>
                  <a:lnTo>
                    <a:pt x="494" y="536"/>
                  </a:lnTo>
                  <a:lnTo>
                    <a:pt x="462" y="550"/>
                  </a:lnTo>
                  <a:lnTo>
                    <a:pt x="434" y="564"/>
                  </a:lnTo>
                  <a:lnTo>
                    <a:pt x="407" y="579"/>
                  </a:lnTo>
                  <a:lnTo>
                    <a:pt x="379" y="593"/>
                  </a:lnTo>
                  <a:lnTo>
                    <a:pt x="352" y="607"/>
                  </a:lnTo>
                  <a:lnTo>
                    <a:pt x="325" y="621"/>
                  </a:lnTo>
                  <a:lnTo>
                    <a:pt x="302" y="638"/>
                  </a:lnTo>
                  <a:lnTo>
                    <a:pt x="274" y="650"/>
                  </a:lnTo>
                  <a:lnTo>
                    <a:pt x="251" y="664"/>
                  </a:lnTo>
                  <a:lnTo>
                    <a:pt x="229" y="675"/>
                  </a:lnTo>
                  <a:lnTo>
                    <a:pt x="206" y="687"/>
                  </a:lnTo>
                  <a:lnTo>
                    <a:pt x="187" y="701"/>
                  </a:lnTo>
                  <a:lnTo>
                    <a:pt x="169" y="712"/>
                  </a:lnTo>
                  <a:lnTo>
                    <a:pt x="146" y="724"/>
                  </a:lnTo>
                  <a:lnTo>
                    <a:pt x="133" y="735"/>
                  </a:lnTo>
                  <a:lnTo>
                    <a:pt x="114" y="744"/>
                  </a:lnTo>
                  <a:lnTo>
                    <a:pt x="101" y="755"/>
                  </a:lnTo>
                  <a:lnTo>
                    <a:pt x="82" y="764"/>
                  </a:lnTo>
                  <a:lnTo>
                    <a:pt x="69" y="772"/>
                  </a:lnTo>
                  <a:lnTo>
                    <a:pt x="59" y="781"/>
                  </a:lnTo>
                  <a:lnTo>
                    <a:pt x="46" y="789"/>
                  </a:lnTo>
                  <a:lnTo>
                    <a:pt x="37" y="798"/>
                  </a:lnTo>
                  <a:lnTo>
                    <a:pt x="27" y="803"/>
                  </a:lnTo>
                  <a:lnTo>
                    <a:pt x="14" y="815"/>
                  </a:lnTo>
                  <a:lnTo>
                    <a:pt x="5" y="826"/>
                  </a:lnTo>
                  <a:lnTo>
                    <a:pt x="0" y="829"/>
                  </a:lnTo>
                  <a:lnTo>
                    <a:pt x="5" y="832"/>
                  </a:lnTo>
                  <a:lnTo>
                    <a:pt x="9" y="832"/>
                  </a:lnTo>
                  <a:lnTo>
                    <a:pt x="23" y="835"/>
                  </a:lnTo>
                  <a:lnTo>
                    <a:pt x="32" y="835"/>
                  </a:lnTo>
                  <a:lnTo>
                    <a:pt x="41" y="835"/>
                  </a:lnTo>
                  <a:lnTo>
                    <a:pt x="55" y="838"/>
                  </a:lnTo>
                  <a:lnTo>
                    <a:pt x="64" y="838"/>
                  </a:lnTo>
                  <a:lnTo>
                    <a:pt x="78" y="838"/>
                  </a:lnTo>
                  <a:lnTo>
                    <a:pt x="91" y="841"/>
                  </a:lnTo>
                  <a:lnTo>
                    <a:pt x="105" y="841"/>
                  </a:lnTo>
                  <a:lnTo>
                    <a:pt x="123" y="846"/>
                  </a:lnTo>
                  <a:lnTo>
                    <a:pt x="142" y="846"/>
                  </a:lnTo>
                  <a:lnTo>
                    <a:pt x="160" y="846"/>
                  </a:lnTo>
                  <a:lnTo>
                    <a:pt x="183" y="849"/>
                  </a:lnTo>
                  <a:lnTo>
                    <a:pt x="206" y="852"/>
                  </a:lnTo>
                  <a:lnTo>
                    <a:pt x="224" y="852"/>
                  </a:lnTo>
                  <a:lnTo>
                    <a:pt x="247" y="852"/>
                  </a:lnTo>
                  <a:lnTo>
                    <a:pt x="270" y="855"/>
                  </a:lnTo>
                  <a:lnTo>
                    <a:pt x="297" y="858"/>
                  </a:lnTo>
                  <a:lnTo>
                    <a:pt x="325" y="858"/>
                  </a:lnTo>
                  <a:lnTo>
                    <a:pt x="347" y="860"/>
                  </a:lnTo>
                  <a:lnTo>
                    <a:pt x="375" y="860"/>
                  </a:lnTo>
                  <a:lnTo>
                    <a:pt x="407" y="863"/>
                  </a:lnTo>
                  <a:lnTo>
                    <a:pt x="434" y="863"/>
                  </a:lnTo>
                  <a:lnTo>
                    <a:pt x="462" y="866"/>
                  </a:lnTo>
                  <a:lnTo>
                    <a:pt x="494" y="866"/>
                  </a:lnTo>
                  <a:lnTo>
                    <a:pt x="530" y="869"/>
                  </a:lnTo>
                  <a:lnTo>
                    <a:pt x="558" y="869"/>
                  </a:lnTo>
                  <a:lnTo>
                    <a:pt x="590" y="875"/>
                  </a:lnTo>
                  <a:lnTo>
                    <a:pt x="626" y="875"/>
                  </a:lnTo>
                  <a:lnTo>
                    <a:pt x="663" y="878"/>
                  </a:lnTo>
                  <a:lnTo>
                    <a:pt x="695" y="878"/>
                  </a:lnTo>
                  <a:lnTo>
                    <a:pt x="727" y="880"/>
                  </a:lnTo>
                  <a:lnTo>
                    <a:pt x="763" y="880"/>
                  </a:lnTo>
                  <a:lnTo>
                    <a:pt x="800" y="880"/>
                  </a:lnTo>
                  <a:lnTo>
                    <a:pt x="836" y="880"/>
                  </a:lnTo>
                  <a:lnTo>
                    <a:pt x="873" y="883"/>
                  </a:lnTo>
                  <a:lnTo>
                    <a:pt x="909" y="883"/>
                  </a:lnTo>
                  <a:lnTo>
                    <a:pt x="946" y="886"/>
                  </a:lnTo>
                  <a:lnTo>
                    <a:pt x="987" y="886"/>
                  </a:lnTo>
                  <a:lnTo>
                    <a:pt x="1028" y="889"/>
                  </a:lnTo>
                  <a:lnTo>
                    <a:pt x="1065" y="889"/>
                  </a:lnTo>
                  <a:lnTo>
                    <a:pt x="1106" y="889"/>
                  </a:lnTo>
                  <a:lnTo>
                    <a:pt x="1143" y="889"/>
                  </a:lnTo>
                  <a:lnTo>
                    <a:pt x="1184" y="892"/>
                  </a:lnTo>
                  <a:lnTo>
                    <a:pt x="1225" y="892"/>
                  </a:lnTo>
                  <a:lnTo>
                    <a:pt x="1266" y="892"/>
                  </a:lnTo>
                  <a:lnTo>
                    <a:pt x="1303" y="892"/>
                  </a:lnTo>
                  <a:lnTo>
                    <a:pt x="1344" y="892"/>
                  </a:lnTo>
                  <a:lnTo>
                    <a:pt x="1385" y="892"/>
                  </a:lnTo>
                  <a:lnTo>
                    <a:pt x="1426" y="892"/>
                  </a:lnTo>
                  <a:lnTo>
                    <a:pt x="1462" y="889"/>
                  </a:lnTo>
                  <a:lnTo>
                    <a:pt x="1508" y="889"/>
                  </a:lnTo>
                  <a:lnTo>
                    <a:pt x="1549" y="889"/>
                  </a:lnTo>
                  <a:lnTo>
                    <a:pt x="1590" y="889"/>
                  </a:lnTo>
                  <a:lnTo>
                    <a:pt x="1627" y="889"/>
                  </a:lnTo>
                  <a:lnTo>
                    <a:pt x="1673" y="889"/>
                  </a:lnTo>
                  <a:lnTo>
                    <a:pt x="1714" y="886"/>
                  </a:lnTo>
                  <a:lnTo>
                    <a:pt x="1755" y="886"/>
                  </a:lnTo>
                  <a:lnTo>
                    <a:pt x="1792" y="880"/>
                  </a:lnTo>
                  <a:lnTo>
                    <a:pt x="1837" y="880"/>
                  </a:lnTo>
                  <a:lnTo>
                    <a:pt x="1874" y="880"/>
                  </a:lnTo>
                  <a:lnTo>
                    <a:pt x="1919" y="878"/>
                  </a:lnTo>
                  <a:lnTo>
                    <a:pt x="1956" y="875"/>
                  </a:lnTo>
                  <a:lnTo>
                    <a:pt x="1993" y="872"/>
                  </a:lnTo>
                  <a:lnTo>
                    <a:pt x="2038" y="869"/>
                  </a:lnTo>
                  <a:lnTo>
                    <a:pt x="2079" y="866"/>
                  </a:lnTo>
                  <a:lnTo>
                    <a:pt x="2116" y="866"/>
                  </a:lnTo>
                  <a:lnTo>
                    <a:pt x="2157" y="863"/>
                  </a:lnTo>
                  <a:lnTo>
                    <a:pt x="2198" y="860"/>
                  </a:lnTo>
                  <a:lnTo>
                    <a:pt x="2239" y="858"/>
                  </a:lnTo>
                  <a:lnTo>
                    <a:pt x="2281" y="855"/>
                  </a:lnTo>
                  <a:lnTo>
                    <a:pt x="2317" y="852"/>
                  </a:lnTo>
                  <a:lnTo>
                    <a:pt x="2363" y="849"/>
                  </a:lnTo>
                  <a:lnTo>
                    <a:pt x="2404" y="846"/>
                  </a:lnTo>
                  <a:lnTo>
                    <a:pt x="2440" y="843"/>
                  </a:lnTo>
                  <a:lnTo>
                    <a:pt x="2482" y="841"/>
                  </a:lnTo>
                  <a:lnTo>
                    <a:pt x="2523" y="838"/>
                  </a:lnTo>
                  <a:lnTo>
                    <a:pt x="2564" y="835"/>
                  </a:lnTo>
                  <a:lnTo>
                    <a:pt x="2605" y="832"/>
                  </a:lnTo>
                  <a:lnTo>
                    <a:pt x="2642" y="829"/>
                  </a:lnTo>
                  <a:lnTo>
                    <a:pt x="2683" y="826"/>
                  </a:lnTo>
                  <a:lnTo>
                    <a:pt x="2719" y="826"/>
                  </a:lnTo>
                  <a:lnTo>
                    <a:pt x="2760" y="821"/>
                  </a:lnTo>
                  <a:lnTo>
                    <a:pt x="2792" y="818"/>
                  </a:lnTo>
                  <a:lnTo>
                    <a:pt x="2834" y="815"/>
                  </a:lnTo>
                  <a:lnTo>
                    <a:pt x="2870" y="812"/>
                  </a:lnTo>
                  <a:lnTo>
                    <a:pt x="2907" y="809"/>
                  </a:lnTo>
                  <a:lnTo>
                    <a:pt x="2948" y="803"/>
                  </a:lnTo>
                  <a:lnTo>
                    <a:pt x="2980" y="803"/>
                  </a:lnTo>
                  <a:lnTo>
                    <a:pt x="3016" y="801"/>
                  </a:lnTo>
                  <a:lnTo>
                    <a:pt x="3048" y="798"/>
                  </a:lnTo>
                  <a:lnTo>
                    <a:pt x="3085" y="792"/>
                  </a:lnTo>
                  <a:lnTo>
                    <a:pt x="3117" y="789"/>
                  </a:lnTo>
                  <a:lnTo>
                    <a:pt x="3153" y="789"/>
                  </a:lnTo>
                  <a:lnTo>
                    <a:pt x="3185" y="784"/>
                  </a:lnTo>
                  <a:lnTo>
                    <a:pt x="3213" y="781"/>
                  </a:lnTo>
                  <a:lnTo>
                    <a:pt x="3245" y="778"/>
                  </a:lnTo>
                  <a:lnTo>
                    <a:pt x="3281" y="775"/>
                  </a:lnTo>
                  <a:lnTo>
                    <a:pt x="3304" y="772"/>
                  </a:lnTo>
                  <a:lnTo>
                    <a:pt x="3332" y="769"/>
                  </a:lnTo>
                  <a:lnTo>
                    <a:pt x="3359" y="766"/>
                  </a:lnTo>
                  <a:lnTo>
                    <a:pt x="3391" y="764"/>
                  </a:lnTo>
                  <a:lnTo>
                    <a:pt x="3414" y="761"/>
                  </a:lnTo>
                  <a:lnTo>
                    <a:pt x="3437" y="758"/>
                  </a:lnTo>
                  <a:lnTo>
                    <a:pt x="3464" y="755"/>
                  </a:lnTo>
                  <a:lnTo>
                    <a:pt x="3487" y="752"/>
                  </a:lnTo>
                  <a:lnTo>
                    <a:pt x="3505" y="749"/>
                  </a:lnTo>
                  <a:lnTo>
                    <a:pt x="3528" y="749"/>
                  </a:lnTo>
                  <a:lnTo>
                    <a:pt x="3546" y="744"/>
                  </a:lnTo>
                  <a:lnTo>
                    <a:pt x="3574" y="744"/>
                  </a:lnTo>
                  <a:lnTo>
                    <a:pt x="3588" y="741"/>
                  </a:lnTo>
                  <a:lnTo>
                    <a:pt x="3606" y="738"/>
                  </a:lnTo>
                  <a:lnTo>
                    <a:pt x="3615" y="735"/>
                  </a:lnTo>
                  <a:lnTo>
                    <a:pt x="3629" y="732"/>
                  </a:lnTo>
                  <a:lnTo>
                    <a:pt x="3642" y="732"/>
                  </a:lnTo>
                  <a:lnTo>
                    <a:pt x="3656" y="729"/>
                  </a:lnTo>
                  <a:lnTo>
                    <a:pt x="3665" y="727"/>
                  </a:lnTo>
                  <a:lnTo>
                    <a:pt x="3674" y="727"/>
                  </a:lnTo>
                  <a:lnTo>
                    <a:pt x="3688" y="721"/>
                  </a:lnTo>
                  <a:lnTo>
                    <a:pt x="3697" y="721"/>
                  </a:lnTo>
                  <a:lnTo>
                    <a:pt x="3702" y="718"/>
                  </a:lnTo>
                  <a:lnTo>
                    <a:pt x="3697" y="715"/>
                  </a:lnTo>
                  <a:lnTo>
                    <a:pt x="3688" y="712"/>
                  </a:lnTo>
                  <a:lnTo>
                    <a:pt x="3670" y="704"/>
                  </a:lnTo>
                  <a:lnTo>
                    <a:pt x="3661" y="698"/>
                  </a:lnTo>
                  <a:lnTo>
                    <a:pt x="3647" y="695"/>
                  </a:lnTo>
                  <a:lnTo>
                    <a:pt x="3633" y="687"/>
                  </a:lnTo>
                  <a:lnTo>
                    <a:pt x="3620" y="687"/>
                  </a:lnTo>
                  <a:lnTo>
                    <a:pt x="3601" y="675"/>
                  </a:lnTo>
                  <a:lnTo>
                    <a:pt x="3583" y="670"/>
                  </a:lnTo>
                  <a:lnTo>
                    <a:pt x="3565" y="661"/>
                  </a:lnTo>
                  <a:lnTo>
                    <a:pt x="3546" y="653"/>
                  </a:lnTo>
                  <a:lnTo>
                    <a:pt x="3524" y="644"/>
                  </a:lnTo>
                  <a:lnTo>
                    <a:pt x="3501" y="635"/>
                  </a:lnTo>
                  <a:lnTo>
                    <a:pt x="3482" y="627"/>
                  </a:lnTo>
                  <a:lnTo>
                    <a:pt x="3455" y="618"/>
                  </a:lnTo>
                  <a:lnTo>
                    <a:pt x="3432" y="607"/>
                  </a:lnTo>
                  <a:lnTo>
                    <a:pt x="3405" y="596"/>
                  </a:lnTo>
                  <a:lnTo>
                    <a:pt x="3377" y="584"/>
                  </a:lnTo>
                  <a:lnTo>
                    <a:pt x="3350" y="573"/>
                  </a:lnTo>
                  <a:lnTo>
                    <a:pt x="3323" y="561"/>
                  </a:lnTo>
                  <a:lnTo>
                    <a:pt x="3295" y="550"/>
                  </a:lnTo>
                  <a:lnTo>
                    <a:pt x="3263" y="539"/>
                  </a:lnTo>
                  <a:lnTo>
                    <a:pt x="3236" y="524"/>
                  </a:lnTo>
                  <a:lnTo>
                    <a:pt x="3204" y="513"/>
                  </a:lnTo>
                  <a:lnTo>
                    <a:pt x="3172" y="502"/>
                  </a:lnTo>
                  <a:lnTo>
                    <a:pt x="3140" y="487"/>
                  </a:lnTo>
                  <a:lnTo>
                    <a:pt x="3112" y="473"/>
                  </a:lnTo>
                  <a:lnTo>
                    <a:pt x="3076" y="462"/>
                  </a:lnTo>
                  <a:lnTo>
                    <a:pt x="3044" y="448"/>
                  </a:lnTo>
                  <a:lnTo>
                    <a:pt x="3016" y="433"/>
                  </a:lnTo>
                  <a:lnTo>
                    <a:pt x="2980" y="422"/>
                  </a:lnTo>
                  <a:lnTo>
                    <a:pt x="2948" y="408"/>
                  </a:lnTo>
                  <a:lnTo>
                    <a:pt x="2916" y="393"/>
                  </a:lnTo>
                  <a:lnTo>
                    <a:pt x="2884" y="379"/>
                  </a:lnTo>
                  <a:lnTo>
                    <a:pt x="2847" y="365"/>
                  </a:lnTo>
                  <a:lnTo>
                    <a:pt x="2815" y="351"/>
                  </a:lnTo>
                  <a:lnTo>
                    <a:pt x="2783" y="336"/>
                  </a:lnTo>
                  <a:lnTo>
                    <a:pt x="2747" y="325"/>
                  </a:lnTo>
                  <a:lnTo>
                    <a:pt x="2715" y="311"/>
                  </a:lnTo>
                  <a:lnTo>
                    <a:pt x="2683" y="297"/>
                  </a:lnTo>
                  <a:lnTo>
                    <a:pt x="2651" y="285"/>
                  </a:lnTo>
                  <a:lnTo>
                    <a:pt x="2619" y="271"/>
                  </a:lnTo>
                  <a:lnTo>
                    <a:pt x="2591" y="260"/>
                  </a:lnTo>
                  <a:lnTo>
                    <a:pt x="2559" y="245"/>
                  </a:lnTo>
                  <a:lnTo>
                    <a:pt x="2527" y="231"/>
                  </a:lnTo>
                  <a:lnTo>
                    <a:pt x="2500" y="220"/>
                  </a:lnTo>
                  <a:lnTo>
                    <a:pt x="2472" y="208"/>
                  </a:lnTo>
                  <a:lnTo>
                    <a:pt x="2440" y="194"/>
                  </a:lnTo>
                  <a:lnTo>
                    <a:pt x="2413" y="183"/>
                  </a:lnTo>
                  <a:lnTo>
                    <a:pt x="2386" y="171"/>
                  </a:lnTo>
                  <a:lnTo>
                    <a:pt x="2363" y="160"/>
                  </a:lnTo>
                  <a:lnTo>
                    <a:pt x="2335" y="151"/>
                  </a:lnTo>
                  <a:lnTo>
                    <a:pt x="2308" y="140"/>
                  </a:lnTo>
                  <a:lnTo>
                    <a:pt x="2285" y="131"/>
                  </a:lnTo>
                  <a:lnTo>
                    <a:pt x="2262" y="123"/>
                  </a:lnTo>
                  <a:lnTo>
                    <a:pt x="2244" y="112"/>
                  </a:lnTo>
                  <a:lnTo>
                    <a:pt x="2221" y="106"/>
                  </a:lnTo>
                  <a:lnTo>
                    <a:pt x="2203" y="97"/>
                  </a:lnTo>
                  <a:lnTo>
                    <a:pt x="2185" y="89"/>
                  </a:lnTo>
                  <a:lnTo>
                    <a:pt x="2166" y="83"/>
                  </a:lnTo>
                  <a:lnTo>
                    <a:pt x="2153" y="74"/>
                  </a:lnTo>
                  <a:lnTo>
                    <a:pt x="2134" y="69"/>
                  </a:lnTo>
                  <a:lnTo>
                    <a:pt x="2125" y="66"/>
                  </a:lnTo>
                  <a:lnTo>
                    <a:pt x="2116" y="60"/>
                  </a:lnTo>
                  <a:lnTo>
                    <a:pt x="2098" y="55"/>
                  </a:lnTo>
                  <a:lnTo>
                    <a:pt x="2089" y="49"/>
                  </a:lnTo>
                  <a:lnTo>
                    <a:pt x="2079" y="46"/>
                  </a:lnTo>
                  <a:lnTo>
                    <a:pt x="2061" y="43"/>
                  </a:lnTo>
                  <a:lnTo>
                    <a:pt x="2052" y="37"/>
                  </a:lnTo>
                  <a:lnTo>
                    <a:pt x="2043" y="35"/>
                  </a:lnTo>
                  <a:lnTo>
                    <a:pt x="2025" y="32"/>
                  </a:lnTo>
                  <a:lnTo>
                    <a:pt x="2015" y="26"/>
                  </a:lnTo>
                  <a:lnTo>
                    <a:pt x="2006" y="23"/>
                  </a:lnTo>
                  <a:lnTo>
                    <a:pt x="1993" y="20"/>
                  </a:lnTo>
                  <a:lnTo>
                    <a:pt x="1979" y="20"/>
                  </a:lnTo>
                  <a:lnTo>
                    <a:pt x="1970" y="15"/>
                  </a:lnTo>
                  <a:lnTo>
                    <a:pt x="1956" y="15"/>
                  </a:lnTo>
                  <a:lnTo>
                    <a:pt x="1947" y="12"/>
                  </a:lnTo>
                  <a:lnTo>
                    <a:pt x="1938" y="12"/>
                  </a:lnTo>
                  <a:lnTo>
                    <a:pt x="1924" y="9"/>
                  </a:lnTo>
                  <a:lnTo>
                    <a:pt x="1915" y="9"/>
                  </a:lnTo>
                  <a:lnTo>
                    <a:pt x="1901" y="6"/>
                  </a:lnTo>
                  <a:lnTo>
                    <a:pt x="1892" y="6"/>
                  </a:lnTo>
                  <a:lnTo>
                    <a:pt x="1869" y="0"/>
                  </a:lnTo>
                  <a:lnTo>
                    <a:pt x="1856" y="0"/>
                  </a:lnTo>
                  <a:lnTo>
                    <a:pt x="1833" y="0"/>
                  </a:lnTo>
                  <a:lnTo>
                    <a:pt x="1814" y="0"/>
                  </a:lnTo>
                  <a:lnTo>
                    <a:pt x="1796" y="0"/>
                  </a:lnTo>
                  <a:lnTo>
                    <a:pt x="1782" y="3"/>
                  </a:lnTo>
                  <a:lnTo>
                    <a:pt x="1764" y="3"/>
                  </a:lnTo>
                  <a:lnTo>
                    <a:pt x="1750" y="6"/>
                  </a:lnTo>
                  <a:lnTo>
                    <a:pt x="1732" y="6"/>
                  </a:lnTo>
                  <a:lnTo>
                    <a:pt x="1718" y="9"/>
                  </a:lnTo>
                  <a:lnTo>
                    <a:pt x="1700" y="9"/>
                  </a:lnTo>
                  <a:lnTo>
                    <a:pt x="1696" y="9"/>
                  </a:lnTo>
                  <a:lnTo>
                    <a:pt x="1682" y="12"/>
                  </a:lnTo>
                  <a:lnTo>
                    <a:pt x="1673" y="15"/>
                  </a:lnTo>
                  <a:lnTo>
                    <a:pt x="1654" y="20"/>
                  </a:lnTo>
                  <a:lnTo>
                    <a:pt x="1641" y="20"/>
                  </a:lnTo>
                  <a:lnTo>
                    <a:pt x="1636" y="23"/>
                  </a:lnTo>
                  <a:lnTo>
                    <a:pt x="1632" y="26"/>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04" name="Freeform 194"/>
            <p:cNvSpPr>
              <a:spLocks/>
            </p:cNvSpPr>
            <p:nvPr>
              <p:custDataLst>
                <p:tags r:id="rId103"/>
              </p:custDataLst>
            </p:nvPr>
          </p:nvSpPr>
          <p:spPr bwMode="gray">
            <a:xfrm>
              <a:off x="1358" y="666"/>
              <a:ext cx="1270" cy="535"/>
            </a:xfrm>
            <a:custGeom>
              <a:avLst/>
              <a:gdLst>
                <a:gd name="T0" fmla="*/ 2081 w 1239"/>
                <a:gd name="T1" fmla="*/ 5 h 587"/>
                <a:gd name="T2" fmla="*/ 1955 w 1239"/>
                <a:gd name="T3" fmla="*/ 5 h 587"/>
                <a:gd name="T4" fmla="*/ 1837 w 1239"/>
                <a:gd name="T5" fmla="*/ 6 h 587"/>
                <a:gd name="T6" fmla="*/ 1715 w 1239"/>
                <a:gd name="T7" fmla="*/ 9 h 587"/>
                <a:gd name="T8" fmla="*/ 1599 w 1239"/>
                <a:gd name="T9" fmla="*/ 12 h 587"/>
                <a:gd name="T10" fmla="*/ 1488 w 1239"/>
                <a:gd name="T11" fmla="*/ 14 h 587"/>
                <a:gd name="T12" fmla="*/ 1373 w 1239"/>
                <a:gd name="T13" fmla="*/ 16 h 587"/>
                <a:gd name="T14" fmla="*/ 1268 w 1239"/>
                <a:gd name="T15" fmla="*/ 18 h 587"/>
                <a:gd name="T16" fmla="*/ 1156 w 1239"/>
                <a:gd name="T17" fmla="*/ 21 h 587"/>
                <a:gd name="T18" fmla="*/ 1053 w 1239"/>
                <a:gd name="T19" fmla="*/ 24 h 587"/>
                <a:gd name="T20" fmla="*/ 944 w 1239"/>
                <a:gd name="T21" fmla="*/ 26 h 587"/>
                <a:gd name="T22" fmla="*/ 850 w 1239"/>
                <a:gd name="T23" fmla="*/ 29 h 587"/>
                <a:gd name="T24" fmla="*/ 767 w 1239"/>
                <a:gd name="T25" fmla="*/ 31 h 587"/>
                <a:gd name="T26" fmla="*/ 668 w 1239"/>
                <a:gd name="T27" fmla="*/ 33 h 587"/>
                <a:gd name="T28" fmla="*/ 590 w 1239"/>
                <a:gd name="T29" fmla="*/ 35 h 587"/>
                <a:gd name="T30" fmla="*/ 514 w 1239"/>
                <a:gd name="T31" fmla="*/ 37 h 587"/>
                <a:gd name="T32" fmla="*/ 427 w 1239"/>
                <a:gd name="T33" fmla="*/ 39 h 587"/>
                <a:gd name="T34" fmla="*/ 364 w 1239"/>
                <a:gd name="T35" fmla="*/ 42 h 587"/>
                <a:gd name="T36" fmla="*/ 304 w 1239"/>
                <a:gd name="T37" fmla="*/ 43 h 587"/>
                <a:gd name="T38" fmla="*/ 244 w 1239"/>
                <a:gd name="T39" fmla="*/ 46 h 587"/>
                <a:gd name="T40" fmla="*/ 182 w 1239"/>
                <a:gd name="T41" fmla="*/ 46 h 587"/>
                <a:gd name="T42" fmla="*/ 137 w 1239"/>
                <a:gd name="T43" fmla="*/ 47 h 587"/>
                <a:gd name="T44" fmla="*/ 94 w 1239"/>
                <a:gd name="T45" fmla="*/ 50 h 587"/>
                <a:gd name="T46" fmla="*/ 58 w 1239"/>
                <a:gd name="T47" fmla="*/ 51 h 587"/>
                <a:gd name="T48" fmla="*/ 14 w 1239"/>
                <a:gd name="T49" fmla="*/ 51 h 587"/>
                <a:gd name="T50" fmla="*/ 0 w 1239"/>
                <a:gd name="T51" fmla="*/ 52 h 587"/>
                <a:gd name="T52" fmla="*/ 0 w 1239"/>
                <a:gd name="T53" fmla="*/ 52 h 587"/>
                <a:gd name="T54" fmla="*/ 49 w 1239"/>
                <a:gd name="T55" fmla="*/ 51 h 587"/>
                <a:gd name="T56" fmla="*/ 94 w 1239"/>
                <a:gd name="T57" fmla="*/ 51 h 587"/>
                <a:gd name="T58" fmla="*/ 137 w 1239"/>
                <a:gd name="T59" fmla="*/ 48 h 587"/>
                <a:gd name="T60" fmla="*/ 201 w 1239"/>
                <a:gd name="T61" fmla="*/ 46 h 587"/>
                <a:gd name="T62" fmla="*/ 262 w 1239"/>
                <a:gd name="T63" fmla="*/ 46 h 587"/>
                <a:gd name="T64" fmla="*/ 330 w 1239"/>
                <a:gd name="T65" fmla="*/ 43 h 587"/>
                <a:gd name="T66" fmla="*/ 401 w 1239"/>
                <a:gd name="T67" fmla="*/ 42 h 587"/>
                <a:gd name="T68" fmla="*/ 488 w 1239"/>
                <a:gd name="T69" fmla="*/ 40 h 587"/>
                <a:gd name="T70" fmla="*/ 575 w 1239"/>
                <a:gd name="T71" fmla="*/ 38 h 587"/>
                <a:gd name="T72" fmla="*/ 652 w 1239"/>
                <a:gd name="T73" fmla="*/ 36 h 587"/>
                <a:gd name="T74" fmla="*/ 748 w 1239"/>
                <a:gd name="T75" fmla="*/ 35 h 587"/>
                <a:gd name="T76" fmla="*/ 850 w 1239"/>
                <a:gd name="T77" fmla="*/ 32 h 587"/>
                <a:gd name="T78" fmla="*/ 938 w 1239"/>
                <a:gd name="T79" fmla="*/ 30 h 587"/>
                <a:gd name="T80" fmla="*/ 1042 w 1239"/>
                <a:gd name="T81" fmla="*/ 27 h 587"/>
                <a:gd name="T82" fmla="*/ 1147 w 1239"/>
                <a:gd name="T83" fmla="*/ 26 h 587"/>
                <a:gd name="T84" fmla="*/ 1243 w 1239"/>
                <a:gd name="T85" fmla="*/ 24 h 587"/>
                <a:gd name="T86" fmla="*/ 1349 w 1239"/>
                <a:gd name="T87" fmla="*/ 22 h 587"/>
                <a:gd name="T88" fmla="*/ 1442 w 1239"/>
                <a:gd name="T89" fmla="*/ 19 h 587"/>
                <a:gd name="T90" fmla="*/ 1546 w 1239"/>
                <a:gd name="T91" fmla="*/ 16 h 587"/>
                <a:gd name="T92" fmla="*/ 1642 w 1239"/>
                <a:gd name="T93" fmla="*/ 15 h 587"/>
                <a:gd name="T94" fmla="*/ 1729 w 1239"/>
                <a:gd name="T95" fmla="*/ 13 h 587"/>
                <a:gd name="T96" fmla="*/ 1826 w 1239"/>
                <a:gd name="T97" fmla="*/ 11 h 587"/>
                <a:gd name="T98" fmla="*/ 1909 w 1239"/>
                <a:gd name="T99" fmla="*/ 10 h 587"/>
                <a:gd name="T100" fmla="*/ 1997 w 1239"/>
                <a:gd name="T101" fmla="*/ 7 h 587"/>
                <a:gd name="T102" fmla="*/ 2070 w 1239"/>
                <a:gd name="T103" fmla="*/ 5 h 587"/>
                <a:gd name="T104" fmla="*/ 2145 w 1239"/>
                <a:gd name="T105" fmla="*/ 5 h 587"/>
                <a:gd name="T106" fmla="*/ 2199 w 1239"/>
                <a:gd name="T107" fmla="*/ 5 h 587"/>
                <a:gd name="T108" fmla="*/ 2259 w 1239"/>
                <a:gd name="T109" fmla="*/ 5 h 587"/>
                <a:gd name="T110" fmla="*/ 2310 w 1239"/>
                <a:gd name="T111" fmla="*/ 5 h 587"/>
                <a:gd name="T112" fmla="*/ 2358 w 1239"/>
                <a:gd name="T113" fmla="*/ 0 h 587"/>
                <a:gd name="T114" fmla="*/ 2145 w 1239"/>
                <a:gd name="T115" fmla="*/ 5 h 58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39"/>
                <a:gd name="T175" fmla="*/ 0 h 587"/>
                <a:gd name="T176" fmla="*/ 1239 w 1239"/>
                <a:gd name="T177" fmla="*/ 587 h 58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39" h="587">
                  <a:moveTo>
                    <a:pt x="1129" y="14"/>
                  </a:moveTo>
                  <a:lnTo>
                    <a:pt x="1093" y="26"/>
                  </a:lnTo>
                  <a:lnTo>
                    <a:pt x="1061" y="34"/>
                  </a:lnTo>
                  <a:lnTo>
                    <a:pt x="1029" y="46"/>
                  </a:lnTo>
                  <a:lnTo>
                    <a:pt x="997" y="60"/>
                  </a:lnTo>
                  <a:lnTo>
                    <a:pt x="965" y="74"/>
                  </a:lnTo>
                  <a:lnTo>
                    <a:pt x="933" y="86"/>
                  </a:lnTo>
                  <a:lnTo>
                    <a:pt x="901" y="100"/>
                  </a:lnTo>
                  <a:lnTo>
                    <a:pt x="873" y="114"/>
                  </a:lnTo>
                  <a:lnTo>
                    <a:pt x="841" y="125"/>
                  </a:lnTo>
                  <a:lnTo>
                    <a:pt x="814" y="140"/>
                  </a:lnTo>
                  <a:lnTo>
                    <a:pt x="782" y="151"/>
                  </a:lnTo>
                  <a:lnTo>
                    <a:pt x="750" y="165"/>
                  </a:lnTo>
                  <a:lnTo>
                    <a:pt x="722" y="179"/>
                  </a:lnTo>
                  <a:lnTo>
                    <a:pt x="690" y="194"/>
                  </a:lnTo>
                  <a:lnTo>
                    <a:pt x="668" y="208"/>
                  </a:lnTo>
                  <a:lnTo>
                    <a:pt x="636" y="219"/>
                  </a:lnTo>
                  <a:lnTo>
                    <a:pt x="608" y="234"/>
                  </a:lnTo>
                  <a:lnTo>
                    <a:pt x="585" y="251"/>
                  </a:lnTo>
                  <a:lnTo>
                    <a:pt x="553" y="262"/>
                  </a:lnTo>
                  <a:lnTo>
                    <a:pt x="530" y="276"/>
                  </a:lnTo>
                  <a:lnTo>
                    <a:pt x="498" y="288"/>
                  </a:lnTo>
                  <a:lnTo>
                    <a:pt x="476" y="302"/>
                  </a:lnTo>
                  <a:lnTo>
                    <a:pt x="448" y="316"/>
                  </a:lnTo>
                  <a:lnTo>
                    <a:pt x="430" y="330"/>
                  </a:lnTo>
                  <a:lnTo>
                    <a:pt x="403" y="342"/>
                  </a:lnTo>
                  <a:lnTo>
                    <a:pt x="380" y="356"/>
                  </a:lnTo>
                  <a:lnTo>
                    <a:pt x="352" y="367"/>
                  </a:lnTo>
                  <a:lnTo>
                    <a:pt x="329" y="382"/>
                  </a:lnTo>
                  <a:lnTo>
                    <a:pt x="311" y="393"/>
                  </a:lnTo>
                  <a:lnTo>
                    <a:pt x="288" y="404"/>
                  </a:lnTo>
                  <a:lnTo>
                    <a:pt x="270" y="416"/>
                  </a:lnTo>
                  <a:lnTo>
                    <a:pt x="247" y="430"/>
                  </a:lnTo>
                  <a:lnTo>
                    <a:pt x="224" y="441"/>
                  </a:lnTo>
                  <a:lnTo>
                    <a:pt x="206" y="450"/>
                  </a:lnTo>
                  <a:lnTo>
                    <a:pt x="192" y="461"/>
                  </a:lnTo>
                  <a:lnTo>
                    <a:pt x="174" y="473"/>
                  </a:lnTo>
                  <a:lnTo>
                    <a:pt x="160" y="484"/>
                  </a:lnTo>
                  <a:lnTo>
                    <a:pt x="142" y="493"/>
                  </a:lnTo>
                  <a:lnTo>
                    <a:pt x="128" y="504"/>
                  </a:lnTo>
                  <a:lnTo>
                    <a:pt x="115" y="513"/>
                  </a:lnTo>
                  <a:lnTo>
                    <a:pt x="96" y="518"/>
                  </a:lnTo>
                  <a:lnTo>
                    <a:pt x="87" y="530"/>
                  </a:lnTo>
                  <a:lnTo>
                    <a:pt x="73" y="535"/>
                  </a:lnTo>
                  <a:lnTo>
                    <a:pt x="60" y="541"/>
                  </a:lnTo>
                  <a:lnTo>
                    <a:pt x="51" y="550"/>
                  </a:lnTo>
                  <a:lnTo>
                    <a:pt x="41" y="555"/>
                  </a:lnTo>
                  <a:lnTo>
                    <a:pt x="32" y="561"/>
                  </a:lnTo>
                  <a:lnTo>
                    <a:pt x="23" y="567"/>
                  </a:lnTo>
                  <a:lnTo>
                    <a:pt x="14" y="575"/>
                  </a:lnTo>
                  <a:lnTo>
                    <a:pt x="5" y="581"/>
                  </a:lnTo>
                  <a:lnTo>
                    <a:pt x="0" y="584"/>
                  </a:lnTo>
                  <a:lnTo>
                    <a:pt x="0" y="587"/>
                  </a:lnTo>
                  <a:lnTo>
                    <a:pt x="0" y="584"/>
                  </a:lnTo>
                  <a:lnTo>
                    <a:pt x="14" y="581"/>
                  </a:lnTo>
                  <a:lnTo>
                    <a:pt x="23" y="575"/>
                  </a:lnTo>
                  <a:lnTo>
                    <a:pt x="41" y="564"/>
                  </a:lnTo>
                  <a:lnTo>
                    <a:pt x="51" y="555"/>
                  </a:lnTo>
                  <a:lnTo>
                    <a:pt x="64" y="550"/>
                  </a:lnTo>
                  <a:lnTo>
                    <a:pt x="73" y="541"/>
                  </a:lnTo>
                  <a:lnTo>
                    <a:pt x="92" y="535"/>
                  </a:lnTo>
                  <a:lnTo>
                    <a:pt x="105" y="524"/>
                  </a:lnTo>
                  <a:lnTo>
                    <a:pt x="119" y="518"/>
                  </a:lnTo>
                  <a:lnTo>
                    <a:pt x="137" y="507"/>
                  </a:lnTo>
                  <a:lnTo>
                    <a:pt x="156" y="498"/>
                  </a:lnTo>
                  <a:lnTo>
                    <a:pt x="174" y="490"/>
                  </a:lnTo>
                  <a:lnTo>
                    <a:pt x="192" y="481"/>
                  </a:lnTo>
                  <a:lnTo>
                    <a:pt x="211" y="470"/>
                  </a:lnTo>
                  <a:lnTo>
                    <a:pt x="238" y="461"/>
                  </a:lnTo>
                  <a:lnTo>
                    <a:pt x="256" y="450"/>
                  </a:lnTo>
                  <a:lnTo>
                    <a:pt x="275" y="439"/>
                  </a:lnTo>
                  <a:lnTo>
                    <a:pt x="302" y="427"/>
                  </a:lnTo>
                  <a:lnTo>
                    <a:pt x="325" y="416"/>
                  </a:lnTo>
                  <a:lnTo>
                    <a:pt x="343" y="404"/>
                  </a:lnTo>
                  <a:lnTo>
                    <a:pt x="371" y="393"/>
                  </a:lnTo>
                  <a:lnTo>
                    <a:pt x="393" y="382"/>
                  </a:lnTo>
                  <a:lnTo>
                    <a:pt x="421" y="370"/>
                  </a:lnTo>
                  <a:lnTo>
                    <a:pt x="448" y="356"/>
                  </a:lnTo>
                  <a:lnTo>
                    <a:pt x="476" y="347"/>
                  </a:lnTo>
                  <a:lnTo>
                    <a:pt x="494" y="333"/>
                  </a:lnTo>
                  <a:lnTo>
                    <a:pt x="526" y="322"/>
                  </a:lnTo>
                  <a:lnTo>
                    <a:pt x="549" y="310"/>
                  </a:lnTo>
                  <a:lnTo>
                    <a:pt x="576" y="299"/>
                  </a:lnTo>
                  <a:lnTo>
                    <a:pt x="604" y="285"/>
                  </a:lnTo>
                  <a:lnTo>
                    <a:pt x="631" y="273"/>
                  </a:lnTo>
                  <a:lnTo>
                    <a:pt x="654" y="262"/>
                  </a:lnTo>
                  <a:lnTo>
                    <a:pt x="681" y="251"/>
                  </a:lnTo>
                  <a:lnTo>
                    <a:pt x="709" y="236"/>
                  </a:lnTo>
                  <a:lnTo>
                    <a:pt x="741" y="228"/>
                  </a:lnTo>
                  <a:lnTo>
                    <a:pt x="759" y="214"/>
                  </a:lnTo>
                  <a:lnTo>
                    <a:pt x="786" y="202"/>
                  </a:lnTo>
                  <a:lnTo>
                    <a:pt x="814" y="188"/>
                  </a:lnTo>
                  <a:lnTo>
                    <a:pt x="841" y="179"/>
                  </a:lnTo>
                  <a:lnTo>
                    <a:pt x="864" y="165"/>
                  </a:lnTo>
                  <a:lnTo>
                    <a:pt x="892" y="154"/>
                  </a:lnTo>
                  <a:lnTo>
                    <a:pt x="910" y="142"/>
                  </a:lnTo>
                  <a:lnTo>
                    <a:pt x="937" y="134"/>
                  </a:lnTo>
                  <a:lnTo>
                    <a:pt x="960" y="123"/>
                  </a:lnTo>
                  <a:lnTo>
                    <a:pt x="983" y="111"/>
                  </a:lnTo>
                  <a:lnTo>
                    <a:pt x="1006" y="103"/>
                  </a:lnTo>
                  <a:lnTo>
                    <a:pt x="1029" y="91"/>
                  </a:lnTo>
                  <a:lnTo>
                    <a:pt x="1051" y="83"/>
                  </a:lnTo>
                  <a:lnTo>
                    <a:pt x="1070" y="74"/>
                  </a:lnTo>
                  <a:lnTo>
                    <a:pt x="1088" y="66"/>
                  </a:lnTo>
                  <a:lnTo>
                    <a:pt x="1111" y="57"/>
                  </a:lnTo>
                  <a:lnTo>
                    <a:pt x="1129" y="48"/>
                  </a:lnTo>
                  <a:lnTo>
                    <a:pt x="1143" y="40"/>
                  </a:lnTo>
                  <a:lnTo>
                    <a:pt x="1157" y="34"/>
                  </a:lnTo>
                  <a:lnTo>
                    <a:pt x="1175" y="26"/>
                  </a:lnTo>
                  <a:lnTo>
                    <a:pt x="1189" y="20"/>
                  </a:lnTo>
                  <a:lnTo>
                    <a:pt x="1202" y="14"/>
                  </a:lnTo>
                  <a:lnTo>
                    <a:pt x="1216" y="9"/>
                  </a:lnTo>
                  <a:lnTo>
                    <a:pt x="1230" y="3"/>
                  </a:lnTo>
                  <a:lnTo>
                    <a:pt x="1239" y="0"/>
                  </a:lnTo>
                  <a:lnTo>
                    <a:pt x="1129" y="1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05" name="Freeform 195"/>
            <p:cNvSpPr>
              <a:spLocks/>
            </p:cNvSpPr>
            <p:nvPr>
              <p:custDataLst>
                <p:tags r:id="rId104"/>
              </p:custDataLst>
            </p:nvPr>
          </p:nvSpPr>
          <p:spPr bwMode="gray">
            <a:xfrm>
              <a:off x="1799" y="813"/>
              <a:ext cx="740" cy="393"/>
            </a:xfrm>
            <a:custGeom>
              <a:avLst/>
              <a:gdLst>
                <a:gd name="T0" fmla="*/ 1112 w 722"/>
                <a:gd name="T1" fmla="*/ 5 h 430"/>
                <a:gd name="T2" fmla="*/ 1034 w 722"/>
                <a:gd name="T3" fmla="*/ 5 h 430"/>
                <a:gd name="T4" fmla="*/ 962 w 722"/>
                <a:gd name="T5" fmla="*/ 7 h 430"/>
                <a:gd name="T6" fmla="*/ 894 w 722"/>
                <a:gd name="T7" fmla="*/ 10 h 430"/>
                <a:gd name="T8" fmla="*/ 831 w 722"/>
                <a:gd name="T9" fmla="*/ 12 h 430"/>
                <a:gd name="T10" fmla="*/ 764 w 722"/>
                <a:gd name="T11" fmla="*/ 14 h 430"/>
                <a:gd name="T12" fmla="*/ 700 w 722"/>
                <a:gd name="T13" fmla="*/ 15 h 430"/>
                <a:gd name="T14" fmla="*/ 643 w 722"/>
                <a:gd name="T15" fmla="*/ 16 h 430"/>
                <a:gd name="T16" fmla="*/ 582 w 722"/>
                <a:gd name="T17" fmla="*/ 19 h 430"/>
                <a:gd name="T18" fmla="*/ 520 w 722"/>
                <a:gd name="T19" fmla="*/ 21 h 430"/>
                <a:gd name="T20" fmla="*/ 459 w 722"/>
                <a:gd name="T21" fmla="*/ 23 h 430"/>
                <a:gd name="T22" fmla="*/ 416 w 722"/>
                <a:gd name="T23" fmla="*/ 24 h 430"/>
                <a:gd name="T24" fmla="*/ 364 w 722"/>
                <a:gd name="T25" fmla="*/ 26 h 430"/>
                <a:gd name="T26" fmla="*/ 321 w 722"/>
                <a:gd name="T27" fmla="*/ 28 h 430"/>
                <a:gd name="T28" fmla="*/ 271 w 722"/>
                <a:gd name="T29" fmla="*/ 29 h 430"/>
                <a:gd name="T30" fmla="*/ 223 w 722"/>
                <a:gd name="T31" fmla="*/ 31 h 430"/>
                <a:gd name="T32" fmla="*/ 191 w 722"/>
                <a:gd name="T33" fmla="*/ 33 h 430"/>
                <a:gd name="T34" fmla="*/ 153 w 722"/>
                <a:gd name="T35" fmla="*/ 34 h 430"/>
                <a:gd name="T36" fmla="*/ 123 w 722"/>
                <a:gd name="T37" fmla="*/ 34 h 430"/>
                <a:gd name="T38" fmla="*/ 91 w 722"/>
                <a:gd name="T39" fmla="*/ 37 h 430"/>
                <a:gd name="T40" fmla="*/ 58 w 722"/>
                <a:gd name="T41" fmla="*/ 37 h 430"/>
                <a:gd name="T42" fmla="*/ 14 w 722"/>
                <a:gd name="T43" fmla="*/ 40 h 430"/>
                <a:gd name="T44" fmla="*/ 0 w 722"/>
                <a:gd name="T45" fmla="*/ 40 h 430"/>
                <a:gd name="T46" fmla="*/ 4 w 722"/>
                <a:gd name="T47" fmla="*/ 41 h 430"/>
                <a:gd name="T48" fmla="*/ 18 w 722"/>
                <a:gd name="T49" fmla="*/ 40 h 430"/>
                <a:gd name="T50" fmla="*/ 83 w 722"/>
                <a:gd name="T51" fmla="*/ 39 h 430"/>
                <a:gd name="T52" fmla="*/ 137 w 722"/>
                <a:gd name="T53" fmla="*/ 37 h 430"/>
                <a:gd name="T54" fmla="*/ 171 w 722"/>
                <a:gd name="T55" fmla="*/ 37 h 430"/>
                <a:gd name="T56" fmla="*/ 223 w 722"/>
                <a:gd name="T57" fmla="*/ 36 h 430"/>
                <a:gd name="T58" fmla="*/ 259 w 722"/>
                <a:gd name="T59" fmla="*/ 34 h 430"/>
                <a:gd name="T60" fmla="*/ 301 w 722"/>
                <a:gd name="T61" fmla="*/ 33 h 430"/>
                <a:gd name="T62" fmla="*/ 355 w 722"/>
                <a:gd name="T63" fmla="*/ 31 h 430"/>
                <a:gd name="T64" fmla="*/ 416 w 722"/>
                <a:gd name="T65" fmla="*/ 28 h 430"/>
                <a:gd name="T66" fmla="*/ 459 w 722"/>
                <a:gd name="T67" fmla="*/ 28 h 430"/>
                <a:gd name="T68" fmla="*/ 520 w 722"/>
                <a:gd name="T69" fmla="*/ 26 h 430"/>
                <a:gd name="T70" fmla="*/ 582 w 722"/>
                <a:gd name="T71" fmla="*/ 24 h 430"/>
                <a:gd name="T72" fmla="*/ 643 w 722"/>
                <a:gd name="T73" fmla="*/ 22 h 430"/>
                <a:gd name="T74" fmla="*/ 696 w 722"/>
                <a:gd name="T75" fmla="*/ 20 h 430"/>
                <a:gd name="T76" fmla="*/ 753 w 722"/>
                <a:gd name="T77" fmla="*/ 18 h 430"/>
                <a:gd name="T78" fmla="*/ 816 w 722"/>
                <a:gd name="T79" fmla="*/ 16 h 430"/>
                <a:gd name="T80" fmla="*/ 876 w 722"/>
                <a:gd name="T81" fmla="*/ 15 h 430"/>
                <a:gd name="T82" fmla="*/ 924 w 722"/>
                <a:gd name="T83" fmla="*/ 14 h 430"/>
                <a:gd name="T84" fmla="*/ 981 w 722"/>
                <a:gd name="T85" fmla="*/ 12 h 430"/>
                <a:gd name="T86" fmla="*/ 1038 w 722"/>
                <a:gd name="T87" fmla="*/ 10 h 430"/>
                <a:gd name="T88" fmla="*/ 1091 w 722"/>
                <a:gd name="T89" fmla="*/ 8 h 430"/>
                <a:gd name="T90" fmla="*/ 1143 w 722"/>
                <a:gd name="T91" fmla="*/ 6 h 430"/>
                <a:gd name="T92" fmla="*/ 1187 w 722"/>
                <a:gd name="T93" fmla="*/ 5 h 430"/>
                <a:gd name="T94" fmla="*/ 1238 w 722"/>
                <a:gd name="T95" fmla="*/ 5 h 430"/>
                <a:gd name="T96" fmla="*/ 1284 w 722"/>
                <a:gd name="T97" fmla="*/ 5 h 430"/>
                <a:gd name="T98" fmla="*/ 1319 w 722"/>
                <a:gd name="T99" fmla="*/ 5 h 430"/>
                <a:gd name="T100" fmla="*/ 1367 w 722"/>
                <a:gd name="T101" fmla="*/ 0 h 430"/>
                <a:gd name="T102" fmla="*/ 1143 w 722"/>
                <a:gd name="T103" fmla="*/ 5 h 43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22"/>
                <a:gd name="T157" fmla="*/ 0 h 430"/>
                <a:gd name="T158" fmla="*/ 722 w 722"/>
                <a:gd name="T159" fmla="*/ 430 h 43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22" h="430">
                  <a:moveTo>
                    <a:pt x="603" y="29"/>
                  </a:moveTo>
                  <a:lnTo>
                    <a:pt x="585" y="37"/>
                  </a:lnTo>
                  <a:lnTo>
                    <a:pt x="567" y="46"/>
                  </a:lnTo>
                  <a:lnTo>
                    <a:pt x="544" y="57"/>
                  </a:lnTo>
                  <a:lnTo>
                    <a:pt x="525" y="66"/>
                  </a:lnTo>
                  <a:lnTo>
                    <a:pt x="507" y="77"/>
                  </a:lnTo>
                  <a:lnTo>
                    <a:pt x="489" y="89"/>
                  </a:lnTo>
                  <a:lnTo>
                    <a:pt x="471" y="97"/>
                  </a:lnTo>
                  <a:lnTo>
                    <a:pt x="457" y="109"/>
                  </a:lnTo>
                  <a:lnTo>
                    <a:pt x="439" y="117"/>
                  </a:lnTo>
                  <a:lnTo>
                    <a:pt x="420" y="129"/>
                  </a:lnTo>
                  <a:lnTo>
                    <a:pt x="402" y="137"/>
                  </a:lnTo>
                  <a:lnTo>
                    <a:pt x="388" y="148"/>
                  </a:lnTo>
                  <a:lnTo>
                    <a:pt x="370" y="157"/>
                  </a:lnTo>
                  <a:lnTo>
                    <a:pt x="352" y="168"/>
                  </a:lnTo>
                  <a:lnTo>
                    <a:pt x="338" y="177"/>
                  </a:lnTo>
                  <a:lnTo>
                    <a:pt x="320" y="188"/>
                  </a:lnTo>
                  <a:lnTo>
                    <a:pt x="306" y="197"/>
                  </a:lnTo>
                  <a:lnTo>
                    <a:pt x="288" y="205"/>
                  </a:lnTo>
                  <a:lnTo>
                    <a:pt x="274" y="217"/>
                  </a:lnTo>
                  <a:lnTo>
                    <a:pt x="260" y="225"/>
                  </a:lnTo>
                  <a:lnTo>
                    <a:pt x="242" y="234"/>
                  </a:lnTo>
                  <a:lnTo>
                    <a:pt x="233" y="242"/>
                  </a:lnTo>
                  <a:lnTo>
                    <a:pt x="219" y="254"/>
                  </a:lnTo>
                  <a:lnTo>
                    <a:pt x="206" y="262"/>
                  </a:lnTo>
                  <a:lnTo>
                    <a:pt x="192" y="271"/>
                  </a:lnTo>
                  <a:lnTo>
                    <a:pt x="178" y="279"/>
                  </a:lnTo>
                  <a:lnTo>
                    <a:pt x="169" y="288"/>
                  </a:lnTo>
                  <a:lnTo>
                    <a:pt x="155" y="297"/>
                  </a:lnTo>
                  <a:lnTo>
                    <a:pt x="142" y="305"/>
                  </a:lnTo>
                  <a:lnTo>
                    <a:pt x="132" y="314"/>
                  </a:lnTo>
                  <a:lnTo>
                    <a:pt x="119" y="322"/>
                  </a:lnTo>
                  <a:lnTo>
                    <a:pt x="114" y="331"/>
                  </a:lnTo>
                  <a:lnTo>
                    <a:pt x="100" y="336"/>
                  </a:lnTo>
                  <a:lnTo>
                    <a:pt x="91" y="345"/>
                  </a:lnTo>
                  <a:lnTo>
                    <a:pt x="82" y="351"/>
                  </a:lnTo>
                  <a:lnTo>
                    <a:pt x="73" y="356"/>
                  </a:lnTo>
                  <a:lnTo>
                    <a:pt x="64" y="362"/>
                  </a:lnTo>
                  <a:lnTo>
                    <a:pt x="55" y="368"/>
                  </a:lnTo>
                  <a:lnTo>
                    <a:pt x="50" y="376"/>
                  </a:lnTo>
                  <a:lnTo>
                    <a:pt x="46" y="382"/>
                  </a:lnTo>
                  <a:lnTo>
                    <a:pt x="32" y="391"/>
                  </a:lnTo>
                  <a:lnTo>
                    <a:pt x="18" y="402"/>
                  </a:lnTo>
                  <a:lnTo>
                    <a:pt x="14" y="408"/>
                  </a:lnTo>
                  <a:lnTo>
                    <a:pt x="4" y="416"/>
                  </a:lnTo>
                  <a:lnTo>
                    <a:pt x="0" y="425"/>
                  </a:lnTo>
                  <a:lnTo>
                    <a:pt x="0" y="430"/>
                  </a:lnTo>
                  <a:lnTo>
                    <a:pt x="4" y="428"/>
                  </a:lnTo>
                  <a:lnTo>
                    <a:pt x="14" y="425"/>
                  </a:lnTo>
                  <a:lnTo>
                    <a:pt x="18" y="419"/>
                  </a:lnTo>
                  <a:lnTo>
                    <a:pt x="36" y="413"/>
                  </a:lnTo>
                  <a:lnTo>
                    <a:pt x="46" y="405"/>
                  </a:lnTo>
                  <a:lnTo>
                    <a:pt x="64" y="396"/>
                  </a:lnTo>
                  <a:lnTo>
                    <a:pt x="73" y="391"/>
                  </a:lnTo>
                  <a:lnTo>
                    <a:pt x="82" y="385"/>
                  </a:lnTo>
                  <a:lnTo>
                    <a:pt x="91" y="379"/>
                  </a:lnTo>
                  <a:lnTo>
                    <a:pt x="105" y="373"/>
                  </a:lnTo>
                  <a:lnTo>
                    <a:pt x="119" y="368"/>
                  </a:lnTo>
                  <a:lnTo>
                    <a:pt x="128" y="356"/>
                  </a:lnTo>
                  <a:lnTo>
                    <a:pt x="137" y="353"/>
                  </a:lnTo>
                  <a:lnTo>
                    <a:pt x="151" y="345"/>
                  </a:lnTo>
                  <a:lnTo>
                    <a:pt x="160" y="336"/>
                  </a:lnTo>
                  <a:lnTo>
                    <a:pt x="174" y="328"/>
                  </a:lnTo>
                  <a:lnTo>
                    <a:pt x="187" y="319"/>
                  </a:lnTo>
                  <a:lnTo>
                    <a:pt x="206" y="314"/>
                  </a:lnTo>
                  <a:lnTo>
                    <a:pt x="219" y="302"/>
                  </a:lnTo>
                  <a:lnTo>
                    <a:pt x="233" y="297"/>
                  </a:lnTo>
                  <a:lnTo>
                    <a:pt x="242" y="285"/>
                  </a:lnTo>
                  <a:lnTo>
                    <a:pt x="260" y="277"/>
                  </a:lnTo>
                  <a:lnTo>
                    <a:pt x="274" y="268"/>
                  </a:lnTo>
                  <a:lnTo>
                    <a:pt x="292" y="260"/>
                  </a:lnTo>
                  <a:lnTo>
                    <a:pt x="306" y="248"/>
                  </a:lnTo>
                  <a:lnTo>
                    <a:pt x="320" y="240"/>
                  </a:lnTo>
                  <a:lnTo>
                    <a:pt x="338" y="228"/>
                  </a:lnTo>
                  <a:lnTo>
                    <a:pt x="352" y="220"/>
                  </a:lnTo>
                  <a:lnTo>
                    <a:pt x="366" y="211"/>
                  </a:lnTo>
                  <a:lnTo>
                    <a:pt x="384" y="205"/>
                  </a:lnTo>
                  <a:lnTo>
                    <a:pt x="398" y="194"/>
                  </a:lnTo>
                  <a:lnTo>
                    <a:pt x="416" y="185"/>
                  </a:lnTo>
                  <a:lnTo>
                    <a:pt x="430" y="174"/>
                  </a:lnTo>
                  <a:lnTo>
                    <a:pt x="448" y="166"/>
                  </a:lnTo>
                  <a:lnTo>
                    <a:pt x="462" y="154"/>
                  </a:lnTo>
                  <a:lnTo>
                    <a:pt x="480" y="146"/>
                  </a:lnTo>
                  <a:lnTo>
                    <a:pt x="489" y="137"/>
                  </a:lnTo>
                  <a:lnTo>
                    <a:pt x="507" y="129"/>
                  </a:lnTo>
                  <a:lnTo>
                    <a:pt x="516" y="117"/>
                  </a:lnTo>
                  <a:lnTo>
                    <a:pt x="535" y="109"/>
                  </a:lnTo>
                  <a:lnTo>
                    <a:pt x="548" y="100"/>
                  </a:lnTo>
                  <a:lnTo>
                    <a:pt x="567" y="94"/>
                  </a:lnTo>
                  <a:lnTo>
                    <a:pt x="576" y="83"/>
                  </a:lnTo>
                  <a:lnTo>
                    <a:pt x="589" y="77"/>
                  </a:lnTo>
                  <a:lnTo>
                    <a:pt x="603" y="69"/>
                  </a:lnTo>
                  <a:lnTo>
                    <a:pt x="617" y="60"/>
                  </a:lnTo>
                  <a:lnTo>
                    <a:pt x="626" y="54"/>
                  </a:lnTo>
                  <a:lnTo>
                    <a:pt x="640" y="46"/>
                  </a:lnTo>
                  <a:lnTo>
                    <a:pt x="653" y="40"/>
                  </a:lnTo>
                  <a:lnTo>
                    <a:pt x="663" y="35"/>
                  </a:lnTo>
                  <a:lnTo>
                    <a:pt x="676" y="26"/>
                  </a:lnTo>
                  <a:lnTo>
                    <a:pt x="685" y="20"/>
                  </a:lnTo>
                  <a:lnTo>
                    <a:pt x="695" y="12"/>
                  </a:lnTo>
                  <a:lnTo>
                    <a:pt x="704" y="9"/>
                  </a:lnTo>
                  <a:lnTo>
                    <a:pt x="722" y="0"/>
                  </a:lnTo>
                  <a:lnTo>
                    <a:pt x="603" y="2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06" name="Freeform 196"/>
            <p:cNvSpPr>
              <a:spLocks/>
            </p:cNvSpPr>
            <p:nvPr>
              <p:custDataLst>
                <p:tags r:id="rId105"/>
              </p:custDataLst>
            </p:nvPr>
          </p:nvSpPr>
          <p:spPr bwMode="gray">
            <a:xfrm>
              <a:off x="2900" y="679"/>
              <a:ext cx="1128" cy="487"/>
            </a:xfrm>
            <a:custGeom>
              <a:avLst/>
              <a:gdLst>
                <a:gd name="T0" fmla="*/ 317 w 1101"/>
                <a:gd name="T1" fmla="*/ 5 h 533"/>
                <a:gd name="T2" fmla="*/ 446 w 1101"/>
                <a:gd name="T3" fmla="*/ 8 h 533"/>
                <a:gd name="T4" fmla="*/ 584 w 1101"/>
                <a:gd name="T5" fmla="*/ 11 h 533"/>
                <a:gd name="T6" fmla="*/ 711 w 1101"/>
                <a:gd name="T7" fmla="*/ 14 h 533"/>
                <a:gd name="T8" fmla="*/ 848 w 1101"/>
                <a:gd name="T9" fmla="*/ 16 h 533"/>
                <a:gd name="T10" fmla="*/ 986 w 1101"/>
                <a:gd name="T11" fmla="*/ 20 h 533"/>
                <a:gd name="T12" fmla="*/ 1115 w 1101"/>
                <a:gd name="T13" fmla="*/ 24 h 533"/>
                <a:gd name="T14" fmla="*/ 1238 w 1101"/>
                <a:gd name="T15" fmla="*/ 26 h 533"/>
                <a:gd name="T16" fmla="*/ 1345 w 1101"/>
                <a:gd name="T17" fmla="*/ 30 h 533"/>
                <a:gd name="T18" fmla="*/ 1467 w 1101"/>
                <a:gd name="T19" fmla="*/ 34 h 533"/>
                <a:gd name="T20" fmla="*/ 1579 w 1101"/>
                <a:gd name="T21" fmla="*/ 37 h 533"/>
                <a:gd name="T22" fmla="*/ 1672 w 1101"/>
                <a:gd name="T23" fmla="*/ 38 h 533"/>
                <a:gd name="T24" fmla="*/ 1760 w 1101"/>
                <a:gd name="T25" fmla="*/ 40 h 533"/>
                <a:gd name="T26" fmla="*/ 1844 w 1101"/>
                <a:gd name="T27" fmla="*/ 44 h 533"/>
                <a:gd name="T28" fmla="*/ 1923 w 1101"/>
                <a:gd name="T29" fmla="*/ 45 h 533"/>
                <a:gd name="T30" fmla="*/ 1973 w 1101"/>
                <a:gd name="T31" fmla="*/ 48 h 533"/>
                <a:gd name="T32" fmla="*/ 2041 w 1101"/>
                <a:gd name="T33" fmla="*/ 48 h 533"/>
                <a:gd name="T34" fmla="*/ 2067 w 1101"/>
                <a:gd name="T35" fmla="*/ 51 h 533"/>
                <a:gd name="T36" fmla="*/ 2023 w 1101"/>
                <a:gd name="T37" fmla="*/ 49 h 533"/>
                <a:gd name="T38" fmla="*/ 1982 w 1101"/>
                <a:gd name="T39" fmla="*/ 48 h 533"/>
                <a:gd name="T40" fmla="*/ 1917 w 1101"/>
                <a:gd name="T41" fmla="*/ 48 h 533"/>
                <a:gd name="T42" fmla="*/ 1828 w 1101"/>
                <a:gd name="T43" fmla="*/ 44 h 533"/>
                <a:gd name="T44" fmla="*/ 1743 w 1101"/>
                <a:gd name="T45" fmla="*/ 44 h 533"/>
                <a:gd name="T46" fmla="*/ 1638 w 1101"/>
                <a:gd name="T47" fmla="*/ 40 h 533"/>
                <a:gd name="T48" fmla="*/ 1526 w 1101"/>
                <a:gd name="T49" fmla="*/ 37 h 533"/>
                <a:gd name="T50" fmla="*/ 1406 w 1101"/>
                <a:gd name="T51" fmla="*/ 34 h 533"/>
                <a:gd name="T52" fmla="*/ 1278 w 1101"/>
                <a:gd name="T53" fmla="*/ 31 h 533"/>
                <a:gd name="T54" fmla="*/ 1140 w 1101"/>
                <a:gd name="T55" fmla="*/ 28 h 533"/>
                <a:gd name="T56" fmla="*/ 1012 w 1101"/>
                <a:gd name="T57" fmla="*/ 26 h 533"/>
                <a:gd name="T58" fmla="*/ 875 w 1101"/>
                <a:gd name="T59" fmla="*/ 23 h 533"/>
                <a:gd name="T60" fmla="*/ 756 w 1101"/>
                <a:gd name="T61" fmla="*/ 20 h 533"/>
                <a:gd name="T62" fmla="*/ 626 w 1101"/>
                <a:gd name="T63" fmla="*/ 16 h 533"/>
                <a:gd name="T64" fmla="*/ 507 w 1101"/>
                <a:gd name="T65" fmla="*/ 14 h 533"/>
                <a:gd name="T66" fmla="*/ 394 w 1101"/>
                <a:gd name="T67" fmla="*/ 11 h 533"/>
                <a:gd name="T68" fmla="*/ 290 w 1101"/>
                <a:gd name="T69" fmla="*/ 9 h 533"/>
                <a:gd name="T70" fmla="*/ 199 w 1101"/>
                <a:gd name="T71" fmla="*/ 5 h 533"/>
                <a:gd name="T72" fmla="*/ 129 w 1101"/>
                <a:gd name="T73" fmla="*/ 5 h 533"/>
                <a:gd name="T74" fmla="*/ 58 w 1101"/>
                <a:gd name="T75" fmla="*/ 5 h 533"/>
                <a:gd name="T76" fmla="*/ 9 w 1101"/>
                <a:gd name="T77" fmla="*/ 5 h 533"/>
                <a:gd name="T78" fmla="*/ 0 w 1101"/>
                <a:gd name="T79" fmla="*/ 0 h 533"/>
                <a:gd name="T80" fmla="*/ 53 w 1101"/>
                <a:gd name="T81" fmla="*/ 3 h 533"/>
                <a:gd name="T82" fmla="*/ 129 w 1101"/>
                <a:gd name="T83" fmla="*/ 5 h 533"/>
                <a:gd name="T84" fmla="*/ 189 w 1101"/>
                <a:gd name="T85" fmla="*/ 5 h 533"/>
                <a:gd name="T86" fmla="*/ 229 w 1101"/>
                <a:gd name="T87" fmla="*/ 5 h 53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01"/>
                <a:gd name="T133" fmla="*/ 0 h 533"/>
                <a:gd name="T134" fmla="*/ 1101 w 1101"/>
                <a:gd name="T135" fmla="*/ 533 h 53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01" h="533">
                  <a:moveTo>
                    <a:pt x="128" y="37"/>
                  </a:moveTo>
                  <a:lnTo>
                    <a:pt x="151" y="46"/>
                  </a:lnTo>
                  <a:lnTo>
                    <a:pt x="169" y="54"/>
                  </a:lnTo>
                  <a:lnTo>
                    <a:pt x="192" y="63"/>
                  </a:lnTo>
                  <a:lnTo>
                    <a:pt x="215" y="74"/>
                  </a:lnTo>
                  <a:lnTo>
                    <a:pt x="238" y="83"/>
                  </a:lnTo>
                  <a:lnTo>
                    <a:pt x="265" y="91"/>
                  </a:lnTo>
                  <a:lnTo>
                    <a:pt x="283" y="103"/>
                  </a:lnTo>
                  <a:lnTo>
                    <a:pt x="311" y="114"/>
                  </a:lnTo>
                  <a:lnTo>
                    <a:pt x="334" y="126"/>
                  </a:lnTo>
                  <a:lnTo>
                    <a:pt x="352" y="137"/>
                  </a:lnTo>
                  <a:lnTo>
                    <a:pt x="379" y="146"/>
                  </a:lnTo>
                  <a:lnTo>
                    <a:pt x="407" y="157"/>
                  </a:lnTo>
                  <a:lnTo>
                    <a:pt x="425" y="165"/>
                  </a:lnTo>
                  <a:lnTo>
                    <a:pt x="452" y="180"/>
                  </a:lnTo>
                  <a:lnTo>
                    <a:pt x="475" y="191"/>
                  </a:lnTo>
                  <a:lnTo>
                    <a:pt x="503" y="202"/>
                  </a:lnTo>
                  <a:lnTo>
                    <a:pt x="525" y="214"/>
                  </a:lnTo>
                  <a:lnTo>
                    <a:pt x="548" y="222"/>
                  </a:lnTo>
                  <a:lnTo>
                    <a:pt x="571" y="237"/>
                  </a:lnTo>
                  <a:lnTo>
                    <a:pt x="594" y="245"/>
                  </a:lnTo>
                  <a:lnTo>
                    <a:pt x="612" y="257"/>
                  </a:lnTo>
                  <a:lnTo>
                    <a:pt x="635" y="268"/>
                  </a:lnTo>
                  <a:lnTo>
                    <a:pt x="658" y="279"/>
                  </a:lnTo>
                  <a:lnTo>
                    <a:pt x="681" y="291"/>
                  </a:lnTo>
                  <a:lnTo>
                    <a:pt x="699" y="299"/>
                  </a:lnTo>
                  <a:lnTo>
                    <a:pt x="717" y="311"/>
                  </a:lnTo>
                  <a:lnTo>
                    <a:pt x="740" y="322"/>
                  </a:lnTo>
                  <a:lnTo>
                    <a:pt x="763" y="333"/>
                  </a:lnTo>
                  <a:lnTo>
                    <a:pt x="781" y="345"/>
                  </a:lnTo>
                  <a:lnTo>
                    <a:pt x="800" y="353"/>
                  </a:lnTo>
                  <a:lnTo>
                    <a:pt x="823" y="365"/>
                  </a:lnTo>
                  <a:lnTo>
                    <a:pt x="841" y="376"/>
                  </a:lnTo>
                  <a:lnTo>
                    <a:pt x="859" y="385"/>
                  </a:lnTo>
                  <a:lnTo>
                    <a:pt x="877" y="393"/>
                  </a:lnTo>
                  <a:lnTo>
                    <a:pt x="891" y="405"/>
                  </a:lnTo>
                  <a:lnTo>
                    <a:pt x="909" y="413"/>
                  </a:lnTo>
                  <a:lnTo>
                    <a:pt x="923" y="422"/>
                  </a:lnTo>
                  <a:lnTo>
                    <a:pt x="937" y="430"/>
                  </a:lnTo>
                  <a:lnTo>
                    <a:pt x="955" y="439"/>
                  </a:lnTo>
                  <a:lnTo>
                    <a:pt x="969" y="450"/>
                  </a:lnTo>
                  <a:lnTo>
                    <a:pt x="982" y="456"/>
                  </a:lnTo>
                  <a:lnTo>
                    <a:pt x="996" y="464"/>
                  </a:lnTo>
                  <a:lnTo>
                    <a:pt x="1010" y="473"/>
                  </a:lnTo>
                  <a:lnTo>
                    <a:pt x="1024" y="479"/>
                  </a:lnTo>
                  <a:lnTo>
                    <a:pt x="1028" y="484"/>
                  </a:lnTo>
                  <a:lnTo>
                    <a:pt x="1042" y="493"/>
                  </a:lnTo>
                  <a:lnTo>
                    <a:pt x="1051" y="499"/>
                  </a:lnTo>
                  <a:lnTo>
                    <a:pt x="1060" y="504"/>
                  </a:lnTo>
                  <a:lnTo>
                    <a:pt x="1078" y="516"/>
                  </a:lnTo>
                  <a:lnTo>
                    <a:pt x="1088" y="521"/>
                  </a:lnTo>
                  <a:lnTo>
                    <a:pt x="1097" y="527"/>
                  </a:lnTo>
                  <a:lnTo>
                    <a:pt x="1101" y="530"/>
                  </a:lnTo>
                  <a:lnTo>
                    <a:pt x="1101" y="533"/>
                  </a:lnTo>
                  <a:lnTo>
                    <a:pt x="1097" y="533"/>
                  </a:lnTo>
                  <a:lnTo>
                    <a:pt x="1092" y="527"/>
                  </a:lnTo>
                  <a:lnTo>
                    <a:pt x="1078" y="524"/>
                  </a:lnTo>
                  <a:lnTo>
                    <a:pt x="1074" y="521"/>
                  </a:lnTo>
                  <a:lnTo>
                    <a:pt x="1065" y="516"/>
                  </a:lnTo>
                  <a:lnTo>
                    <a:pt x="1056" y="510"/>
                  </a:lnTo>
                  <a:lnTo>
                    <a:pt x="1042" y="504"/>
                  </a:lnTo>
                  <a:lnTo>
                    <a:pt x="1033" y="501"/>
                  </a:lnTo>
                  <a:lnTo>
                    <a:pt x="1019" y="493"/>
                  </a:lnTo>
                  <a:lnTo>
                    <a:pt x="1005" y="487"/>
                  </a:lnTo>
                  <a:lnTo>
                    <a:pt x="992" y="482"/>
                  </a:lnTo>
                  <a:lnTo>
                    <a:pt x="973" y="473"/>
                  </a:lnTo>
                  <a:lnTo>
                    <a:pt x="960" y="467"/>
                  </a:lnTo>
                  <a:lnTo>
                    <a:pt x="941" y="459"/>
                  </a:lnTo>
                  <a:lnTo>
                    <a:pt x="928" y="450"/>
                  </a:lnTo>
                  <a:lnTo>
                    <a:pt x="909" y="442"/>
                  </a:lnTo>
                  <a:lnTo>
                    <a:pt x="891" y="433"/>
                  </a:lnTo>
                  <a:lnTo>
                    <a:pt x="873" y="425"/>
                  </a:lnTo>
                  <a:lnTo>
                    <a:pt x="855" y="416"/>
                  </a:lnTo>
                  <a:lnTo>
                    <a:pt x="832" y="405"/>
                  </a:lnTo>
                  <a:lnTo>
                    <a:pt x="813" y="393"/>
                  </a:lnTo>
                  <a:lnTo>
                    <a:pt x="791" y="385"/>
                  </a:lnTo>
                  <a:lnTo>
                    <a:pt x="768" y="376"/>
                  </a:lnTo>
                  <a:lnTo>
                    <a:pt x="749" y="365"/>
                  </a:lnTo>
                  <a:lnTo>
                    <a:pt x="722" y="353"/>
                  </a:lnTo>
                  <a:lnTo>
                    <a:pt x="699" y="342"/>
                  </a:lnTo>
                  <a:lnTo>
                    <a:pt x="681" y="333"/>
                  </a:lnTo>
                  <a:lnTo>
                    <a:pt x="658" y="322"/>
                  </a:lnTo>
                  <a:lnTo>
                    <a:pt x="631" y="311"/>
                  </a:lnTo>
                  <a:lnTo>
                    <a:pt x="608" y="299"/>
                  </a:lnTo>
                  <a:lnTo>
                    <a:pt x="589" y="291"/>
                  </a:lnTo>
                  <a:lnTo>
                    <a:pt x="562" y="279"/>
                  </a:lnTo>
                  <a:lnTo>
                    <a:pt x="539" y="268"/>
                  </a:lnTo>
                  <a:lnTo>
                    <a:pt x="516" y="257"/>
                  </a:lnTo>
                  <a:lnTo>
                    <a:pt x="493" y="248"/>
                  </a:lnTo>
                  <a:lnTo>
                    <a:pt x="466" y="237"/>
                  </a:lnTo>
                  <a:lnTo>
                    <a:pt x="443" y="225"/>
                  </a:lnTo>
                  <a:lnTo>
                    <a:pt x="425" y="214"/>
                  </a:lnTo>
                  <a:lnTo>
                    <a:pt x="402" y="202"/>
                  </a:lnTo>
                  <a:lnTo>
                    <a:pt x="375" y="194"/>
                  </a:lnTo>
                  <a:lnTo>
                    <a:pt x="352" y="183"/>
                  </a:lnTo>
                  <a:lnTo>
                    <a:pt x="334" y="171"/>
                  </a:lnTo>
                  <a:lnTo>
                    <a:pt x="315" y="160"/>
                  </a:lnTo>
                  <a:lnTo>
                    <a:pt x="292" y="151"/>
                  </a:lnTo>
                  <a:lnTo>
                    <a:pt x="270" y="140"/>
                  </a:lnTo>
                  <a:lnTo>
                    <a:pt x="247" y="128"/>
                  </a:lnTo>
                  <a:lnTo>
                    <a:pt x="228" y="123"/>
                  </a:lnTo>
                  <a:lnTo>
                    <a:pt x="210" y="111"/>
                  </a:lnTo>
                  <a:lnTo>
                    <a:pt x="187" y="103"/>
                  </a:lnTo>
                  <a:lnTo>
                    <a:pt x="174" y="94"/>
                  </a:lnTo>
                  <a:lnTo>
                    <a:pt x="155" y="89"/>
                  </a:lnTo>
                  <a:lnTo>
                    <a:pt x="142" y="77"/>
                  </a:lnTo>
                  <a:lnTo>
                    <a:pt x="123" y="69"/>
                  </a:lnTo>
                  <a:lnTo>
                    <a:pt x="105" y="63"/>
                  </a:lnTo>
                  <a:lnTo>
                    <a:pt x="96" y="54"/>
                  </a:lnTo>
                  <a:lnTo>
                    <a:pt x="78" y="49"/>
                  </a:lnTo>
                  <a:lnTo>
                    <a:pt x="68" y="43"/>
                  </a:lnTo>
                  <a:lnTo>
                    <a:pt x="59" y="34"/>
                  </a:lnTo>
                  <a:lnTo>
                    <a:pt x="46" y="32"/>
                  </a:lnTo>
                  <a:lnTo>
                    <a:pt x="32" y="23"/>
                  </a:lnTo>
                  <a:lnTo>
                    <a:pt x="27" y="20"/>
                  </a:lnTo>
                  <a:lnTo>
                    <a:pt x="18" y="17"/>
                  </a:lnTo>
                  <a:lnTo>
                    <a:pt x="9" y="12"/>
                  </a:lnTo>
                  <a:lnTo>
                    <a:pt x="4" y="9"/>
                  </a:lnTo>
                  <a:lnTo>
                    <a:pt x="0" y="3"/>
                  </a:lnTo>
                  <a:lnTo>
                    <a:pt x="0" y="0"/>
                  </a:lnTo>
                  <a:lnTo>
                    <a:pt x="9" y="0"/>
                  </a:lnTo>
                  <a:lnTo>
                    <a:pt x="18" y="0"/>
                  </a:lnTo>
                  <a:lnTo>
                    <a:pt x="27" y="3"/>
                  </a:lnTo>
                  <a:lnTo>
                    <a:pt x="46" y="6"/>
                  </a:lnTo>
                  <a:lnTo>
                    <a:pt x="59" y="12"/>
                  </a:lnTo>
                  <a:lnTo>
                    <a:pt x="68" y="15"/>
                  </a:lnTo>
                  <a:lnTo>
                    <a:pt x="78" y="20"/>
                  </a:lnTo>
                  <a:lnTo>
                    <a:pt x="91" y="23"/>
                  </a:lnTo>
                  <a:lnTo>
                    <a:pt x="100" y="29"/>
                  </a:lnTo>
                  <a:lnTo>
                    <a:pt x="114" y="32"/>
                  </a:lnTo>
                  <a:lnTo>
                    <a:pt x="119" y="34"/>
                  </a:lnTo>
                  <a:lnTo>
                    <a:pt x="123" y="37"/>
                  </a:lnTo>
                  <a:lnTo>
                    <a:pt x="128" y="37"/>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07" name="Freeform 197"/>
            <p:cNvSpPr>
              <a:spLocks/>
            </p:cNvSpPr>
            <p:nvPr>
              <p:custDataLst>
                <p:tags r:id="rId106"/>
              </p:custDataLst>
            </p:nvPr>
          </p:nvSpPr>
          <p:spPr bwMode="gray">
            <a:xfrm>
              <a:off x="1476" y="993"/>
              <a:ext cx="2230" cy="143"/>
            </a:xfrm>
            <a:custGeom>
              <a:avLst/>
              <a:gdLst>
                <a:gd name="T0" fmla="*/ 480 w 2175"/>
                <a:gd name="T1" fmla="*/ 5 h 156"/>
                <a:gd name="T2" fmla="*/ 793 w 2175"/>
                <a:gd name="T3" fmla="*/ 8 h 156"/>
                <a:gd name="T4" fmla="*/ 1102 w 2175"/>
                <a:gd name="T5" fmla="*/ 12 h 156"/>
                <a:gd name="T6" fmla="*/ 1409 w 2175"/>
                <a:gd name="T7" fmla="*/ 14 h 156"/>
                <a:gd name="T8" fmla="*/ 1696 w 2175"/>
                <a:gd name="T9" fmla="*/ 15 h 156"/>
                <a:gd name="T10" fmla="*/ 1984 w 2175"/>
                <a:gd name="T11" fmla="*/ 16 h 156"/>
                <a:gd name="T12" fmla="*/ 2256 w 2175"/>
                <a:gd name="T13" fmla="*/ 16 h 156"/>
                <a:gd name="T14" fmla="*/ 2500 w 2175"/>
                <a:gd name="T15" fmla="*/ 17 h 156"/>
                <a:gd name="T16" fmla="*/ 2744 w 2175"/>
                <a:gd name="T17" fmla="*/ 17 h 156"/>
                <a:gd name="T18" fmla="*/ 2971 w 2175"/>
                <a:gd name="T19" fmla="*/ 17 h 156"/>
                <a:gd name="T20" fmla="*/ 3190 w 2175"/>
                <a:gd name="T21" fmla="*/ 17 h 156"/>
                <a:gd name="T22" fmla="*/ 3383 w 2175"/>
                <a:gd name="T23" fmla="*/ 16 h 156"/>
                <a:gd name="T24" fmla="*/ 3550 w 2175"/>
                <a:gd name="T25" fmla="*/ 16 h 156"/>
                <a:gd name="T26" fmla="*/ 3706 w 2175"/>
                <a:gd name="T27" fmla="*/ 15 h 156"/>
                <a:gd name="T28" fmla="*/ 3850 w 2175"/>
                <a:gd name="T29" fmla="*/ 15 h 156"/>
                <a:gd name="T30" fmla="*/ 3961 w 2175"/>
                <a:gd name="T31" fmla="*/ 14 h 156"/>
                <a:gd name="T32" fmla="*/ 4044 w 2175"/>
                <a:gd name="T33" fmla="*/ 13 h 156"/>
                <a:gd name="T34" fmla="*/ 4112 w 2175"/>
                <a:gd name="T35" fmla="*/ 13 h 156"/>
                <a:gd name="T36" fmla="*/ 4153 w 2175"/>
                <a:gd name="T37" fmla="*/ 13 h 156"/>
                <a:gd name="T38" fmla="*/ 4127 w 2175"/>
                <a:gd name="T39" fmla="*/ 12 h 156"/>
                <a:gd name="T40" fmla="*/ 4064 w 2175"/>
                <a:gd name="T41" fmla="*/ 12 h 156"/>
                <a:gd name="T42" fmla="*/ 3997 w 2175"/>
                <a:gd name="T43" fmla="*/ 13 h 156"/>
                <a:gd name="T44" fmla="*/ 3926 w 2175"/>
                <a:gd name="T45" fmla="*/ 13 h 156"/>
                <a:gd name="T46" fmla="*/ 3841 w 2175"/>
                <a:gd name="T47" fmla="*/ 13 h 156"/>
                <a:gd name="T48" fmla="*/ 3743 w 2175"/>
                <a:gd name="T49" fmla="*/ 13 h 156"/>
                <a:gd name="T50" fmla="*/ 3639 w 2175"/>
                <a:gd name="T51" fmla="*/ 13 h 156"/>
                <a:gd name="T52" fmla="*/ 3525 w 2175"/>
                <a:gd name="T53" fmla="*/ 13 h 156"/>
                <a:gd name="T54" fmla="*/ 3402 w 2175"/>
                <a:gd name="T55" fmla="*/ 14 h 156"/>
                <a:gd name="T56" fmla="*/ 3279 w 2175"/>
                <a:gd name="T57" fmla="*/ 14 h 156"/>
                <a:gd name="T58" fmla="*/ 3157 w 2175"/>
                <a:gd name="T59" fmla="*/ 14 h 156"/>
                <a:gd name="T60" fmla="*/ 3027 w 2175"/>
                <a:gd name="T61" fmla="*/ 14 h 156"/>
                <a:gd name="T62" fmla="*/ 2892 w 2175"/>
                <a:gd name="T63" fmla="*/ 14 h 156"/>
                <a:gd name="T64" fmla="*/ 2744 w 2175"/>
                <a:gd name="T65" fmla="*/ 14 h 156"/>
                <a:gd name="T66" fmla="*/ 2611 w 2175"/>
                <a:gd name="T67" fmla="*/ 14 h 156"/>
                <a:gd name="T68" fmla="*/ 2476 w 2175"/>
                <a:gd name="T69" fmla="*/ 13 h 156"/>
                <a:gd name="T70" fmla="*/ 2345 w 2175"/>
                <a:gd name="T71" fmla="*/ 13 h 156"/>
                <a:gd name="T72" fmla="*/ 2201 w 2175"/>
                <a:gd name="T73" fmla="*/ 13 h 156"/>
                <a:gd name="T74" fmla="*/ 2065 w 2175"/>
                <a:gd name="T75" fmla="*/ 13 h 156"/>
                <a:gd name="T76" fmla="*/ 1941 w 2175"/>
                <a:gd name="T77" fmla="*/ 12 h 156"/>
                <a:gd name="T78" fmla="*/ 1810 w 2175"/>
                <a:gd name="T79" fmla="*/ 11 h 156"/>
                <a:gd name="T80" fmla="*/ 1696 w 2175"/>
                <a:gd name="T81" fmla="*/ 11 h 156"/>
                <a:gd name="T82" fmla="*/ 1583 w 2175"/>
                <a:gd name="T83" fmla="*/ 10 h 156"/>
                <a:gd name="T84" fmla="*/ 1459 w 2175"/>
                <a:gd name="T85" fmla="*/ 9 h 156"/>
                <a:gd name="T86" fmla="*/ 1347 w 2175"/>
                <a:gd name="T87" fmla="*/ 8 h 156"/>
                <a:gd name="T88" fmla="*/ 1233 w 2175"/>
                <a:gd name="T89" fmla="*/ 7 h 156"/>
                <a:gd name="T90" fmla="*/ 1121 w 2175"/>
                <a:gd name="T91" fmla="*/ 6 h 156"/>
                <a:gd name="T92" fmla="*/ 1004 w 2175"/>
                <a:gd name="T93" fmla="*/ 5 h 156"/>
                <a:gd name="T94" fmla="*/ 899 w 2175"/>
                <a:gd name="T95" fmla="*/ 5 h 156"/>
                <a:gd name="T96" fmla="*/ 793 w 2175"/>
                <a:gd name="T97" fmla="*/ 5 h 156"/>
                <a:gd name="T98" fmla="*/ 697 w 2175"/>
                <a:gd name="T99" fmla="*/ 5 h 156"/>
                <a:gd name="T100" fmla="*/ 601 w 2175"/>
                <a:gd name="T101" fmla="*/ 5 h 156"/>
                <a:gd name="T102" fmla="*/ 516 w 2175"/>
                <a:gd name="T103" fmla="*/ 5 h 156"/>
                <a:gd name="T104" fmla="*/ 429 w 2175"/>
                <a:gd name="T105" fmla="*/ 5 h 156"/>
                <a:gd name="T106" fmla="*/ 349 w 2175"/>
                <a:gd name="T107" fmla="*/ 5 h 156"/>
                <a:gd name="T108" fmla="*/ 270 w 2175"/>
                <a:gd name="T109" fmla="*/ 5 h 156"/>
                <a:gd name="T110" fmla="*/ 209 w 2175"/>
                <a:gd name="T111" fmla="*/ 5 h 156"/>
                <a:gd name="T112" fmla="*/ 145 w 2175"/>
                <a:gd name="T113" fmla="*/ 5 h 156"/>
                <a:gd name="T114" fmla="*/ 74 w 2175"/>
                <a:gd name="T115" fmla="*/ 5 h 156"/>
                <a:gd name="T116" fmla="*/ 4 w 2175"/>
                <a:gd name="T117" fmla="*/ 0 h 156"/>
                <a:gd name="T118" fmla="*/ 270 w 2175"/>
                <a:gd name="T119" fmla="*/ 5 h 1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75"/>
                <a:gd name="T181" fmla="*/ 0 h 156"/>
                <a:gd name="T182" fmla="*/ 2175 w 2175"/>
                <a:gd name="T183" fmla="*/ 156 h 1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75" h="156">
                  <a:moveTo>
                    <a:pt x="141" y="34"/>
                  </a:moveTo>
                  <a:lnTo>
                    <a:pt x="196" y="43"/>
                  </a:lnTo>
                  <a:lnTo>
                    <a:pt x="251" y="54"/>
                  </a:lnTo>
                  <a:lnTo>
                    <a:pt x="306" y="63"/>
                  </a:lnTo>
                  <a:lnTo>
                    <a:pt x="361" y="74"/>
                  </a:lnTo>
                  <a:lnTo>
                    <a:pt x="415" y="80"/>
                  </a:lnTo>
                  <a:lnTo>
                    <a:pt x="470" y="88"/>
                  </a:lnTo>
                  <a:lnTo>
                    <a:pt x="521" y="97"/>
                  </a:lnTo>
                  <a:lnTo>
                    <a:pt x="575" y="105"/>
                  </a:lnTo>
                  <a:lnTo>
                    <a:pt x="630" y="111"/>
                  </a:lnTo>
                  <a:lnTo>
                    <a:pt x="685" y="117"/>
                  </a:lnTo>
                  <a:lnTo>
                    <a:pt x="735" y="119"/>
                  </a:lnTo>
                  <a:lnTo>
                    <a:pt x="786" y="128"/>
                  </a:lnTo>
                  <a:lnTo>
                    <a:pt x="836" y="128"/>
                  </a:lnTo>
                  <a:lnTo>
                    <a:pt x="886" y="134"/>
                  </a:lnTo>
                  <a:lnTo>
                    <a:pt x="936" y="137"/>
                  </a:lnTo>
                  <a:lnTo>
                    <a:pt x="991" y="142"/>
                  </a:lnTo>
                  <a:lnTo>
                    <a:pt x="1037" y="145"/>
                  </a:lnTo>
                  <a:lnTo>
                    <a:pt x="1083" y="148"/>
                  </a:lnTo>
                  <a:lnTo>
                    <a:pt x="1128" y="148"/>
                  </a:lnTo>
                  <a:lnTo>
                    <a:pt x="1179" y="151"/>
                  </a:lnTo>
                  <a:lnTo>
                    <a:pt x="1220" y="154"/>
                  </a:lnTo>
                  <a:lnTo>
                    <a:pt x="1266" y="156"/>
                  </a:lnTo>
                  <a:lnTo>
                    <a:pt x="1307" y="156"/>
                  </a:lnTo>
                  <a:lnTo>
                    <a:pt x="1352" y="156"/>
                  </a:lnTo>
                  <a:lnTo>
                    <a:pt x="1398" y="156"/>
                  </a:lnTo>
                  <a:lnTo>
                    <a:pt x="1435" y="156"/>
                  </a:lnTo>
                  <a:lnTo>
                    <a:pt x="1476" y="156"/>
                  </a:lnTo>
                  <a:lnTo>
                    <a:pt x="1517" y="156"/>
                  </a:lnTo>
                  <a:lnTo>
                    <a:pt x="1553" y="156"/>
                  </a:lnTo>
                  <a:lnTo>
                    <a:pt x="1590" y="156"/>
                  </a:lnTo>
                  <a:lnTo>
                    <a:pt x="1631" y="156"/>
                  </a:lnTo>
                  <a:lnTo>
                    <a:pt x="1668" y="156"/>
                  </a:lnTo>
                  <a:lnTo>
                    <a:pt x="1704" y="151"/>
                  </a:lnTo>
                  <a:lnTo>
                    <a:pt x="1732" y="148"/>
                  </a:lnTo>
                  <a:lnTo>
                    <a:pt x="1768" y="148"/>
                  </a:lnTo>
                  <a:lnTo>
                    <a:pt x="1796" y="148"/>
                  </a:lnTo>
                  <a:lnTo>
                    <a:pt x="1828" y="145"/>
                  </a:lnTo>
                  <a:lnTo>
                    <a:pt x="1855" y="145"/>
                  </a:lnTo>
                  <a:lnTo>
                    <a:pt x="1887" y="139"/>
                  </a:lnTo>
                  <a:lnTo>
                    <a:pt x="1914" y="139"/>
                  </a:lnTo>
                  <a:lnTo>
                    <a:pt x="1937" y="137"/>
                  </a:lnTo>
                  <a:lnTo>
                    <a:pt x="1965" y="137"/>
                  </a:lnTo>
                  <a:lnTo>
                    <a:pt x="1988" y="134"/>
                  </a:lnTo>
                  <a:lnTo>
                    <a:pt x="2010" y="131"/>
                  </a:lnTo>
                  <a:lnTo>
                    <a:pt x="2029" y="128"/>
                  </a:lnTo>
                  <a:lnTo>
                    <a:pt x="2052" y="128"/>
                  </a:lnTo>
                  <a:lnTo>
                    <a:pt x="2070" y="125"/>
                  </a:lnTo>
                  <a:lnTo>
                    <a:pt x="2088" y="122"/>
                  </a:lnTo>
                  <a:lnTo>
                    <a:pt x="2102" y="119"/>
                  </a:lnTo>
                  <a:lnTo>
                    <a:pt x="2111" y="117"/>
                  </a:lnTo>
                  <a:lnTo>
                    <a:pt x="2125" y="117"/>
                  </a:lnTo>
                  <a:lnTo>
                    <a:pt x="2138" y="114"/>
                  </a:lnTo>
                  <a:lnTo>
                    <a:pt x="2148" y="114"/>
                  </a:lnTo>
                  <a:lnTo>
                    <a:pt x="2157" y="111"/>
                  </a:lnTo>
                  <a:lnTo>
                    <a:pt x="2161" y="111"/>
                  </a:lnTo>
                  <a:lnTo>
                    <a:pt x="2170" y="111"/>
                  </a:lnTo>
                  <a:lnTo>
                    <a:pt x="2175" y="105"/>
                  </a:lnTo>
                  <a:lnTo>
                    <a:pt x="2170" y="105"/>
                  </a:lnTo>
                  <a:lnTo>
                    <a:pt x="2157" y="108"/>
                  </a:lnTo>
                  <a:lnTo>
                    <a:pt x="2148" y="108"/>
                  </a:lnTo>
                  <a:lnTo>
                    <a:pt x="2138" y="108"/>
                  </a:lnTo>
                  <a:lnTo>
                    <a:pt x="2125" y="108"/>
                  </a:lnTo>
                  <a:lnTo>
                    <a:pt x="2116" y="108"/>
                  </a:lnTo>
                  <a:lnTo>
                    <a:pt x="2102" y="108"/>
                  </a:lnTo>
                  <a:lnTo>
                    <a:pt x="2088" y="111"/>
                  </a:lnTo>
                  <a:lnTo>
                    <a:pt x="2079" y="111"/>
                  </a:lnTo>
                  <a:lnTo>
                    <a:pt x="2070" y="111"/>
                  </a:lnTo>
                  <a:lnTo>
                    <a:pt x="2052" y="111"/>
                  </a:lnTo>
                  <a:lnTo>
                    <a:pt x="2033" y="111"/>
                  </a:lnTo>
                  <a:lnTo>
                    <a:pt x="2020" y="114"/>
                  </a:lnTo>
                  <a:lnTo>
                    <a:pt x="2006" y="114"/>
                  </a:lnTo>
                  <a:lnTo>
                    <a:pt x="1988" y="114"/>
                  </a:lnTo>
                  <a:lnTo>
                    <a:pt x="1969" y="114"/>
                  </a:lnTo>
                  <a:lnTo>
                    <a:pt x="1956" y="114"/>
                  </a:lnTo>
                  <a:lnTo>
                    <a:pt x="1942" y="117"/>
                  </a:lnTo>
                  <a:lnTo>
                    <a:pt x="1919" y="117"/>
                  </a:lnTo>
                  <a:lnTo>
                    <a:pt x="1901" y="117"/>
                  </a:lnTo>
                  <a:lnTo>
                    <a:pt x="1882" y="117"/>
                  </a:lnTo>
                  <a:lnTo>
                    <a:pt x="1864" y="117"/>
                  </a:lnTo>
                  <a:lnTo>
                    <a:pt x="1841" y="117"/>
                  </a:lnTo>
                  <a:lnTo>
                    <a:pt x="1823" y="117"/>
                  </a:lnTo>
                  <a:lnTo>
                    <a:pt x="1800" y="117"/>
                  </a:lnTo>
                  <a:lnTo>
                    <a:pt x="1777" y="119"/>
                  </a:lnTo>
                  <a:lnTo>
                    <a:pt x="1759" y="119"/>
                  </a:lnTo>
                  <a:lnTo>
                    <a:pt x="1741" y="119"/>
                  </a:lnTo>
                  <a:lnTo>
                    <a:pt x="1713" y="119"/>
                  </a:lnTo>
                  <a:lnTo>
                    <a:pt x="1695" y="119"/>
                  </a:lnTo>
                  <a:lnTo>
                    <a:pt x="1672" y="119"/>
                  </a:lnTo>
                  <a:lnTo>
                    <a:pt x="1649" y="119"/>
                  </a:lnTo>
                  <a:lnTo>
                    <a:pt x="1627" y="119"/>
                  </a:lnTo>
                  <a:lnTo>
                    <a:pt x="1604" y="122"/>
                  </a:lnTo>
                  <a:lnTo>
                    <a:pt x="1581" y="119"/>
                  </a:lnTo>
                  <a:lnTo>
                    <a:pt x="1558" y="119"/>
                  </a:lnTo>
                  <a:lnTo>
                    <a:pt x="1535" y="119"/>
                  </a:lnTo>
                  <a:lnTo>
                    <a:pt x="1512" y="119"/>
                  </a:lnTo>
                  <a:lnTo>
                    <a:pt x="1485" y="119"/>
                  </a:lnTo>
                  <a:lnTo>
                    <a:pt x="1462" y="119"/>
                  </a:lnTo>
                  <a:lnTo>
                    <a:pt x="1435" y="119"/>
                  </a:lnTo>
                  <a:lnTo>
                    <a:pt x="1416" y="119"/>
                  </a:lnTo>
                  <a:lnTo>
                    <a:pt x="1389" y="119"/>
                  </a:lnTo>
                  <a:lnTo>
                    <a:pt x="1366" y="119"/>
                  </a:lnTo>
                  <a:lnTo>
                    <a:pt x="1343" y="117"/>
                  </a:lnTo>
                  <a:lnTo>
                    <a:pt x="1316" y="117"/>
                  </a:lnTo>
                  <a:lnTo>
                    <a:pt x="1293" y="117"/>
                  </a:lnTo>
                  <a:lnTo>
                    <a:pt x="1270" y="117"/>
                  </a:lnTo>
                  <a:lnTo>
                    <a:pt x="1247" y="117"/>
                  </a:lnTo>
                  <a:lnTo>
                    <a:pt x="1224" y="117"/>
                  </a:lnTo>
                  <a:lnTo>
                    <a:pt x="1197" y="114"/>
                  </a:lnTo>
                  <a:lnTo>
                    <a:pt x="1174" y="114"/>
                  </a:lnTo>
                  <a:lnTo>
                    <a:pt x="1151" y="114"/>
                  </a:lnTo>
                  <a:lnTo>
                    <a:pt x="1124" y="114"/>
                  </a:lnTo>
                  <a:lnTo>
                    <a:pt x="1101" y="111"/>
                  </a:lnTo>
                  <a:lnTo>
                    <a:pt x="1078" y="111"/>
                  </a:lnTo>
                  <a:lnTo>
                    <a:pt x="1055" y="108"/>
                  </a:lnTo>
                  <a:lnTo>
                    <a:pt x="1037" y="108"/>
                  </a:lnTo>
                  <a:lnTo>
                    <a:pt x="1014" y="105"/>
                  </a:lnTo>
                  <a:lnTo>
                    <a:pt x="991" y="105"/>
                  </a:lnTo>
                  <a:lnTo>
                    <a:pt x="968" y="102"/>
                  </a:lnTo>
                  <a:lnTo>
                    <a:pt x="946" y="100"/>
                  </a:lnTo>
                  <a:lnTo>
                    <a:pt x="923" y="100"/>
                  </a:lnTo>
                  <a:lnTo>
                    <a:pt x="904" y="97"/>
                  </a:lnTo>
                  <a:lnTo>
                    <a:pt x="886" y="97"/>
                  </a:lnTo>
                  <a:lnTo>
                    <a:pt x="868" y="94"/>
                  </a:lnTo>
                  <a:lnTo>
                    <a:pt x="845" y="91"/>
                  </a:lnTo>
                  <a:lnTo>
                    <a:pt x="827" y="91"/>
                  </a:lnTo>
                  <a:lnTo>
                    <a:pt x="804" y="85"/>
                  </a:lnTo>
                  <a:lnTo>
                    <a:pt x="786" y="85"/>
                  </a:lnTo>
                  <a:lnTo>
                    <a:pt x="763" y="82"/>
                  </a:lnTo>
                  <a:lnTo>
                    <a:pt x="745" y="80"/>
                  </a:lnTo>
                  <a:lnTo>
                    <a:pt x="726" y="77"/>
                  </a:lnTo>
                  <a:lnTo>
                    <a:pt x="703" y="77"/>
                  </a:lnTo>
                  <a:lnTo>
                    <a:pt x="681" y="74"/>
                  </a:lnTo>
                  <a:lnTo>
                    <a:pt x="662" y="71"/>
                  </a:lnTo>
                  <a:lnTo>
                    <a:pt x="644" y="68"/>
                  </a:lnTo>
                  <a:lnTo>
                    <a:pt x="626" y="68"/>
                  </a:lnTo>
                  <a:lnTo>
                    <a:pt x="603" y="65"/>
                  </a:lnTo>
                  <a:lnTo>
                    <a:pt x="585" y="63"/>
                  </a:lnTo>
                  <a:lnTo>
                    <a:pt x="566" y="60"/>
                  </a:lnTo>
                  <a:lnTo>
                    <a:pt x="548" y="60"/>
                  </a:lnTo>
                  <a:lnTo>
                    <a:pt x="525" y="57"/>
                  </a:lnTo>
                  <a:lnTo>
                    <a:pt x="507" y="54"/>
                  </a:lnTo>
                  <a:lnTo>
                    <a:pt x="489" y="51"/>
                  </a:lnTo>
                  <a:lnTo>
                    <a:pt x="470" y="51"/>
                  </a:lnTo>
                  <a:lnTo>
                    <a:pt x="452" y="48"/>
                  </a:lnTo>
                  <a:lnTo>
                    <a:pt x="434" y="45"/>
                  </a:lnTo>
                  <a:lnTo>
                    <a:pt x="415" y="43"/>
                  </a:lnTo>
                  <a:lnTo>
                    <a:pt x="402" y="43"/>
                  </a:lnTo>
                  <a:lnTo>
                    <a:pt x="383" y="40"/>
                  </a:lnTo>
                  <a:lnTo>
                    <a:pt x="365" y="40"/>
                  </a:lnTo>
                  <a:lnTo>
                    <a:pt x="351" y="37"/>
                  </a:lnTo>
                  <a:lnTo>
                    <a:pt x="333" y="34"/>
                  </a:lnTo>
                  <a:lnTo>
                    <a:pt x="315" y="34"/>
                  </a:lnTo>
                  <a:lnTo>
                    <a:pt x="301" y="31"/>
                  </a:lnTo>
                  <a:lnTo>
                    <a:pt x="283" y="31"/>
                  </a:lnTo>
                  <a:lnTo>
                    <a:pt x="269" y="31"/>
                  </a:lnTo>
                  <a:lnTo>
                    <a:pt x="256" y="28"/>
                  </a:lnTo>
                  <a:lnTo>
                    <a:pt x="237" y="28"/>
                  </a:lnTo>
                  <a:lnTo>
                    <a:pt x="224" y="23"/>
                  </a:lnTo>
                  <a:lnTo>
                    <a:pt x="210" y="23"/>
                  </a:lnTo>
                  <a:lnTo>
                    <a:pt x="196" y="20"/>
                  </a:lnTo>
                  <a:lnTo>
                    <a:pt x="182" y="20"/>
                  </a:lnTo>
                  <a:lnTo>
                    <a:pt x="169" y="17"/>
                  </a:lnTo>
                  <a:lnTo>
                    <a:pt x="160" y="17"/>
                  </a:lnTo>
                  <a:lnTo>
                    <a:pt x="141" y="17"/>
                  </a:lnTo>
                  <a:lnTo>
                    <a:pt x="132" y="14"/>
                  </a:lnTo>
                  <a:lnTo>
                    <a:pt x="123" y="11"/>
                  </a:lnTo>
                  <a:lnTo>
                    <a:pt x="109" y="11"/>
                  </a:lnTo>
                  <a:lnTo>
                    <a:pt x="100" y="11"/>
                  </a:lnTo>
                  <a:lnTo>
                    <a:pt x="86" y="8"/>
                  </a:lnTo>
                  <a:lnTo>
                    <a:pt x="77" y="8"/>
                  </a:lnTo>
                  <a:lnTo>
                    <a:pt x="73" y="8"/>
                  </a:lnTo>
                  <a:lnTo>
                    <a:pt x="54" y="8"/>
                  </a:lnTo>
                  <a:lnTo>
                    <a:pt x="41" y="8"/>
                  </a:lnTo>
                  <a:lnTo>
                    <a:pt x="27" y="3"/>
                  </a:lnTo>
                  <a:lnTo>
                    <a:pt x="18" y="3"/>
                  </a:lnTo>
                  <a:lnTo>
                    <a:pt x="4" y="0"/>
                  </a:lnTo>
                  <a:lnTo>
                    <a:pt x="0" y="0"/>
                  </a:lnTo>
                  <a:lnTo>
                    <a:pt x="141" y="3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08" name="Freeform 198"/>
            <p:cNvSpPr>
              <a:spLocks/>
            </p:cNvSpPr>
            <p:nvPr>
              <p:custDataLst>
                <p:tags r:id="rId107"/>
              </p:custDataLst>
            </p:nvPr>
          </p:nvSpPr>
          <p:spPr bwMode="gray">
            <a:xfrm>
              <a:off x="1775" y="917"/>
              <a:ext cx="1172" cy="102"/>
            </a:xfrm>
            <a:custGeom>
              <a:avLst/>
              <a:gdLst>
                <a:gd name="T0" fmla="*/ 210 w 1143"/>
                <a:gd name="T1" fmla="*/ 6 h 111"/>
                <a:gd name="T2" fmla="*/ 315 w 1143"/>
                <a:gd name="T3" fmla="*/ 6 h 111"/>
                <a:gd name="T4" fmla="*/ 439 w 1143"/>
                <a:gd name="T5" fmla="*/ 6 h 111"/>
                <a:gd name="T6" fmla="*/ 551 w 1143"/>
                <a:gd name="T7" fmla="*/ 6 h 111"/>
                <a:gd name="T8" fmla="*/ 687 w 1143"/>
                <a:gd name="T9" fmla="*/ 6 h 111"/>
                <a:gd name="T10" fmla="*/ 817 w 1143"/>
                <a:gd name="T11" fmla="*/ 6 h 111"/>
                <a:gd name="T12" fmla="*/ 949 w 1143"/>
                <a:gd name="T13" fmla="*/ 6 h 111"/>
                <a:gd name="T14" fmla="*/ 1078 w 1143"/>
                <a:gd name="T15" fmla="*/ 6 h 111"/>
                <a:gd name="T16" fmla="*/ 1212 w 1143"/>
                <a:gd name="T17" fmla="*/ 6 h 111"/>
                <a:gd name="T18" fmla="*/ 1343 w 1143"/>
                <a:gd name="T19" fmla="*/ 6 h 111"/>
                <a:gd name="T20" fmla="*/ 1461 w 1143"/>
                <a:gd name="T21" fmla="*/ 7 h 111"/>
                <a:gd name="T22" fmla="*/ 1587 w 1143"/>
                <a:gd name="T23" fmla="*/ 7 h 111"/>
                <a:gd name="T24" fmla="*/ 1703 w 1143"/>
                <a:gd name="T25" fmla="*/ 8 h 111"/>
                <a:gd name="T26" fmla="*/ 1806 w 1143"/>
                <a:gd name="T27" fmla="*/ 8 h 111"/>
                <a:gd name="T28" fmla="*/ 1892 w 1143"/>
                <a:gd name="T29" fmla="*/ 8 h 111"/>
                <a:gd name="T30" fmla="*/ 1980 w 1143"/>
                <a:gd name="T31" fmla="*/ 8 h 111"/>
                <a:gd name="T32" fmla="*/ 2062 w 1143"/>
                <a:gd name="T33" fmla="*/ 8 h 111"/>
                <a:gd name="T34" fmla="*/ 2121 w 1143"/>
                <a:gd name="T35" fmla="*/ 9 h 111"/>
                <a:gd name="T36" fmla="*/ 2190 w 1143"/>
                <a:gd name="T37" fmla="*/ 9 h 111"/>
                <a:gd name="T38" fmla="*/ 2161 w 1143"/>
                <a:gd name="T39" fmla="*/ 10 h 111"/>
                <a:gd name="T40" fmla="*/ 2086 w 1143"/>
                <a:gd name="T41" fmla="*/ 11 h 111"/>
                <a:gd name="T42" fmla="*/ 2011 w 1143"/>
                <a:gd name="T43" fmla="*/ 12 h 111"/>
                <a:gd name="T44" fmla="*/ 1919 w 1143"/>
                <a:gd name="T45" fmla="*/ 12 h 111"/>
                <a:gd name="T46" fmla="*/ 1818 w 1143"/>
                <a:gd name="T47" fmla="*/ 12 h 111"/>
                <a:gd name="T48" fmla="*/ 1746 w 1143"/>
                <a:gd name="T49" fmla="*/ 13 h 111"/>
                <a:gd name="T50" fmla="*/ 1686 w 1143"/>
                <a:gd name="T51" fmla="*/ 13 h 111"/>
                <a:gd name="T52" fmla="*/ 1622 w 1143"/>
                <a:gd name="T53" fmla="*/ 13 h 111"/>
                <a:gd name="T54" fmla="*/ 1563 w 1143"/>
                <a:gd name="T55" fmla="*/ 13 h 111"/>
                <a:gd name="T56" fmla="*/ 1490 w 1143"/>
                <a:gd name="T57" fmla="*/ 13 h 111"/>
                <a:gd name="T58" fmla="*/ 1430 w 1143"/>
                <a:gd name="T59" fmla="*/ 13 h 111"/>
                <a:gd name="T60" fmla="*/ 1350 w 1143"/>
                <a:gd name="T61" fmla="*/ 12 h 111"/>
                <a:gd name="T62" fmla="*/ 1275 w 1143"/>
                <a:gd name="T63" fmla="*/ 12 h 111"/>
                <a:gd name="T64" fmla="*/ 1201 w 1143"/>
                <a:gd name="T65" fmla="*/ 12 h 111"/>
                <a:gd name="T66" fmla="*/ 1124 w 1143"/>
                <a:gd name="T67" fmla="*/ 12 h 111"/>
                <a:gd name="T68" fmla="*/ 1034 w 1143"/>
                <a:gd name="T69" fmla="*/ 12 h 111"/>
                <a:gd name="T70" fmla="*/ 955 w 1143"/>
                <a:gd name="T71" fmla="*/ 11 h 111"/>
                <a:gd name="T72" fmla="*/ 867 w 1143"/>
                <a:gd name="T73" fmla="*/ 10 h 111"/>
                <a:gd name="T74" fmla="*/ 789 w 1143"/>
                <a:gd name="T75" fmla="*/ 9 h 111"/>
                <a:gd name="T76" fmla="*/ 709 w 1143"/>
                <a:gd name="T77" fmla="*/ 9 h 111"/>
                <a:gd name="T78" fmla="*/ 623 w 1143"/>
                <a:gd name="T79" fmla="*/ 8 h 111"/>
                <a:gd name="T80" fmla="*/ 542 w 1143"/>
                <a:gd name="T81" fmla="*/ 6 h 111"/>
                <a:gd name="T82" fmla="*/ 473 w 1143"/>
                <a:gd name="T83" fmla="*/ 6 h 111"/>
                <a:gd name="T84" fmla="*/ 395 w 1143"/>
                <a:gd name="T85" fmla="*/ 6 h 111"/>
                <a:gd name="T86" fmla="*/ 315 w 1143"/>
                <a:gd name="T87" fmla="*/ 6 h 111"/>
                <a:gd name="T88" fmla="*/ 255 w 1143"/>
                <a:gd name="T89" fmla="*/ 6 h 111"/>
                <a:gd name="T90" fmla="*/ 195 w 1143"/>
                <a:gd name="T91" fmla="*/ 6 h 111"/>
                <a:gd name="T92" fmla="*/ 132 w 1143"/>
                <a:gd name="T93" fmla="*/ 6 h 111"/>
                <a:gd name="T94" fmla="*/ 14 w 1143"/>
                <a:gd name="T95" fmla="*/ 6 h 111"/>
                <a:gd name="T96" fmla="*/ 14 w 1143"/>
                <a:gd name="T97" fmla="*/ 0 h 111"/>
                <a:gd name="T98" fmla="*/ 84 w 1143"/>
                <a:gd name="T99" fmla="*/ 0 h 111"/>
                <a:gd name="T100" fmla="*/ 138 w 1143"/>
                <a:gd name="T101" fmla="*/ 0 h 11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43"/>
                <a:gd name="T154" fmla="*/ 0 h 111"/>
                <a:gd name="T155" fmla="*/ 1143 w 1143"/>
                <a:gd name="T156" fmla="*/ 111 h 11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43" h="111">
                  <a:moveTo>
                    <a:pt x="78" y="0"/>
                  </a:moveTo>
                  <a:lnTo>
                    <a:pt x="96" y="3"/>
                  </a:lnTo>
                  <a:lnTo>
                    <a:pt x="110" y="6"/>
                  </a:lnTo>
                  <a:lnTo>
                    <a:pt x="133" y="12"/>
                  </a:lnTo>
                  <a:lnTo>
                    <a:pt x="151" y="15"/>
                  </a:lnTo>
                  <a:lnTo>
                    <a:pt x="165" y="17"/>
                  </a:lnTo>
                  <a:lnTo>
                    <a:pt x="187" y="20"/>
                  </a:lnTo>
                  <a:lnTo>
                    <a:pt x="206" y="23"/>
                  </a:lnTo>
                  <a:lnTo>
                    <a:pt x="229" y="26"/>
                  </a:lnTo>
                  <a:lnTo>
                    <a:pt x="247" y="29"/>
                  </a:lnTo>
                  <a:lnTo>
                    <a:pt x="265" y="29"/>
                  </a:lnTo>
                  <a:lnTo>
                    <a:pt x="288" y="34"/>
                  </a:lnTo>
                  <a:lnTo>
                    <a:pt x="311" y="34"/>
                  </a:lnTo>
                  <a:lnTo>
                    <a:pt x="334" y="37"/>
                  </a:lnTo>
                  <a:lnTo>
                    <a:pt x="357" y="40"/>
                  </a:lnTo>
                  <a:lnTo>
                    <a:pt x="379" y="43"/>
                  </a:lnTo>
                  <a:lnTo>
                    <a:pt x="402" y="46"/>
                  </a:lnTo>
                  <a:lnTo>
                    <a:pt x="425" y="46"/>
                  </a:lnTo>
                  <a:lnTo>
                    <a:pt x="448" y="49"/>
                  </a:lnTo>
                  <a:lnTo>
                    <a:pt x="471" y="49"/>
                  </a:lnTo>
                  <a:lnTo>
                    <a:pt x="494" y="52"/>
                  </a:lnTo>
                  <a:lnTo>
                    <a:pt x="517" y="52"/>
                  </a:lnTo>
                  <a:lnTo>
                    <a:pt x="539" y="54"/>
                  </a:lnTo>
                  <a:lnTo>
                    <a:pt x="562" y="54"/>
                  </a:lnTo>
                  <a:lnTo>
                    <a:pt x="590" y="57"/>
                  </a:lnTo>
                  <a:lnTo>
                    <a:pt x="608" y="57"/>
                  </a:lnTo>
                  <a:lnTo>
                    <a:pt x="631" y="60"/>
                  </a:lnTo>
                  <a:lnTo>
                    <a:pt x="654" y="60"/>
                  </a:lnTo>
                  <a:lnTo>
                    <a:pt x="676" y="63"/>
                  </a:lnTo>
                  <a:lnTo>
                    <a:pt x="699" y="63"/>
                  </a:lnTo>
                  <a:lnTo>
                    <a:pt x="722" y="63"/>
                  </a:lnTo>
                  <a:lnTo>
                    <a:pt x="745" y="63"/>
                  </a:lnTo>
                  <a:lnTo>
                    <a:pt x="763" y="69"/>
                  </a:lnTo>
                  <a:lnTo>
                    <a:pt x="786" y="69"/>
                  </a:lnTo>
                  <a:lnTo>
                    <a:pt x="809" y="69"/>
                  </a:lnTo>
                  <a:lnTo>
                    <a:pt x="827" y="69"/>
                  </a:lnTo>
                  <a:lnTo>
                    <a:pt x="850" y="69"/>
                  </a:lnTo>
                  <a:lnTo>
                    <a:pt x="864" y="69"/>
                  </a:lnTo>
                  <a:lnTo>
                    <a:pt x="887" y="71"/>
                  </a:lnTo>
                  <a:lnTo>
                    <a:pt x="905" y="71"/>
                  </a:lnTo>
                  <a:lnTo>
                    <a:pt x="923" y="71"/>
                  </a:lnTo>
                  <a:lnTo>
                    <a:pt x="942" y="71"/>
                  </a:lnTo>
                  <a:lnTo>
                    <a:pt x="955" y="71"/>
                  </a:lnTo>
                  <a:lnTo>
                    <a:pt x="974" y="71"/>
                  </a:lnTo>
                  <a:lnTo>
                    <a:pt x="987" y="71"/>
                  </a:lnTo>
                  <a:lnTo>
                    <a:pt x="1006" y="71"/>
                  </a:lnTo>
                  <a:lnTo>
                    <a:pt x="1019" y="74"/>
                  </a:lnTo>
                  <a:lnTo>
                    <a:pt x="1033" y="74"/>
                  </a:lnTo>
                  <a:lnTo>
                    <a:pt x="1051" y="74"/>
                  </a:lnTo>
                  <a:lnTo>
                    <a:pt x="1060" y="74"/>
                  </a:lnTo>
                  <a:lnTo>
                    <a:pt x="1074" y="74"/>
                  </a:lnTo>
                  <a:lnTo>
                    <a:pt x="1083" y="74"/>
                  </a:lnTo>
                  <a:lnTo>
                    <a:pt x="1092" y="77"/>
                  </a:lnTo>
                  <a:lnTo>
                    <a:pt x="1106" y="77"/>
                  </a:lnTo>
                  <a:lnTo>
                    <a:pt x="1124" y="80"/>
                  </a:lnTo>
                  <a:lnTo>
                    <a:pt x="1133" y="80"/>
                  </a:lnTo>
                  <a:lnTo>
                    <a:pt x="1143" y="80"/>
                  </a:lnTo>
                  <a:lnTo>
                    <a:pt x="1143" y="83"/>
                  </a:lnTo>
                  <a:lnTo>
                    <a:pt x="1124" y="89"/>
                  </a:lnTo>
                  <a:lnTo>
                    <a:pt x="1106" y="91"/>
                  </a:lnTo>
                  <a:lnTo>
                    <a:pt x="1097" y="91"/>
                  </a:lnTo>
                  <a:lnTo>
                    <a:pt x="1088" y="94"/>
                  </a:lnTo>
                  <a:lnTo>
                    <a:pt x="1074" y="94"/>
                  </a:lnTo>
                  <a:lnTo>
                    <a:pt x="1060" y="100"/>
                  </a:lnTo>
                  <a:lnTo>
                    <a:pt x="1047" y="100"/>
                  </a:lnTo>
                  <a:lnTo>
                    <a:pt x="1033" y="100"/>
                  </a:lnTo>
                  <a:lnTo>
                    <a:pt x="1015" y="103"/>
                  </a:lnTo>
                  <a:lnTo>
                    <a:pt x="1001" y="103"/>
                  </a:lnTo>
                  <a:lnTo>
                    <a:pt x="983" y="103"/>
                  </a:lnTo>
                  <a:lnTo>
                    <a:pt x="964" y="106"/>
                  </a:lnTo>
                  <a:lnTo>
                    <a:pt x="946" y="106"/>
                  </a:lnTo>
                  <a:lnTo>
                    <a:pt x="932" y="109"/>
                  </a:lnTo>
                  <a:lnTo>
                    <a:pt x="919" y="109"/>
                  </a:lnTo>
                  <a:lnTo>
                    <a:pt x="910" y="109"/>
                  </a:lnTo>
                  <a:lnTo>
                    <a:pt x="900" y="109"/>
                  </a:lnTo>
                  <a:lnTo>
                    <a:pt x="887" y="109"/>
                  </a:lnTo>
                  <a:lnTo>
                    <a:pt x="878" y="109"/>
                  </a:lnTo>
                  <a:lnTo>
                    <a:pt x="864" y="109"/>
                  </a:lnTo>
                  <a:lnTo>
                    <a:pt x="855" y="109"/>
                  </a:lnTo>
                  <a:lnTo>
                    <a:pt x="846" y="111"/>
                  </a:lnTo>
                  <a:lnTo>
                    <a:pt x="832" y="111"/>
                  </a:lnTo>
                  <a:lnTo>
                    <a:pt x="823" y="111"/>
                  </a:lnTo>
                  <a:lnTo>
                    <a:pt x="814" y="111"/>
                  </a:lnTo>
                  <a:lnTo>
                    <a:pt x="800" y="111"/>
                  </a:lnTo>
                  <a:lnTo>
                    <a:pt x="786" y="111"/>
                  </a:lnTo>
                  <a:lnTo>
                    <a:pt x="777" y="111"/>
                  </a:lnTo>
                  <a:lnTo>
                    <a:pt x="763" y="111"/>
                  </a:lnTo>
                  <a:lnTo>
                    <a:pt x="754" y="111"/>
                  </a:lnTo>
                  <a:lnTo>
                    <a:pt x="745" y="109"/>
                  </a:lnTo>
                  <a:lnTo>
                    <a:pt x="727" y="106"/>
                  </a:lnTo>
                  <a:lnTo>
                    <a:pt x="718" y="106"/>
                  </a:lnTo>
                  <a:lnTo>
                    <a:pt x="704" y="106"/>
                  </a:lnTo>
                  <a:lnTo>
                    <a:pt x="686" y="106"/>
                  </a:lnTo>
                  <a:lnTo>
                    <a:pt x="676" y="106"/>
                  </a:lnTo>
                  <a:lnTo>
                    <a:pt x="663" y="106"/>
                  </a:lnTo>
                  <a:lnTo>
                    <a:pt x="654" y="106"/>
                  </a:lnTo>
                  <a:lnTo>
                    <a:pt x="635" y="103"/>
                  </a:lnTo>
                  <a:lnTo>
                    <a:pt x="626" y="103"/>
                  </a:lnTo>
                  <a:lnTo>
                    <a:pt x="608" y="103"/>
                  </a:lnTo>
                  <a:lnTo>
                    <a:pt x="599" y="103"/>
                  </a:lnTo>
                  <a:lnTo>
                    <a:pt x="585" y="100"/>
                  </a:lnTo>
                  <a:lnTo>
                    <a:pt x="571" y="100"/>
                  </a:lnTo>
                  <a:lnTo>
                    <a:pt x="558" y="100"/>
                  </a:lnTo>
                  <a:lnTo>
                    <a:pt x="539" y="100"/>
                  </a:lnTo>
                  <a:lnTo>
                    <a:pt x="526" y="94"/>
                  </a:lnTo>
                  <a:lnTo>
                    <a:pt x="512" y="94"/>
                  </a:lnTo>
                  <a:lnTo>
                    <a:pt x="498" y="91"/>
                  </a:lnTo>
                  <a:lnTo>
                    <a:pt x="485" y="91"/>
                  </a:lnTo>
                  <a:lnTo>
                    <a:pt x="471" y="91"/>
                  </a:lnTo>
                  <a:lnTo>
                    <a:pt x="453" y="89"/>
                  </a:lnTo>
                  <a:lnTo>
                    <a:pt x="443" y="83"/>
                  </a:lnTo>
                  <a:lnTo>
                    <a:pt x="430" y="83"/>
                  </a:lnTo>
                  <a:lnTo>
                    <a:pt x="411" y="80"/>
                  </a:lnTo>
                  <a:lnTo>
                    <a:pt x="398" y="80"/>
                  </a:lnTo>
                  <a:lnTo>
                    <a:pt x="384" y="77"/>
                  </a:lnTo>
                  <a:lnTo>
                    <a:pt x="370" y="77"/>
                  </a:lnTo>
                  <a:lnTo>
                    <a:pt x="352" y="74"/>
                  </a:lnTo>
                  <a:lnTo>
                    <a:pt x="343" y="71"/>
                  </a:lnTo>
                  <a:lnTo>
                    <a:pt x="325" y="71"/>
                  </a:lnTo>
                  <a:lnTo>
                    <a:pt x="315" y="69"/>
                  </a:lnTo>
                  <a:lnTo>
                    <a:pt x="297" y="63"/>
                  </a:lnTo>
                  <a:lnTo>
                    <a:pt x="283" y="63"/>
                  </a:lnTo>
                  <a:lnTo>
                    <a:pt x="270" y="60"/>
                  </a:lnTo>
                  <a:lnTo>
                    <a:pt x="256" y="57"/>
                  </a:lnTo>
                  <a:lnTo>
                    <a:pt x="247" y="54"/>
                  </a:lnTo>
                  <a:lnTo>
                    <a:pt x="229" y="52"/>
                  </a:lnTo>
                  <a:lnTo>
                    <a:pt x="215" y="49"/>
                  </a:lnTo>
                  <a:lnTo>
                    <a:pt x="206" y="49"/>
                  </a:lnTo>
                  <a:lnTo>
                    <a:pt x="192" y="46"/>
                  </a:lnTo>
                  <a:lnTo>
                    <a:pt x="178" y="43"/>
                  </a:lnTo>
                  <a:lnTo>
                    <a:pt x="165" y="40"/>
                  </a:lnTo>
                  <a:lnTo>
                    <a:pt x="155" y="37"/>
                  </a:lnTo>
                  <a:lnTo>
                    <a:pt x="142" y="34"/>
                  </a:lnTo>
                  <a:lnTo>
                    <a:pt x="133" y="34"/>
                  </a:lnTo>
                  <a:lnTo>
                    <a:pt x="123" y="32"/>
                  </a:lnTo>
                  <a:lnTo>
                    <a:pt x="110" y="29"/>
                  </a:lnTo>
                  <a:lnTo>
                    <a:pt x="101" y="29"/>
                  </a:lnTo>
                  <a:lnTo>
                    <a:pt x="87" y="23"/>
                  </a:lnTo>
                  <a:lnTo>
                    <a:pt x="78" y="23"/>
                  </a:lnTo>
                  <a:lnTo>
                    <a:pt x="69" y="20"/>
                  </a:lnTo>
                  <a:lnTo>
                    <a:pt x="50" y="17"/>
                  </a:lnTo>
                  <a:lnTo>
                    <a:pt x="32" y="15"/>
                  </a:lnTo>
                  <a:lnTo>
                    <a:pt x="14" y="6"/>
                  </a:lnTo>
                  <a:lnTo>
                    <a:pt x="0" y="6"/>
                  </a:lnTo>
                  <a:lnTo>
                    <a:pt x="5" y="0"/>
                  </a:lnTo>
                  <a:lnTo>
                    <a:pt x="14" y="0"/>
                  </a:lnTo>
                  <a:lnTo>
                    <a:pt x="23" y="0"/>
                  </a:lnTo>
                  <a:lnTo>
                    <a:pt x="37" y="0"/>
                  </a:lnTo>
                  <a:lnTo>
                    <a:pt x="46" y="0"/>
                  </a:lnTo>
                  <a:lnTo>
                    <a:pt x="55" y="0"/>
                  </a:lnTo>
                  <a:lnTo>
                    <a:pt x="64" y="0"/>
                  </a:lnTo>
                  <a:lnTo>
                    <a:pt x="73" y="0"/>
                  </a:lnTo>
                  <a:lnTo>
                    <a:pt x="78"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09" name="Freeform 199"/>
            <p:cNvSpPr>
              <a:spLocks/>
            </p:cNvSpPr>
            <p:nvPr>
              <p:custDataLst>
                <p:tags r:id="rId108"/>
              </p:custDataLst>
            </p:nvPr>
          </p:nvSpPr>
          <p:spPr bwMode="gray">
            <a:xfrm>
              <a:off x="632" y="1094"/>
              <a:ext cx="750" cy="290"/>
            </a:xfrm>
            <a:custGeom>
              <a:avLst/>
              <a:gdLst>
                <a:gd name="T0" fmla="*/ 784 w 731"/>
                <a:gd name="T1" fmla="*/ 6 h 316"/>
                <a:gd name="T2" fmla="*/ 676 w 731"/>
                <a:gd name="T3" fmla="*/ 6 h 316"/>
                <a:gd name="T4" fmla="*/ 559 w 731"/>
                <a:gd name="T5" fmla="*/ 9 h 316"/>
                <a:gd name="T6" fmla="*/ 443 w 731"/>
                <a:gd name="T7" fmla="*/ 13 h 316"/>
                <a:gd name="T8" fmla="*/ 348 w 731"/>
                <a:gd name="T9" fmla="*/ 16 h 316"/>
                <a:gd name="T10" fmla="*/ 248 w 731"/>
                <a:gd name="T11" fmla="*/ 18 h 316"/>
                <a:gd name="T12" fmla="*/ 168 w 731"/>
                <a:gd name="T13" fmla="*/ 22 h 316"/>
                <a:gd name="T14" fmla="*/ 94 w 731"/>
                <a:gd name="T15" fmla="*/ 24 h 316"/>
                <a:gd name="T16" fmla="*/ 14 w 731"/>
                <a:gd name="T17" fmla="*/ 26 h 316"/>
                <a:gd name="T18" fmla="*/ 5 w 731"/>
                <a:gd name="T19" fmla="*/ 28 h 316"/>
                <a:gd name="T20" fmla="*/ 68 w 731"/>
                <a:gd name="T21" fmla="*/ 28 h 316"/>
                <a:gd name="T22" fmla="*/ 133 w 731"/>
                <a:gd name="T23" fmla="*/ 28 h 316"/>
                <a:gd name="T24" fmla="*/ 205 w 731"/>
                <a:gd name="T25" fmla="*/ 28 h 316"/>
                <a:gd name="T26" fmla="*/ 277 w 731"/>
                <a:gd name="T27" fmla="*/ 28 h 316"/>
                <a:gd name="T28" fmla="*/ 357 w 731"/>
                <a:gd name="T29" fmla="*/ 30 h 316"/>
                <a:gd name="T30" fmla="*/ 437 w 731"/>
                <a:gd name="T31" fmla="*/ 30 h 316"/>
                <a:gd name="T32" fmla="*/ 505 w 731"/>
                <a:gd name="T33" fmla="*/ 30 h 316"/>
                <a:gd name="T34" fmla="*/ 580 w 731"/>
                <a:gd name="T35" fmla="*/ 30 h 316"/>
                <a:gd name="T36" fmla="*/ 642 w 731"/>
                <a:gd name="T37" fmla="*/ 30 h 316"/>
                <a:gd name="T38" fmla="*/ 715 w 731"/>
                <a:gd name="T39" fmla="*/ 32 h 316"/>
                <a:gd name="T40" fmla="*/ 801 w 731"/>
                <a:gd name="T41" fmla="*/ 32 h 316"/>
                <a:gd name="T42" fmla="*/ 902 w 731"/>
                <a:gd name="T43" fmla="*/ 33 h 316"/>
                <a:gd name="T44" fmla="*/ 1015 w 731"/>
                <a:gd name="T45" fmla="*/ 33 h 316"/>
                <a:gd name="T46" fmla="*/ 1132 w 731"/>
                <a:gd name="T47" fmla="*/ 33 h 316"/>
                <a:gd name="T48" fmla="*/ 1238 w 731"/>
                <a:gd name="T49" fmla="*/ 33 h 316"/>
                <a:gd name="T50" fmla="*/ 1328 w 731"/>
                <a:gd name="T51" fmla="*/ 33 h 316"/>
                <a:gd name="T52" fmla="*/ 1408 w 731"/>
                <a:gd name="T53" fmla="*/ 33 h 316"/>
                <a:gd name="T54" fmla="*/ 1392 w 731"/>
                <a:gd name="T55" fmla="*/ 33 h 316"/>
                <a:gd name="T56" fmla="*/ 1320 w 731"/>
                <a:gd name="T57" fmla="*/ 33 h 316"/>
                <a:gd name="T58" fmla="*/ 1258 w 731"/>
                <a:gd name="T59" fmla="*/ 33 h 316"/>
                <a:gd name="T60" fmla="*/ 1183 w 731"/>
                <a:gd name="T61" fmla="*/ 30 h 316"/>
                <a:gd name="T62" fmla="*/ 1107 w 731"/>
                <a:gd name="T63" fmla="*/ 30 h 316"/>
                <a:gd name="T64" fmla="*/ 1026 w 731"/>
                <a:gd name="T65" fmla="*/ 30 h 316"/>
                <a:gd name="T66" fmla="*/ 945 w 731"/>
                <a:gd name="T67" fmla="*/ 29 h 316"/>
                <a:gd name="T68" fmla="*/ 864 w 731"/>
                <a:gd name="T69" fmla="*/ 28 h 316"/>
                <a:gd name="T70" fmla="*/ 775 w 731"/>
                <a:gd name="T71" fmla="*/ 28 h 316"/>
                <a:gd name="T72" fmla="*/ 694 w 731"/>
                <a:gd name="T73" fmla="*/ 27 h 316"/>
                <a:gd name="T74" fmla="*/ 604 w 731"/>
                <a:gd name="T75" fmla="*/ 26 h 316"/>
                <a:gd name="T76" fmla="*/ 542 w 731"/>
                <a:gd name="T77" fmla="*/ 26 h 316"/>
                <a:gd name="T78" fmla="*/ 472 w 731"/>
                <a:gd name="T79" fmla="*/ 25 h 316"/>
                <a:gd name="T80" fmla="*/ 409 w 731"/>
                <a:gd name="T81" fmla="*/ 24 h 316"/>
                <a:gd name="T82" fmla="*/ 348 w 731"/>
                <a:gd name="T83" fmla="*/ 24 h 316"/>
                <a:gd name="T84" fmla="*/ 284 w 731"/>
                <a:gd name="T85" fmla="*/ 24 h 316"/>
                <a:gd name="T86" fmla="*/ 864 w 731"/>
                <a:gd name="T87" fmla="*/ 0 h 3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31"/>
                <a:gd name="T133" fmla="*/ 0 h 316"/>
                <a:gd name="T134" fmla="*/ 731 w 731"/>
                <a:gd name="T135" fmla="*/ 316 h 3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31" h="316">
                  <a:moveTo>
                    <a:pt x="443" y="0"/>
                  </a:moveTo>
                  <a:lnTo>
                    <a:pt x="425" y="6"/>
                  </a:lnTo>
                  <a:lnTo>
                    <a:pt x="402" y="17"/>
                  </a:lnTo>
                  <a:lnTo>
                    <a:pt x="384" y="26"/>
                  </a:lnTo>
                  <a:lnTo>
                    <a:pt x="366" y="37"/>
                  </a:lnTo>
                  <a:lnTo>
                    <a:pt x="347" y="45"/>
                  </a:lnTo>
                  <a:lnTo>
                    <a:pt x="329" y="57"/>
                  </a:lnTo>
                  <a:lnTo>
                    <a:pt x="306" y="65"/>
                  </a:lnTo>
                  <a:lnTo>
                    <a:pt x="288" y="77"/>
                  </a:lnTo>
                  <a:lnTo>
                    <a:pt x="265" y="88"/>
                  </a:lnTo>
                  <a:lnTo>
                    <a:pt x="247" y="100"/>
                  </a:lnTo>
                  <a:lnTo>
                    <a:pt x="228" y="108"/>
                  </a:lnTo>
                  <a:lnTo>
                    <a:pt x="210" y="120"/>
                  </a:lnTo>
                  <a:lnTo>
                    <a:pt x="192" y="128"/>
                  </a:lnTo>
                  <a:lnTo>
                    <a:pt x="178" y="139"/>
                  </a:lnTo>
                  <a:lnTo>
                    <a:pt x="160" y="148"/>
                  </a:lnTo>
                  <a:lnTo>
                    <a:pt x="142" y="159"/>
                  </a:lnTo>
                  <a:lnTo>
                    <a:pt x="128" y="168"/>
                  </a:lnTo>
                  <a:lnTo>
                    <a:pt x="114" y="176"/>
                  </a:lnTo>
                  <a:lnTo>
                    <a:pt x="96" y="188"/>
                  </a:lnTo>
                  <a:lnTo>
                    <a:pt x="87" y="196"/>
                  </a:lnTo>
                  <a:lnTo>
                    <a:pt x="73" y="202"/>
                  </a:lnTo>
                  <a:lnTo>
                    <a:pt x="59" y="211"/>
                  </a:lnTo>
                  <a:lnTo>
                    <a:pt x="50" y="219"/>
                  </a:lnTo>
                  <a:lnTo>
                    <a:pt x="41" y="225"/>
                  </a:lnTo>
                  <a:lnTo>
                    <a:pt x="23" y="233"/>
                  </a:lnTo>
                  <a:lnTo>
                    <a:pt x="14" y="242"/>
                  </a:lnTo>
                  <a:lnTo>
                    <a:pt x="5" y="248"/>
                  </a:lnTo>
                  <a:lnTo>
                    <a:pt x="0" y="251"/>
                  </a:lnTo>
                  <a:lnTo>
                    <a:pt x="5" y="251"/>
                  </a:lnTo>
                  <a:lnTo>
                    <a:pt x="14" y="251"/>
                  </a:lnTo>
                  <a:lnTo>
                    <a:pt x="23" y="253"/>
                  </a:lnTo>
                  <a:lnTo>
                    <a:pt x="37" y="253"/>
                  </a:lnTo>
                  <a:lnTo>
                    <a:pt x="46" y="253"/>
                  </a:lnTo>
                  <a:lnTo>
                    <a:pt x="55" y="256"/>
                  </a:lnTo>
                  <a:lnTo>
                    <a:pt x="69" y="259"/>
                  </a:lnTo>
                  <a:lnTo>
                    <a:pt x="82" y="262"/>
                  </a:lnTo>
                  <a:lnTo>
                    <a:pt x="91" y="262"/>
                  </a:lnTo>
                  <a:lnTo>
                    <a:pt x="105" y="265"/>
                  </a:lnTo>
                  <a:lnTo>
                    <a:pt x="114" y="265"/>
                  </a:lnTo>
                  <a:lnTo>
                    <a:pt x="128" y="268"/>
                  </a:lnTo>
                  <a:lnTo>
                    <a:pt x="142" y="268"/>
                  </a:lnTo>
                  <a:lnTo>
                    <a:pt x="155" y="270"/>
                  </a:lnTo>
                  <a:lnTo>
                    <a:pt x="169" y="270"/>
                  </a:lnTo>
                  <a:lnTo>
                    <a:pt x="183" y="273"/>
                  </a:lnTo>
                  <a:lnTo>
                    <a:pt x="192" y="273"/>
                  </a:lnTo>
                  <a:lnTo>
                    <a:pt x="210" y="276"/>
                  </a:lnTo>
                  <a:lnTo>
                    <a:pt x="224" y="279"/>
                  </a:lnTo>
                  <a:lnTo>
                    <a:pt x="238" y="282"/>
                  </a:lnTo>
                  <a:lnTo>
                    <a:pt x="247" y="282"/>
                  </a:lnTo>
                  <a:lnTo>
                    <a:pt x="260" y="282"/>
                  </a:lnTo>
                  <a:lnTo>
                    <a:pt x="274" y="282"/>
                  </a:lnTo>
                  <a:lnTo>
                    <a:pt x="288" y="285"/>
                  </a:lnTo>
                  <a:lnTo>
                    <a:pt x="297" y="288"/>
                  </a:lnTo>
                  <a:lnTo>
                    <a:pt x="311" y="288"/>
                  </a:lnTo>
                  <a:lnTo>
                    <a:pt x="320" y="288"/>
                  </a:lnTo>
                  <a:lnTo>
                    <a:pt x="329" y="290"/>
                  </a:lnTo>
                  <a:lnTo>
                    <a:pt x="338" y="290"/>
                  </a:lnTo>
                  <a:lnTo>
                    <a:pt x="352" y="290"/>
                  </a:lnTo>
                  <a:lnTo>
                    <a:pt x="366" y="293"/>
                  </a:lnTo>
                  <a:lnTo>
                    <a:pt x="379" y="293"/>
                  </a:lnTo>
                  <a:lnTo>
                    <a:pt x="393" y="293"/>
                  </a:lnTo>
                  <a:lnTo>
                    <a:pt x="411" y="293"/>
                  </a:lnTo>
                  <a:lnTo>
                    <a:pt x="425" y="296"/>
                  </a:lnTo>
                  <a:lnTo>
                    <a:pt x="448" y="299"/>
                  </a:lnTo>
                  <a:lnTo>
                    <a:pt x="462" y="299"/>
                  </a:lnTo>
                  <a:lnTo>
                    <a:pt x="480" y="302"/>
                  </a:lnTo>
                  <a:lnTo>
                    <a:pt x="503" y="302"/>
                  </a:lnTo>
                  <a:lnTo>
                    <a:pt x="521" y="305"/>
                  </a:lnTo>
                  <a:lnTo>
                    <a:pt x="539" y="305"/>
                  </a:lnTo>
                  <a:lnTo>
                    <a:pt x="558" y="307"/>
                  </a:lnTo>
                  <a:lnTo>
                    <a:pt x="580" y="310"/>
                  </a:lnTo>
                  <a:lnTo>
                    <a:pt x="599" y="310"/>
                  </a:lnTo>
                  <a:lnTo>
                    <a:pt x="617" y="310"/>
                  </a:lnTo>
                  <a:lnTo>
                    <a:pt x="635" y="310"/>
                  </a:lnTo>
                  <a:lnTo>
                    <a:pt x="649" y="313"/>
                  </a:lnTo>
                  <a:lnTo>
                    <a:pt x="672" y="313"/>
                  </a:lnTo>
                  <a:lnTo>
                    <a:pt x="681" y="313"/>
                  </a:lnTo>
                  <a:lnTo>
                    <a:pt x="699" y="316"/>
                  </a:lnTo>
                  <a:lnTo>
                    <a:pt x="708" y="316"/>
                  </a:lnTo>
                  <a:lnTo>
                    <a:pt x="722" y="316"/>
                  </a:lnTo>
                  <a:lnTo>
                    <a:pt x="731" y="316"/>
                  </a:lnTo>
                  <a:lnTo>
                    <a:pt x="731" y="313"/>
                  </a:lnTo>
                  <a:lnTo>
                    <a:pt x="713" y="310"/>
                  </a:lnTo>
                  <a:lnTo>
                    <a:pt x="695" y="307"/>
                  </a:lnTo>
                  <a:lnTo>
                    <a:pt x="690" y="305"/>
                  </a:lnTo>
                  <a:lnTo>
                    <a:pt x="676" y="302"/>
                  </a:lnTo>
                  <a:lnTo>
                    <a:pt x="667" y="302"/>
                  </a:lnTo>
                  <a:lnTo>
                    <a:pt x="658" y="302"/>
                  </a:lnTo>
                  <a:lnTo>
                    <a:pt x="644" y="299"/>
                  </a:lnTo>
                  <a:lnTo>
                    <a:pt x="635" y="296"/>
                  </a:lnTo>
                  <a:lnTo>
                    <a:pt x="617" y="293"/>
                  </a:lnTo>
                  <a:lnTo>
                    <a:pt x="608" y="290"/>
                  </a:lnTo>
                  <a:lnTo>
                    <a:pt x="590" y="290"/>
                  </a:lnTo>
                  <a:lnTo>
                    <a:pt x="580" y="288"/>
                  </a:lnTo>
                  <a:lnTo>
                    <a:pt x="567" y="285"/>
                  </a:lnTo>
                  <a:lnTo>
                    <a:pt x="558" y="285"/>
                  </a:lnTo>
                  <a:lnTo>
                    <a:pt x="539" y="282"/>
                  </a:lnTo>
                  <a:lnTo>
                    <a:pt x="526" y="279"/>
                  </a:lnTo>
                  <a:lnTo>
                    <a:pt x="512" y="276"/>
                  </a:lnTo>
                  <a:lnTo>
                    <a:pt x="503" y="273"/>
                  </a:lnTo>
                  <a:lnTo>
                    <a:pt x="484" y="270"/>
                  </a:lnTo>
                  <a:lnTo>
                    <a:pt x="471" y="268"/>
                  </a:lnTo>
                  <a:lnTo>
                    <a:pt x="457" y="265"/>
                  </a:lnTo>
                  <a:lnTo>
                    <a:pt x="443" y="265"/>
                  </a:lnTo>
                  <a:lnTo>
                    <a:pt x="425" y="262"/>
                  </a:lnTo>
                  <a:lnTo>
                    <a:pt x="411" y="259"/>
                  </a:lnTo>
                  <a:lnTo>
                    <a:pt x="398" y="253"/>
                  </a:lnTo>
                  <a:lnTo>
                    <a:pt x="384" y="253"/>
                  </a:lnTo>
                  <a:lnTo>
                    <a:pt x="370" y="251"/>
                  </a:lnTo>
                  <a:lnTo>
                    <a:pt x="356" y="248"/>
                  </a:lnTo>
                  <a:lnTo>
                    <a:pt x="343" y="245"/>
                  </a:lnTo>
                  <a:lnTo>
                    <a:pt x="329" y="242"/>
                  </a:lnTo>
                  <a:lnTo>
                    <a:pt x="311" y="239"/>
                  </a:lnTo>
                  <a:lnTo>
                    <a:pt x="302" y="239"/>
                  </a:lnTo>
                  <a:lnTo>
                    <a:pt x="292" y="233"/>
                  </a:lnTo>
                  <a:lnTo>
                    <a:pt x="279" y="233"/>
                  </a:lnTo>
                  <a:lnTo>
                    <a:pt x="265" y="231"/>
                  </a:lnTo>
                  <a:lnTo>
                    <a:pt x="256" y="231"/>
                  </a:lnTo>
                  <a:lnTo>
                    <a:pt x="242" y="228"/>
                  </a:lnTo>
                  <a:lnTo>
                    <a:pt x="238" y="225"/>
                  </a:lnTo>
                  <a:lnTo>
                    <a:pt x="224" y="225"/>
                  </a:lnTo>
                  <a:lnTo>
                    <a:pt x="210" y="222"/>
                  </a:lnTo>
                  <a:lnTo>
                    <a:pt x="201" y="219"/>
                  </a:lnTo>
                  <a:lnTo>
                    <a:pt x="192" y="219"/>
                  </a:lnTo>
                  <a:lnTo>
                    <a:pt x="178" y="216"/>
                  </a:lnTo>
                  <a:lnTo>
                    <a:pt x="169" y="214"/>
                  </a:lnTo>
                  <a:lnTo>
                    <a:pt x="155" y="211"/>
                  </a:lnTo>
                  <a:lnTo>
                    <a:pt x="146" y="211"/>
                  </a:lnTo>
                  <a:lnTo>
                    <a:pt x="142" y="211"/>
                  </a:lnTo>
                  <a:lnTo>
                    <a:pt x="443"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10" name="Freeform 200"/>
            <p:cNvSpPr>
              <a:spLocks/>
            </p:cNvSpPr>
            <p:nvPr>
              <p:custDataLst>
                <p:tags r:id="rId109"/>
              </p:custDataLst>
            </p:nvPr>
          </p:nvSpPr>
          <p:spPr bwMode="gray">
            <a:xfrm>
              <a:off x="2047" y="511"/>
              <a:ext cx="988" cy="211"/>
            </a:xfrm>
            <a:custGeom>
              <a:avLst/>
              <a:gdLst>
                <a:gd name="T0" fmla="*/ 58 w 964"/>
                <a:gd name="T1" fmla="*/ 20 h 231"/>
                <a:gd name="T2" fmla="*/ 163 w 964"/>
                <a:gd name="T3" fmla="*/ 18 h 231"/>
                <a:gd name="T4" fmla="*/ 241 w 964"/>
                <a:gd name="T5" fmla="*/ 16 h 231"/>
                <a:gd name="T6" fmla="*/ 301 w 964"/>
                <a:gd name="T7" fmla="*/ 15 h 231"/>
                <a:gd name="T8" fmla="*/ 373 w 964"/>
                <a:gd name="T9" fmla="*/ 13 h 231"/>
                <a:gd name="T10" fmla="*/ 434 w 964"/>
                <a:gd name="T11" fmla="*/ 13 h 231"/>
                <a:gd name="T12" fmla="*/ 503 w 964"/>
                <a:gd name="T13" fmla="*/ 11 h 231"/>
                <a:gd name="T14" fmla="*/ 563 w 964"/>
                <a:gd name="T15" fmla="*/ 10 h 231"/>
                <a:gd name="T16" fmla="*/ 633 w 964"/>
                <a:gd name="T17" fmla="*/ 8 h 231"/>
                <a:gd name="T18" fmla="*/ 695 w 964"/>
                <a:gd name="T19" fmla="*/ 6 h 231"/>
                <a:gd name="T20" fmla="*/ 761 w 964"/>
                <a:gd name="T21" fmla="*/ 5 h 231"/>
                <a:gd name="T22" fmla="*/ 824 w 964"/>
                <a:gd name="T23" fmla="*/ 5 h 231"/>
                <a:gd name="T24" fmla="*/ 881 w 964"/>
                <a:gd name="T25" fmla="*/ 5 h 231"/>
                <a:gd name="T26" fmla="*/ 942 w 964"/>
                <a:gd name="T27" fmla="*/ 5 h 231"/>
                <a:gd name="T28" fmla="*/ 1039 w 964"/>
                <a:gd name="T29" fmla="*/ 5 h 231"/>
                <a:gd name="T30" fmla="*/ 1137 w 964"/>
                <a:gd name="T31" fmla="*/ 5 h 231"/>
                <a:gd name="T32" fmla="*/ 1224 w 964"/>
                <a:gd name="T33" fmla="*/ 0 h 231"/>
                <a:gd name="T34" fmla="*/ 1291 w 964"/>
                <a:gd name="T35" fmla="*/ 0 h 231"/>
                <a:gd name="T36" fmla="*/ 1367 w 964"/>
                <a:gd name="T37" fmla="*/ 0 h 231"/>
                <a:gd name="T38" fmla="*/ 1437 w 964"/>
                <a:gd name="T39" fmla="*/ 5 h 231"/>
                <a:gd name="T40" fmla="*/ 1525 w 964"/>
                <a:gd name="T41" fmla="*/ 5 h 231"/>
                <a:gd name="T42" fmla="*/ 1594 w 964"/>
                <a:gd name="T43" fmla="*/ 5 h 231"/>
                <a:gd name="T44" fmla="*/ 1665 w 964"/>
                <a:gd name="T45" fmla="*/ 5 h 231"/>
                <a:gd name="T46" fmla="*/ 1731 w 964"/>
                <a:gd name="T47" fmla="*/ 5 h 231"/>
                <a:gd name="T48" fmla="*/ 1811 w 964"/>
                <a:gd name="T49" fmla="*/ 5 h 231"/>
                <a:gd name="T50" fmla="*/ 1825 w 964"/>
                <a:gd name="T51" fmla="*/ 5 h 231"/>
                <a:gd name="T52" fmla="*/ 1760 w 964"/>
                <a:gd name="T53" fmla="*/ 5 h 231"/>
                <a:gd name="T54" fmla="*/ 1665 w 964"/>
                <a:gd name="T55" fmla="*/ 5 h 231"/>
                <a:gd name="T56" fmla="*/ 1603 w 964"/>
                <a:gd name="T57" fmla="*/ 5 h 231"/>
                <a:gd name="T58" fmla="*/ 1525 w 964"/>
                <a:gd name="T59" fmla="*/ 5 h 231"/>
                <a:gd name="T60" fmla="*/ 1437 w 964"/>
                <a:gd name="T61" fmla="*/ 5 h 231"/>
                <a:gd name="T62" fmla="*/ 1353 w 964"/>
                <a:gd name="T63" fmla="*/ 5 h 231"/>
                <a:gd name="T64" fmla="*/ 1264 w 964"/>
                <a:gd name="T65" fmla="*/ 5 h 231"/>
                <a:gd name="T66" fmla="*/ 1179 w 964"/>
                <a:gd name="T67" fmla="*/ 5 h 231"/>
                <a:gd name="T68" fmla="*/ 1083 w 964"/>
                <a:gd name="T69" fmla="*/ 5 h 231"/>
                <a:gd name="T70" fmla="*/ 987 w 964"/>
                <a:gd name="T71" fmla="*/ 5 h 231"/>
                <a:gd name="T72" fmla="*/ 924 w 964"/>
                <a:gd name="T73" fmla="*/ 5 h 231"/>
                <a:gd name="T74" fmla="*/ 868 w 964"/>
                <a:gd name="T75" fmla="*/ 7 h 231"/>
                <a:gd name="T76" fmla="*/ 789 w 964"/>
                <a:gd name="T77" fmla="*/ 9 h 231"/>
                <a:gd name="T78" fmla="*/ 717 w 964"/>
                <a:gd name="T79" fmla="*/ 10 h 231"/>
                <a:gd name="T80" fmla="*/ 650 w 964"/>
                <a:gd name="T81" fmla="*/ 11 h 231"/>
                <a:gd name="T82" fmla="*/ 574 w 964"/>
                <a:gd name="T83" fmla="*/ 12 h 231"/>
                <a:gd name="T84" fmla="*/ 503 w 964"/>
                <a:gd name="T85" fmla="*/ 13 h 231"/>
                <a:gd name="T86" fmla="*/ 434 w 964"/>
                <a:gd name="T87" fmla="*/ 14 h 231"/>
                <a:gd name="T88" fmla="*/ 356 w 964"/>
                <a:gd name="T89" fmla="*/ 15 h 231"/>
                <a:gd name="T90" fmla="*/ 294 w 964"/>
                <a:gd name="T91" fmla="*/ 16 h 231"/>
                <a:gd name="T92" fmla="*/ 234 w 964"/>
                <a:gd name="T93" fmla="*/ 18 h 231"/>
                <a:gd name="T94" fmla="*/ 163 w 964"/>
                <a:gd name="T95" fmla="*/ 18 h 231"/>
                <a:gd name="T96" fmla="*/ 65 w 964"/>
                <a:gd name="T97" fmla="*/ 21 h 231"/>
                <a:gd name="T98" fmla="*/ 0 w 964"/>
                <a:gd name="T99" fmla="*/ 22 h 2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64"/>
                <a:gd name="T151" fmla="*/ 0 h 231"/>
                <a:gd name="T152" fmla="*/ 964 w 964"/>
                <a:gd name="T153" fmla="*/ 231 h 23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64" h="231">
                  <a:moveTo>
                    <a:pt x="0" y="231"/>
                  </a:moveTo>
                  <a:lnTo>
                    <a:pt x="14" y="222"/>
                  </a:lnTo>
                  <a:lnTo>
                    <a:pt x="32" y="214"/>
                  </a:lnTo>
                  <a:lnTo>
                    <a:pt x="46" y="202"/>
                  </a:lnTo>
                  <a:lnTo>
                    <a:pt x="69" y="197"/>
                  </a:lnTo>
                  <a:lnTo>
                    <a:pt x="87" y="185"/>
                  </a:lnTo>
                  <a:lnTo>
                    <a:pt x="105" y="177"/>
                  </a:lnTo>
                  <a:lnTo>
                    <a:pt x="119" y="171"/>
                  </a:lnTo>
                  <a:lnTo>
                    <a:pt x="128" y="168"/>
                  </a:lnTo>
                  <a:lnTo>
                    <a:pt x="142" y="163"/>
                  </a:lnTo>
                  <a:lnTo>
                    <a:pt x="151" y="157"/>
                  </a:lnTo>
                  <a:lnTo>
                    <a:pt x="160" y="154"/>
                  </a:lnTo>
                  <a:lnTo>
                    <a:pt x="169" y="148"/>
                  </a:lnTo>
                  <a:lnTo>
                    <a:pt x="183" y="143"/>
                  </a:lnTo>
                  <a:lnTo>
                    <a:pt x="197" y="137"/>
                  </a:lnTo>
                  <a:lnTo>
                    <a:pt x="206" y="134"/>
                  </a:lnTo>
                  <a:lnTo>
                    <a:pt x="220" y="128"/>
                  </a:lnTo>
                  <a:lnTo>
                    <a:pt x="229" y="126"/>
                  </a:lnTo>
                  <a:lnTo>
                    <a:pt x="238" y="120"/>
                  </a:lnTo>
                  <a:lnTo>
                    <a:pt x="256" y="114"/>
                  </a:lnTo>
                  <a:lnTo>
                    <a:pt x="265" y="111"/>
                  </a:lnTo>
                  <a:lnTo>
                    <a:pt x="274" y="106"/>
                  </a:lnTo>
                  <a:lnTo>
                    <a:pt x="288" y="103"/>
                  </a:lnTo>
                  <a:lnTo>
                    <a:pt x="297" y="97"/>
                  </a:lnTo>
                  <a:lnTo>
                    <a:pt x="311" y="91"/>
                  </a:lnTo>
                  <a:lnTo>
                    <a:pt x="325" y="91"/>
                  </a:lnTo>
                  <a:lnTo>
                    <a:pt x="334" y="86"/>
                  </a:lnTo>
                  <a:lnTo>
                    <a:pt x="343" y="80"/>
                  </a:lnTo>
                  <a:lnTo>
                    <a:pt x="357" y="77"/>
                  </a:lnTo>
                  <a:lnTo>
                    <a:pt x="366" y="71"/>
                  </a:lnTo>
                  <a:lnTo>
                    <a:pt x="379" y="69"/>
                  </a:lnTo>
                  <a:lnTo>
                    <a:pt x="389" y="66"/>
                  </a:lnTo>
                  <a:lnTo>
                    <a:pt x="402" y="60"/>
                  </a:lnTo>
                  <a:lnTo>
                    <a:pt x="411" y="57"/>
                  </a:lnTo>
                  <a:lnTo>
                    <a:pt x="425" y="54"/>
                  </a:lnTo>
                  <a:lnTo>
                    <a:pt x="434" y="49"/>
                  </a:lnTo>
                  <a:lnTo>
                    <a:pt x="448" y="49"/>
                  </a:lnTo>
                  <a:lnTo>
                    <a:pt x="457" y="43"/>
                  </a:lnTo>
                  <a:lnTo>
                    <a:pt x="466" y="40"/>
                  </a:lnTo>
                  <a:lnTo>
                    <a:pt x="480" y="37"/>
                  </a:lnTo>
                  <a:lnTo>
                    <a:pt x="489" y="34"/>
                  </a:lnTo>
                  <a:lnTo>
                    <a:pt x="498" y="32"/>
                  </a:lnTo>
                  <a:lnTo>
                    <a:pt x="512" y="29"/>
                  </a:lnTo>
                  <a:lnTo>
                    <a:pt x="530" y="23"/>
                  </a:lnTo>
                  <a:lnTo>
                    <a:pt x="549" y="17"/>
                  </a:lnTo>
                  <a:lnTo>
                    <a:pt x="567" y="15"/>
                  </a:lnTo>
                  <a:lnTo>
                    <a:pt x="585" y="9"/>
                  </a:lnTo>
                  <a:lnTo>
                    <a:pt x="599" y="6"/>
                  </a:lnTo>
                  <a:lnTo>
                    <a:pt x="617" y="6"/>
                  </a:lnTo>
                  <a:lnTo>
                    <a:pt x="631" y="0"/>
                  </a:lnTo>
                  <a:lnTo>
                    <a:pt x="645" y="0"/>
                  </a:lnTo>
                  <a:lnTo>
                    <a:pt x="654" y="0"/>
                  </a:lnTo>
                  <a:lnTo>
                    <a:pt x="667" y="0"/>
                  </a:lnTo>
                  <a:lnTo>
                    <a:pt x="681" y="0"/>
                  </a:lnTo>
                  <a:lnTo>
                    <a:pt x="695" y="0"/>
                  </a:lnTo>
                  <a:lnTo>
                    <a:pt x="704" y="0"/>
                  </a:lnTo>
                  <a:lnTo>
                    <a:pt x="722" y="0"/>
                  </a:lnTo>
                  <a:lnTo>
                    <a:pt x="736" y="3"/>
                  </a:lnTo>
                  <a:lnTo>
                    <a:pt x="750" y="6"/>
                  </a:lnTo>
                  <a:lnTo>
                    <a:pt x="759" y="6"/>
                  </a:lnTo>
                  <a:lnTo>
                    <a:pt x="777" y="9"/>
                  </a:lnTo>
                  <a:lnTo>
                    <a:pt x="786" y="12"/>
                  </a:lnTo>
                  <a:lnTo>
                    <a:pt x="804" y="17"/>
                  </a:lnTo>
                  <a:lnTo>
                    <a:pt x="814" y="17"/>
                  </a:lnTo>
                  <a:lnTo>
                    <a:pt x="827" y="20"/>
                  </a:lnTo>
                  <a:lnTo>
                    <a:pt x="841" y="23"/>
                  </a:lnTo>
                  <a:lnTo>
                    <a:pt x="855" y="29"/>
                  </a:lnTo>
                  <a:lnTo>
                    <a:pt x="864" y="29"/>
                  </a:lnTo>
                  <a:lnTo>
                    <a:pt x="878" y="34"/>
                  </a:lnTo>
                  <a:lnTo>
                    <a:pt x="887" y="37"/>
                  </a:lnTo>
                  <a:lnTo>
                    <a:pt x="896" y="40"/>
                  </a:lnTo>
                  <a:lnTo>
                    <a:pt x="914" y="43"/>
                  </a:lnTo>
                  <a:lnTo>
                    <a:pt x="932" y="49"/>
                  </a:lnTo>
                  <a:lnTo>
                    <a:pt x="946" y="54"/>
                  </a:lnTo>
                  <a:lnTo>
                    <a:pt x="955" y="57"/>
                  </a:lnTo>
                  <a:lnTo>
                    <a:pt x="964" y="60"/>
                  </a:lnTo>
                  <a:lnTo>
                    <a:pt x="955" y="60"/>
                  </a:lnTo>
                  <a:lnTo>
                    <a:pt x="946" y="57"/>
                  </a:lnTo>
                  <a:lnTo>
                    <a:pt x="928" y="54"/>
                  </a:lnTo>
                  <a:lnTo>
                    <a:pt x="910" y="49"/>
                  </a:lnTo>
                  <a:lnTo>
                    <a:pt x="891" y="49"/>
                  </a:lnTo>
                  <a:lnTo>
                    <a:pt x="878" y="46"/>
                  </a:lnTo>
                  <a:lnTo>
                    <a:pt x="868" y="43"/>
                  </a:lnTo>
                  <a:lnTo>
                    <a:pt x="859" y="43"/>
                  </a:lnTo>
                  <a:lnTo>
                    <a:pt x="846" y="43"/>
                  </a:lnTo>
                  <a:lnTo>
                    <a:pt x="832" y="40"/>
                  </a:lnTo>
                  <a:lnTo>
                    <a:pt x="823" y="37"/>
                  </a:lnTo>
                  <a:lnTo>
                    <a:pt x="804" y="37"/>
                  </a:lnTo>
                  <a:lnTo>
                    <a:pt x="791" y="37"/>
                  </a:lnTo>
                  <a:lnTo>
                    <a:pt x="772" y="34"/>
                  </a:lnTo>
                  <a:lnTo>
                    <a:pt x="759" y="34"/>
                  </a:lnTo>
                  <a:lnTo>
                    <a:pt x="745" y="34"/>
                  </a:lnTo>
                  <a:lnTo>
                    <a:pt x="731" y="34"/>
                  </a:lnTo>
                  <a:lnTo>
                    <a:pt x="713" y="32"/>
                  </a:lnTo>
                  <a:lnTo>
                    <a:pt x="699" y="32"/>
                  </a:lnTo>
                  <a:lnTo>
                    <a:pt x="681" y="32"/>
                  </a:lnTo>
                  <a:lnTo>
                    <a:pt x="667" y="34"/>
                  </a:lnTo>
                  <a:lnTo>
                    <a:pt x="654" y="34"/>
                  </a:lnTo>
                  <a:lnTo>
                    <a:pt x="635" y="37"/>
                  </a:lnTo>
                  <a:lnTo>
                    <a:pt x="622" y="37"/>
                  </a:lnTo>
                  <a:lnTo>
                    <a:pt x="608" y="43"/>
                  </a:lnTo>
                  <a:lnTo>
                    <a:pt x="585" y="43"/>
                  </a:lnTo>
                  <a:lnTo>
                    <a:pt x="571" y="46"/>
                  </a:lnTo>
                  <a:lnTo>
                    <a:pt x="549" y="49"/>
                  </a:lnTo>
                  <a:lnTo>
                    <a:pt x="530" y="57"/>
                  </a:lnTo>
                  <a:lnTo>
                    <a:pt x="521" y="57"/>
                  </a:lnTo>
                  <a:lnTo>
                    <a:pt x="512" y="60"/>
                  </a:lnTo>
                  <a:lnTo>
                    <a:pt x="498" y="63"/>
                  </a:lnTo>
                  <a:lnTo>
                    <a:pt x="489" y="66"/>
                  </a:lnTo>
                  <a:lnTo>
                    <a:pt x="480" y="71"/>
                  </a:lnTo>
                  <a:lnTo>
                    <a:pt x="466" y="71"/>
                  </a:lnTo>
                  <a:lnTo>
                    <a:pt x="457" y="77"/>
                  </a:lnTo>
                  <a:lnTo>
                    <a:pt x="443" y="80"/>
                  </a:lnTo>
                  <a:lnTo>
                    <a:pt x="430" y="83"/>
                  </a:lnTo>
                  <a:lnTo>
                    <a:pt x="416" y="89"/>
                  </a:lnTo>
                  <a:lnTo>
                    <a:pt x="402" y="91"/>
                  </a:lnTo>
                  <a:lnTo>
                    <a:pt x="393" y="94"/>
                  </a:lnTo>
                  <a:lnTo>
                    <a:pt x="379" y="97"/>
                  </a:lnTo>
                  <a:lnTo>
                    <a:pt x="366" y="103"/>
                  </a:lnTo>
                  <a:lnTo>
                    <a:pt x="357" y="106"/>
                  </a:lnTo>
                  <a:lnTo>
                    <a:pt x="343" y="111"/>
                  </a:lnTo>
                  <a:lnTo>
                    <a:pt x="325" y="114"/>
                  </a:lnTo>
                  <a:lnTo>
                    <a:pt x="311" y="117"/>
                  </a:lnTo>
                  <a:lnTo>
                    <a:pt x="302" y="123"/>
                  </a:lnTo>
                  <a:lnTo>
                    <a:pt x="288" y="128"/>
                  </a:lnTo>
                  <a:lnTo>
                    <a:pt x="274" y="131"/>
                  </a:lnTo>
                  <a:lnTo>
                    <a:pt x="265" y="134"/>
                  </a:lnTo>
                  <a:lnTo>
                    <a:pt x="256" y="140"/>
                  </a:lnTo>
                  <a:lnTo>
                    <a:pt x="238" y="145"/>
                  </a:lnTo>
                  <a:lnTo>
                    <a:pt x="229" y="148"/>
                  </a:lnTo>
                  <a:lnTo>
                    <a:pt x="215" y="151"/>
                  </a:lnTo>
                  <a:lnTo>
                    <a:pt x="201" y="157"/>
                  </a:lnTo>
                  <a:lnTo>
                    <a:pt x="188" y="160"/>
                  </a:lnTo>
                  <a:lnTo>
                    <a:pt x="178" y="163"/>
                  </a:lnTo>
                  <a:lnTo>
                    <a:pt x="169" y="168"/>
                  </a:lnTo>
                  <a:lnTo>
                    <a:pt x="156" y="171"/>
                  </a:lnTo>
                  <a:lnTo>
                    <a:pt x="146" y="177"/>
                  </a:lnTo>
                  <a:lnTo>
                    <a:pt x="133" y="180"/>
                  </a:lnTo>
                  <a:lnTo>
                    <a:pt x="124" y="183"/>
                  </a:lnTo>
                  <a:lnTo>
                    <a:pt x="114" y="185"/>
                  </a:lnTo>
                  <a:lnTo>
                    <a:pt x="105" y="191"/>
                  </a:lnTo>
                  <a:lnTo>
                    <a:pt x="87" y="197"/>
                  </a:lnTo>
                  <a:lnTo>
                    <a:pt x="69" y="205"/>
                  </a:lnTo>
                  <a:lnTo>
                    <a:pt x="55" y="211"/>
                  </a:lnTo>
                  <a:lnTo>
                    <a:pt x="37" y="217"/>
                  </a:lnTo>
                  <a:lnTo>
                    <a:pt x="28" y="220"/>
                  </a:lnTo>
                  <a:lnTo>
                    <a:pt x="18" y="225"/>
                  </a:lnTo>
                  <a:lnTo>
                    <a:pt x="0" y="231"/>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11" name="Freeform 201"/>
            <p:cNvSpPr>
              <a:spLocks/>
            </p:cNvSpPr>
            <p:nvPr>
              <p:custDataLst>
                <p:tags r:id="rId110"/>
              </p:custDataLst>
            </p:nvPr>
          </p:nvSpPr>
          <p:spPr bwMode="gray">
            <a:xfrm>
              <a:off x="4230" y="923"/>
              <a:ext cx="797" cy="336"/>
            </a:xfrm>
            <a:custGeom>
              <a:avLst/>
              <a:gdLst>
                <a:gd name="T0" fmla="*/ 49 w 777"/>
                <a:gd name="T1" fmla="*/ 5 h 367"/>
                <a:gd name="T2" fmla="*/ 125 w 777"/>
                <a:gd name="T3" fmla="*/ 5 h 367"/>
                <a:gd name="T4" fmla="*/ 196 w 777"/>
                <a:gd name="T5" fmla="*/ 5 h 367"/>
                <a:gd name="T6" fmla="*/ 267 w 777"/>
                <a:gd name="T7" fmla="*/ 5 h 367"/>
                <a:gd name="T8" fmla="*/ 354 w 777"/>
                <a:gd name="T9" fmla="*/ 6 h 367"/>
                <a:gd name="T10" fmla="*/ 441 w 777"/>
                <a:gd name="T11" fmla="*/ 9 h 367"/>
                <a:gd name="T12" fmla="*/ 541 w 777"/>
                <a:gd name="T13" fmla="*/ 12 h 367"/>
                <a:gd name="T14" fmla="*/ 636 w 777"/>
                <a:gd name="T15" fmla="*/ 14 h 367"/>
                <a:gd name="T16" fmla="*/ 743 w 777"/>
                <a:gd name="T17" fmla="*/ 16 h 367"/>
                <a:gd name="T18" fmla="*/ 841 w 777"/>
                <a:gd name="T19" fmla="*/ 17 h 367"/>
                <a:gd name="T20" fmla="*/ 947 w 777"/>
                <a:gd name="T21" fmla="*/ 21 h 367"/>
                <a:gd name="T22" fmla="*/ 1043 w 777"/>
                <a:gd name="T23" fmla="*/ 23 h 367"/>
                <a:gd name="T24" fmla="*/ 1131 w 777"/>
                <a:gd name="T25" fmla="*/ 25 h 367"/>
                <a:gd name="T26" fmla="*/ 1220 w 777"/>
                <a:gd name="T27" fmla="*/ 27 h 367"/>
                <a:gd name="T28" fmla="*/ 1301 w 777"/>
                <a:gd name="T29" fmla="*/ 27 h 367"/>
                <a:gd name="T30" fmla="*/ 1372 w 777"/>
                <a:gd name="T31" fmla="*/ 29 h 367"/>
                <a:gd name="T32" fmla="*/ 1448 w 777"/>
                <a:gd name="T33" fmla="*/ 32 h 367"/>
                <a:gd name="T34" fmla="*/ 1506 w 777"/>
                <a:gd name="T35" fmla="*/ 33 h 367"/>
                <a:gd name="T36" fmla="*/ 1448 w 777"/>
                <a:gd name="T37" fmla="*/ 33 h 367"/>
                <a:gd name="T38" fmla="*/ 1381 w 777"/>
                <a:gd name="T39" fmla="*/ 35 h 367"/>
                <a:gd name="T40" fmla="*/ 1296 w 777"/>
                <a:gd name="T41" fmla="*/ 35 h 367"/>
                <a:gd name="T42" fmla="*/ 1185 w 777"/>
                <a:gd name="T43" fmla="*/ 35 h 367"/>
                <a:gd name="T44" fmla="*/ 1076 w 777"/>
                <a:gd name="T45" fmla="*/ 35 h 367"/>
                <a:gd name="T46" fmla="*/ 956 w 777"/>
                <a:gd name="T47" fmla="*/ 36 h 367"/>
                <a:gd name="T48" fmla="*/ 856 w 777"/>
                <a:gd name="T49" fmla="*/ 36 h 367"/>
                <a:gd name="T50" fmla="*/ 769 w 777"/>
                <a:gd name="T51" fmla="*/ 37 h 367"/>
                <a:gd name="T52" fmla="*/ 1131 w 777"/>
                <a:gd name="T53" fmla="*/ 29 h 367"/>
                <a:gd name="T54" fmla="*/ 1061 w 777"/>
                <a:gd name="T55" fmla="*/ 27 h 367"/>
                <a:gd name="T56" fmla="*/ 991 w 777"/>
                <a:gd name="T57" fmla="*/ 25 h 367"/>
                <a:gd name="T58" fmla="*/ 919 w 777"/>
                <a:gd name="T59" fmla="*/ 24 h 367"/>
                <a:gd name="T60" fmla="*/ 851 w 777"/>
                <a:gd name="T61" fmla="*/ 22 h 367"/>
                <a:gd name="T62" fmla="*/ 769 w 777"/>
                <a:gd name="T63" fmla="*/ 21 h 367"/>
                <a:gd name="T64" fmla="*/ 700 w 777"/>
                <a:gd name="T65" fmla="*/ 17 h 367"/>
                <a:gd name="T66" fmla="*/ 602 w 777"/>
                <a:gd name="T67" fmla="*/ 16 h 367"/>
                <a:gd name="T68" fmla="*/ 530 w 777"/>
                <a:gd name="T69" fmla="*/ 14 h 367"/>
                <a:gd name="T70" fmla="*/ 441 w 777"/>
                <a:gd name="T71" fmla="*/ 13 h 367"/>
                <a:gd name="T72" fmla="*/ 362 w 777"/>
                <a:gd name="T73" fmla="*/ 10 h 367"/>
                <a:gd name="T74" fmla="*/ 282 w 777"/>
                <a:gd name="T75" fmla="*/ 7 h 367"/>
                <a:gd name="T76" fmla="*/ 218 w 777"/>
                <a:gd name="T77" fmla="*/ 5 h 367"/>
                <a:gd name="T78" fmla="*/ 157 w 777"/>
                <a:gd name="T79" fmla="*/ 5 h 367"/>
                <a:gd name="T80" fmla="*/ 65 w 777"/>
                <a:gd name="T81" fmla="*/ 5 h 367"/>
                <a:gd name="T82" fmla="*/ 0 w 777"/>
                <a:gd name="T83" fmla="*/ 0 h 3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77"/>
                <a:gd name="T127" fmla="*/ 0 h 367"/>
                <a:gd name="T128" fmla="*/ 777 w 777"/>
                <a:gd name="T129" fmla="*/ 367 h 3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77" h="367">
                  <a:moveTo>
                    <a:pt x="4" y="0"/>
                  </a:moveTo>
                  <a:lnTo>
                    <a:pt x="9" y="0"/>
                  </a:lnTo>
                  <a:lnTo>
                    <a:pt x="23" y="6"/>
                  </a:lnTo>
                  <a:lnTo>
                    <a:pt x="36" y="11"/>
                  </a:lnTo>
                  <a:lnTo>
                    <a:pt x="55" y="17"/>
                  </a:lnTo>
                  <a:lnTo>
                    <a:pt x="64" y="23"/>
                  </a:lnTo>
                  <a:lnTo>
                    <a:pt x="73" y="26"/>
                  </a:lnTo>
                  <a:lnTo>
                    <a:pt x="87" y="28"/>
                  </a:lnTo>
                  <a:lnTo>
                    <a:pt x="100" y="37"/>
                  </a:lnTo>
                  <a:lnTo>
                    <a:pt x="110" y="40"/>
                  </a:lnTo>
                  <a:lnTo>
                    <a:pt x="123" y="46"/>
                  </a:lnTo>
                  <a:lnTo>
                    <a:pt x="137" y="51"/>
                  </a:lnTo>
                  <a:lnTo>
                    <a:pt x="155" y="57"/>
                  </a:lnTo>
                  <a:lnTo>
                    <a:pt x="169" y="65"/>
                  </a:lnTo>
                  <a:lnTo>
                    <a:pt x="183" y="68"/>
                  </a:lnTo>
                  <a:lnTo>
                    <a:pt x="196" y="74"/>
                  </a:lnTo>
                  <a:lnTo>
                    <a:pt x="215" y="85"/>
                  </a:lnTo>
                  <a:lnTo>
                    <a:pt x="228" y="88"/>
                  </a:lnTo>
                  <a:lnTo>
                    <a:pt x="247" y="97"/>
                  </a:lnTo>
                  <a:lnTo>
                    <a:pt x="260" y="105"/>
                  </a:lnTo>
                  <a:lnTo>
                    <a:pt x="279" y="111"/>
                  </a:lnTo>
                  <a:lnTo>
                    <a:pt x="297" y="117"/>
                  </a:lnTo>
                  <a:lnTo>
                    <a:pt x="311" y="125"/>
                  </a:lnTo>
                  <a:lnTo>
                    <a:pt x="329" y="131"/>
                  </a:lnTo>
                  <a:lnTo>
                    <a:pt x="347" y="140"/>
                  </a:lnTo>
                  <a:lnTo>
                    <a:pt x="365" y="148"/>
                  </a:lnTo>
                  <a:lnTo>
                    <a:pt x="384" y="154"/>
                  </a:lnTo>
                  <a:lnTo>
                    <a:pt x="402" y="162"/>
                  </a:lnTo>
                  <a:lnTo>
                    <a:pt x="420" y="171"/>
                  </a:lnTo>
                  <a:lnTo>
                    <a:pt x="434" y="177"/>
                  </a:lnTo>
                  <a:lnTo>
                    <a:pt x="457" y="185"/>
                  </a:lnTo>
                  <a:lnTo>
                    <a:pt x="471" y="191"/>
                  </a:lnTo>
                  <a:lnTo>
                    <a:pt x="489" y="199"/>
                  </a:lnTo>
                  <a:lnTo>
                    <a:pt x="507" y="205"/>
                  </a:lnTo>
                  <a:lnTo>
                    <a:pt x="525" y="214"/>
                  </a:lnTo>
                  <a:lnTo>
                    <a:pt x="539" y="219"/>
                  </a:lnTo>
                  <a:lnTo>
                    <a:pt x="557" y="225"/>
                  </a:lnTo>
                  <a:lnTo>
                    <a:pt x="571" y="233"/>
                  </a:lnTo>
                  <a:lnTo>
                    <a:pt x="585" y="239"/>
                  </a:lnTo>
                  <a:lnTo>
                    <a:pt x="603" y="248"/>
                  </a:lnTo>
                  <a:lnTo>
                    <a:pt x="617" y="253"/>
                  </a:lnTo>
                  <a:lnTo>
                    <a:pt x="630" y="259"/>
                  </a:lnTo>
                  <a:lnTo>
                    <a:pt x="644" y="268"/>
                  </a:lnTo>
                  <a:lnTo>
                    <a:pt x="658" y="273"/>
                  </a:lnTo>
                  <a:lnTo>
                    <a:pt x="672" y="279"/>
                  </a:lnTo>
                  <a:lnTo>
                    <a:pt x="681" y="282"/>
                  </a:lnTo>
                  <a:lnTo>
                    <a:pt x="690" y="288"/>
                  </a:lnTo>
                  <a:lnTo>
                    <a:pt x="708" y="293"/>
                  </a:lnTo>
                  <a:lnTo>
                    <a:pt x="717" y="299"/>
                  </a:lnTo>
                  <a:lnTo>
                    <a:pt x="736" y="308"/>
                  </a:lnTo>
                  <a:lnTo>
                    <a:pt x="749" y="316"/>
                  </a:lnTo>
                  <a:lnTo>
                    <a:pt x="763" y="322"/>
                  </a:lnTo>
                  <a:lnTo>
                    <a:pt x="772" y="325"/>
                  </a:lnTo>
                  <a:lnTo>
                    <a:pt x="777" y="330"/>
                  </a:lnTo>
                  <a:lnTo>
                    <a:pt x="763" y="330"/>
                  </a:lnTo>
                  <a:lnTo>
                    <a:pt x="749" y="333"/>
                  </a:lnTo>
                  <a:lnTo>
                    <a:pt x="740" y="336"/>
                  </a:lnTo>
                  <a:lnTo>
                    <a:pt x="726" y="336"/>
                  </a:lnTo>
                  <a:lnTo>
                    <a:pt x="713" y="339"/>
                  </a:lnTo>
                  <a:lnTo>
                    <a:pt x="699" y="342"/>
                  </a:lnTo>
                  <a:lnTo>
                    <a:pt x="681" y="342"/>
                  </a:lnTo>
                  <a:lnTo>
                    <a:pt x="667" y="342"/>
                  </a:lnTo>
                  <a:lnTo>
                    <a:pt x="649" y="342"/>
                  </a:lnTo>
                  <a:lnTo>
                    <a:pt x="630" y="347"/>
                  </a:lnTo>
                  <a:lnTo>
                    <a:pt x="612" y="347"/>
                  </a:lnTo>
                  <a:lnTo>
                    <a:pt x="594" y="350"/>
                  </a:lnTo>
                  <a:lnTo>
                    <a:pt x="571" y="353"/>
                  </a:lnTo>
                  <a:lnTo>
                    <a:pt x="557" y="353"/>
                  </a:lnTo>
                  <a:lnTo>
                    <a:pt x="535" y="356"/>
                  </a:lnTo>
                  <a:lnTo>
                    <a:pt x="516" y="359"/>
                  </a:lnTo>
                  <a:lnTo>
                    <a:pt x="493" y="359"/>
                  </a:lnTo>
                  <a:lnTo>
                    <a:pt x="480" y="362"/>
                  </a:lnTo>
                  <a:lnTo>
                    <a:pt x="461" y="362"/>
                  </a:lnTo>
                  <a:lnTo>
                    <a:pt x="443" y="364"/>
                  </a:lnTo>
                  <a:lnTo>
                    <a:pt x="425" y="364"/>
                  </a:lnTo>
                  <a:lnTo>
                    <a:pt x="416" y="367"/>
                  </a:lnTo>
                  <a:lnTo>
                    <a:pt x="397" y="367"/>
                  </a:lnTo>
                  <a:lnTo>
                    <a:pt x="589" y="293"/>
                  </a:lnTo>
                  <a:lnTo>
                    <a:pt x="585" y="290"/>
                  </a:lnTo>
                  <a:lnTo>
                    <a:pt x="585" y="288"/>
                  </a:lnTo>
                  <a:lnTo>
                    <a:pt x="571" y="282"/>
                  </a:lnTo>
                  <a:lnTo>
                    <a:pt x="562" y="279"/>
                  </a:lnTo>
                  <a:lnTo>
                    <a:pt x="548" y="271"/>
                  </a:lnTo>
                  <a:lnTo>
                    <a:pt x="525" y="262"/>
                  </a:lnTo>
                  <a:lnTo>
                    <a:pt x="516" y="256"/>
                  </a:lnTo>
                  <a:lnTo>
                    <a:pt x="512" y="253"/>
                  </a:lnTo>
                  <a:lnTo>
                    <a:pt x="498" y="248"/>
                  </a:lnTo>
                  <a:lnTo>
                    <a:pt x="489" y="242"/>
                  </a:lnTo>
                  <a:lnTo>
                    <a:pt x="475" y="236"/>
                  </a:lnTo>
                  <a:lnTo>
                    <a:pt x="466" y="231"/>
                  </a:lnTo>
                  <a:lnTo>
                    <a:pt x="452" y="225"/>
                  </a:lnTo>
                  <a:lnTo>
                    <a:pt x="439" y="216"/>
                  </a:lnTo>
                  <a:lnTo>
                    <a:pt x="425" y="211"/>
                  </a:lnTo>
                  <a:lnTo>
                    <a:pt x="416" y="205"/>
                  </a:lnTo>
                  <a:lnTo>
                    <a:pt x="397" y="199"/>
                  </a:lnTo>
                  <a:lnTo>
                    <a:pt x="384" y="194"/>
                  </a:lnTo>
                  <a:lnTo>
                    <a:pt x="370" y="185"/>
                  </a:lnTo>
                  <a:lnTo>
                    <a:pt x="361" y="179"/>
                  </a:lnTo>
                  <a:lnTo>
                    <a:pt x="347" y="171"/>
                  </a:lnTo>
                  <a:lnTo>
                    <a:pt x="329" y="165"/>
                  </a:lnTo>
                  <a:lnTo>
                    <a:pt x="311" y="157"/>
                  </a:lnTo>
                  <a:lnTo>
                    <a:pt x="301" y="151"/>
                  </a:lnTo>
                  <a:lnTo>
                    <a:pt x="288" y="145"/>
                  </a:lnTo>
                  <a:lnTo>
                    <a:pt x="274" y="137"/>
                  </a:lnTo>
                  <a:lnTo>
                    <a:pt x="256" y="131"/>
                  </a:lnTo>
                  <a:lnTo>
                    <a:pt x="242" y="122"/>
                  </a:lnTo>
                  <a:lnTo>
                    <a:pt x="228" y="117"/>
                  </a:lnTo>
                  <a:lnTo>
                    <a:pt x="215" y="108"/>
                  </a:lnTo>
                  <a:lnTo>
                    <a:pt x="201" y="103"/>
                  </a:lnTo>
                  <a:lnTo>
                    <a:pt x="187" y="97"/>
                  </a:lnTo>
                  <a:lnTo>
                    <a:pt x="173" y="88"/>
                  </a:lnTo>
                  <a:lnTo>
                    <a:pt x="160" y="85"/>
                  </a:lnTo>
                  <a:lnTo>
                    <a:pt x="146" y="74"/>
                  </a:lnTo>
                  <a:lnTo>
                    <a:pt x="137" y="68"/>
                  </a:lnTo>
                  <a:lnTo>
                    <a:pt x="123" y="65"/>
                  </a:lnTo>
                  <a:lnTo>
                    <a:pt x="114" y="57"/>
                  </a:lnTo>
                  <a:lnTo>
                    <a:pt x="100" y="48"/>
                  </a:lnTo>
                  <a:lnTo>
                    <a:pt x="87" y="46"/>
                  </a:lnTo>
                  <a:lnTo>
                    <a:pt x="82" y="40"/>
                  </a:lnTo>
                  <a:lnTo>
                    <a:pt x="73" y="37"/>
                  </a:lnTo>
                  <a:lnTo>
                    <a:pt x="50" y="26"/>
                  </a:lnTo>
                  <a:lnTo>
                    <a:pt x="36" y="17"/>
                  </a:lnTo>
                  <a:lnTo>
                    <a:pt x="23" y="11"/>
                  </a:lnTo>
                  <a:lnTo>
                    <a:pt x="14" y="6"/>
                  </a:lnTo>
                  <a:lnTo>
                    <a:pt x="0" y="0"/>
                  </a:lnTo>
                  <a:lnTo>
                    <a:pt x="4"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12" name="Freeform 202"/>
            <p:cNvSpPr>
              <a:spLocks/>
            </p:cNvSpPr>
            <p:nvPr>
              <p:custDataLst>
                <p:tags r:id="rId111"/>
              </p:custDataLst>
            </p:nvPr>
          </p:nvSpPr>
          <p:spPr bwMode="gray">
            <a:xfrm>
              <a:off x="2000" y="1341"/>
              <a:ext cx="1804" cy="70"/>
            </a:xfrm>
            <a:custGeom>
              <a:avLst/>
              <a:gdLst>
                <a:gd name="T0" fmla="*/ 668 w 1760"/>
                <a:gd name="T1" fmla="*/ 5 h 77"/>
                <a:gd name="T2" fmla="*/ 890 w 1760"/>
                <a:gd name="T3" fmla="*/ 6 h 77"/>
                <a:gd name="T4" fmla="*/ 1121 w 1760"/>
                <a:gd name="T5" fmla="*/ 6 h 77"/>
                <a:gd name="T6" fmla="*/ 1355 w 1760"/>
                <a:gd name="T7" fmla="*/ 6 h 77"/>
                <a:gd name="T8" fmla="*/ 1598 w 1760"/>
                <a:gd name="T9" fmla="*/ 6 h 77"/>
                <a:gd name="T10" fmla="*/ 1851 w 1760"/>
                <a:gd name="T11" fmla="*/ 5 h 77"/>
                <a:gd name="T12" fmla="*/ 2086 w 1760"/>
                <a:gd name="T13" fmla="*/ 5 h 77"/>
                <a:gd name="T14" fmla="*/ 2320 w 1760"/>
                <a:gd name="T15" fmla="*/ 5 h 77"/>
                <a:gd name="T16" fmla="*/ 2539 w 1760"/>
                <a:gd name="T17" fmla="*/ 5 h 77"/>
                <a:gd name="T18" fmla="*/ 2739 w 1760"/>
                <a:gd name="T19" fmla="*/ 5 h 77"/>
                <a:gd name="T20" fmla="*/ 2915 w 1760"/>
                <a:gd name="T21" fmla="*/ 5 h 77"/>
                <a:gd name="T22" fmla="*/ 3064 w 1760"/>
                <a:gd name="T23" fmla="*/ 5 h 77"/>
                <a:gd name="T24" fmla="*/ 3187 w 1760"/>
                <a:gd name="T25" fmla="*/ 5 h 77"/>
                <a:gd name="T26" fmla="*/ 3274 w 1760"/>
                <a:gd name="T27" fmla="*/ 5 h 77"/>
                <a:gd name="T28" fmla="*/ 3346 w 1760"/>
                <a:gd name="T29" fmla="*/ 0 h 77"/>
                <a:gd name="T30" fmla="*/ 3249 w 1760"/>
                <a:gd name="T31" fmla="*/ 0 h 77"/>
                <a:gd name="T32" fmla="*/ 3133 w 1760"/>
                <a:gd name="T33" fmla="*/ 3 h 77"/>
                <a:gd name="T34" fmla="*/ 3031 w 1760"/>
                <a:gd name="T35" fmla="*/ 5 h 77"/>
                <a:gd name="T36" fmla="*/ 2901 w 1760"/>
                <a:gd name="T37" fmla="*/ 5 h 77"/>
                <a:gd name="T38" fmla="*/ 2766 w 1760"/>
                <a:gd name="T39" fmla="*/ 5 h 77"/>
                <a:gd name="T40" fmla="*/ 2623 w 1760"/>
                <a:gd name="T41" fmla="*/ 5 h 77"/>
                <a:gd name="T42" fmla="*/ 2478 w 1760"/>
                <a:gd name="T43" fmla="*/ 5 h 77"/>
                <a:gd name="T44" fmla="*/ 2310 w 1760"/>
                <a:gd name="T45" fmla="*/ 5 h 77"/>
                <a:gd name="T46" fmla="*/ 2154 w 1760"/>
                <a:gd name="T47" fmla="*/ 5 h 77"/>
                <a:gd name="T48" fmla="*/ 1999 w 1760"/>
                <a:gd name="T49" fmla="*/ 5 h 77"/>
                <a:gd name="T50" fmla="*/ 1851 w 1760"/>
                <a:gd name="T51" fmla="*/ 5 h 77"/>
                <a:gd name="T52" fmla="*/ 1713 w 1760"/>
                <a:gd name="T53" fmla="*/ 5 h 77"/>
                <a:gd name="T54" fmla="*/ 1582 w 1760"/>
                <a:gd name="T55" fmla="*/ 5 h 77"/>
                <a:gd name="T56" fmla="*/ 1474 w 1760"/>
                <a:gd name="T57" fmla="*/ 5 h 77"/>
                <a:gd name="T58" fmla="*/ 1392 w 1760"/>
                <a:gd name="T59" fmla="*/ 5 h 77"/>
                <a:gd name="T60" fmla="*/ 1301 w 1760"/>
                <a:gd name="T61" fmla="*/ 5 h 77"/>
                <a:gd name="T62" fmla="*/ 1219 w 1760"/>
                <a:gd name="T63" fmla="*/ 5 h 77"/>
                <a:gd name="T64" fmla="*/ 1112 w 1760"/>
                <a:gd name="T65" fmla="*/ 5 h 77"/>
                <a:gd name="T66" fmla="*/ 1001 w 1760"/>
                <a:gd name="T67" fmla="*/ 5 h 77"/>
                <a:gd name="T68" fmla="*/ 890 w 1760"/>
                <a:gd name="T69" fmla="*/ 5 h 77"/>
                <a:gd name="T70" fmla="*/ 767 w 1760"/>
                <a:gd name="T71" fmla="*/ 5 h 77"/>
                <a:gd name="T72" fmla="*/ 645 w 1760"/>
                <a:gd name="T73" fmla="*/ 5 h 77"/>
                <a:gd name="T74" fmla="*/ 531 w 1760"/>
                <a:gd name="T75" fmla="*/ 5 h 77"/>
                <a:gd name="T76" fmla="*/ 420 w 1760"/>
                <a:gd name="T77" fmla="*/ 5 h 77"/>
                <a:gd name="T78" fmla="*/ 313 w 1760"/>
                <a:gd name="T79" fmla="*/ 5 h 77"/>
                <a:gd name="T80" fmla="*/ 224 w 1760"/>
                <a:gd name="T81" fmla="*/ 5 h 77"/>
                <a:gd name="T82" fmla="*/ 138 w 1760"/>
                <a:gd name="T83" fmla="*/ 5 h 77"/>
                <a:gd name="T84" fmla="*/ 49 w 1760"/>
                <a:gd name="T85" fmla="*/ 5 h 77"/>
                <a:gd name="T86" fmla="*/ 10 w 1760"/>
                <a:gd name="T87" fmla="*/ 5 h 77"/>
                <a:gd name="T88" fmla="*/ 131 w 1760"/>
                <a:gd name="T89" fmla="*/ 5 h 77"/>
                <a:gd name="T90" fmla="*/ 224 w 1760"/>
                <a:gd name="T91" fmla="*/ 5 h 77"/>
                <a:gd name="T92" fmla="*/ 313 w 1760"/>
                <a:gd name="T93" fmla="*/ 5 h 77"/>
                <a:gd name="T94" fmla="*/ 401 w 1760"/>
                <a:gd name="T95" fmla="*/ 5 h 77"/>
                <a:gd name="T96" fmla="*/ 478 w 1760"/>
                <a:gd name="T97" fmla="*/ 5 h 77"/>
                <a:gd name="T98" fmla="*/ 522 w 1760"/>
                <a:gd name="T99" fmla="*/ 5 h 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60"/>
                <a:gd name="T151" fmla="*/ 0 h 77"/>
                <a:gd name="T152" fmla="*/ 1760 w 1760"/>
                <a:gd name="T153" fmla="*/ 77 h 7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60" h="77">
                  <a:moveTo>
                    <a:pt x="275" y="66"/>
                  </a:moveTo>
                  <a:lnTo>
                    <a:pt x="302" y="66"/>
                  </a:lnTo>
                  <a:lnTo>
                    <a:pt x="325" y="66"/>
                  </a:lnTo>
                  <a:lnTo>
                    <a:pt x="352" y="69"/>
                  </a:lnTo>
                  <a:lnTo>
                    <a:pt x="380" y="72"/>
                  </a:lnTo>
                  <a:lnTo>
                    <a:pt x="407" y="74"/>
                  </a:lnTo>
                  <a:lnTo>
                    <a:pt x="435" y="74"/>
                  </a:lnTo>
                  <a:lnTo>
                    <a:pt x="467" y="77"/>
                  </a:lnTo>
                  <a:lnTo>
                    <a:pt x="499" y="77"/>
                  </a:lnTo>
                  <a:lnTo>
                    <a:pt x="526" y="77"/>
                  </a:lnTo>
                  <a:lnTo>
                    <a:pt x="558" y="77"/>
                  </a:lnTo>
                  <a:lnTo>
                    <a:pt x="590" y="77"/>
                  </a:lnTo>
                  <a:lnTo>
                    <a:pt x="622" y="77"/>
                  </a:lnTo>
                  <a:lnTo>
                    <a:pt x="649" y="77"/>
                  </a:lnTo>
                  <a:lnTo>
                    <a:pt x="681" y="77"/>
                  </a:lnTo>
                  <a:lnTo>
                    <a:pt x="713" y="77"/>
                  </a:lnTo>
                  <a:lnTo>
                    <a:pt x="750" y="77"/>
                  </a:lnTo>
                  <a:lnTo>
                    <a:pt x="782" y="77"/>
                  </a:lnTo>
                  <a:lnTo>
                    <a:pt x="809" y="77"/>
                  </a:lnTo>
                  <a:lnTo>
                    <a:pt x="841" y="77"/>
                  </a:lnTo>
                  <a:lnTo>
                    <a:pt x="878" y="77"/>
                  </a:lnTo>
                  <a:lnTo>
                    <a:pt x="905" y="74"/>
                  </a:lnTo>
                  <a:lnTo>
                    <a:pt x="937" y="72"/>
                  </a:lnTo>
                  <a:lnTo>
                    <a:pt x="974" y="72"/>
                  </a:lnTo>
                  <a:lnTo>
                    <a:pt x="1006" y="69"/>
                  </a:lnTo>
                  <a:lnTo>
                    <a:pt x="1033" y="66"/>
                  </a:lnTo>
                  <a:lnTo>
                    <a:pt x="1065" y="66"/>
                  </a:lnTo>
                  <a:lnTo>
                    <a:pt x="1097" y="63"/>
                  </a:lnTo>
                  <a:lnTo>
                    <a:pt x="1129" y="60"/>
                  </a:lnTo>
                  <a:lnTo>
                    <a:pt x="1161" y="60"/>
                  </a:lnTo>
                  <a:lnTo>
                    <a:pt x="1193" y="57"/>
                  </a:lnTo>
                  <a:lnTo>
                    <a:pt x="1221" y="55"/>
                  </a:lnTo>
                  <a:lnTo>
                    <a:pt x="1248" y="55"/>
                  </a:lnTo>
                  <a:lnTo>
                    <a:pt x="1280" y="52"/>
                  </a:lnTo>
                  <a:lnTo>
                    <a:pt x="1303" y="49"/>
                  </a:lnTo>
                  <a:lnTo>
                    <a:pt x="1335" y="46"/>
                  </a:lnTo>
                  <a:lnTo>
                    <a:pt x="1362" y="46"/>
                  </a:lnTo>
                  <a:lnTo>
                    <a:pt x="1390" y="40"/>
                  </a:lnTo>
                  <a:lnTo>
                    <a:pt x="1413" y="40"/>
                  </a:lnTo>
                  <a:lnTo>
                    <a:pt x="1440" y="37"/>
                  </a:lnTo>
                  <a:lnTo>
                    <a:pt x="1467" y="35"/>
                  </a:lnTo>
                  <a:lnTo>
                    <a:pt x="1490" y="32"/>
                  </a:lnTo>
                  <a:lnTo>
                    <a:pt x="1513" y="32"/>
                  </a:lnTo>
                  <a:lnTo>
                    <a:pt x="1536" y="29"/>
                  </a:lnTo>
                  <a:lnTo>
                    <a:pt x="1559" y="23"/>
                  </a:lnTo>
                  <a:lnTo>
                    <a:pt x="1577" y="23"/>
                  </a:lnTo>
                  <a:lnTo>
                    <a:pt x="1595" y="20"/>
                  </a:lnTo>
                  <a:lnTo>
                    <a:pt x="1614" y="20"/>
                  </a:lnTo>
                  <a:lnTo>
                    <a:pt x="1637" y="18"/>
                  </a:lnTo>
                  <a:lnTo>
                    <a:pt x="1650" y="15"/>
                  </a:lnTo>
                  <a:lnTo>
                    <a:pt x="1664" y="15"/>
                  </a:lnTo>
                  <a:lnTo>
                    <a:pt x="1678" y="12"/>
                  </a:lnTo>
                  <a:lnTo>
                    <a:pt x="1691" y="12"/>
                  </a:lnTo>
                  <a:lnTo>
                    <a:pt x="1701" y="9"/>
                  </a:lnTo>
                  <a:lnTo>
                    <a:pt x="1719" y="6"/>
                  </a:lnTo>
                  <a:lnTo>
                    <a:pt x="1723" y="6"/>
                  </a:lnTo>
                  <a:lnTo>
                    <a:pt x="1737" y="6"/>
                  </a:lnTo>
                  <a:lnTo>
                    <a:pt x="1746" y="3"/>
                  </a:lnTo>
                  <a:lnTo>
                    <a:pt x="1755" y="0"/>
                  </a:lnTo>
                  <a:lnTo>
                    <a:pt x="1760" y="0"/>
                  </a:lnTo>
                  <a:lnTo>
                    <a:pt x="1755" y="0"/>
                  </a:lnTo>
                  <a:lnTo>
                    <a:pt x="1742" y="0"/>
                  </a:lnTo>
                  <a:lnTo>
                    <a:pt x="1723" y="0"/>
                  </a:lnTo>
                  <a:lnTo>
                    <a:pt x="1710" y="0"/>
                  </a:lnTo>
                  <a:lnTo>
                    <a:pt x="1691" y="3"/>
                  </a:lnTo>
                  <a:lnTo>
                    <a:pt x="1678" y="3"/>
                  </a:lnTo>
                  <a:lnTo>
                    <a:pt x="1664" y="3"/>
                  </a:lnTo>
                  <a:lnTo>
                    <a:pt x="1650" y="3"/>
                  </a:lnTo>
                  <a:lnTo>
                    <a:pt x="1637" y="3"/>
                  </a:lnTo>
                  <a:lnTo>
                    <a:pt x="1627" y="3"/>
                  </a:lnTo>
                  <a:lnTo>
                    <a:pt x="1609" y="3"/>
                  </a:lnTo>
                  <a:lnTo>
                    <a:pt x="1595" y="6"/>
                  </a:lnTo>
                  <a:lnTo>
                    <a:pt x="1577" y="6"/>
                  </a:lnTo>
                  <a:lnTo>
                    <a:pt x="1559" y="6"/>
                  </a:lnTo>
                  <a:lnTo>
                    <a:pt x="1545" y="6"/>
                  </a:lnTo>
                  <a:lnTo>
                    <a:pt x="1527" y="9"/>
                  </a:lnTo>
                  <a:lnTo>
                    <a:pt x="1513" y="9"/>
                  </a:lnTo>
                  <a:lnTo>
                    <a:pt x="1490" y="9"/>
                  </a:lnTo>
                  <a:lnTo>
                    <a:pt x="1477" y="12"/>
                  </a:lnTo>
                  <a:lnTo>
                    <a:pt x="1458" y="12"/>
                  </a:lnTo>
                  <a:lnTo>
                    <a:pt x="1440" y="12"/>
                  </a:lnTo>
                  <a:lnTo>
                    <a:pt x="1417" y="12"/>
                  </a:lnTo>
                  <a:lnTo>
                    <a:pt x="1399" y="15"/>
                  </a:lnTo>
                  <a:lnTo>
                    <a:pt x="1381" y="15"/>
                  </a:lnTo>
                  <a:lnTo>
                    <a:pt x="1358" y="18"/>
                  </a:lnTo>
                  <a:lnTo>
                    <a:pt x="1339" y="18"/>
                  </a:lnTo>
                  <a:lnTo>
                    <a:pt x="1321" y="18"/>
                  </a:lnTo>
                  <a:lnTo>
                    <a:pt x="1303" y="18"/>
                  </a:lnTo>
                  <a:lnTo>
                    <a:pt x="1280" y="20"/>
                  </a:lnTo>
                  <a:lnTo>
                    <a:pt x="1257" y="20"/>
                  </a:lnTo>
                  <a:lnTo>
                    <a:pt x="1239" y="20"/>
                  </a:lnTo>
                  <a:lnTo>
                    <a:pt x="1216" y="20"/>
                  </a:lnTo>
                  <a:lnTo>
                    <a:pt x="1198" y="23"/>
                  </a:lnTo>
                  <a:lnTo>
                    <a:pt x="1175" y="23"/>
                  </a:lnTo>
                  <a:lnTo>
                    <a:pt x="1157" y="23"/>
                  </a:lnTo>
                  <a:lnTo>
                    <a:pt x="1134" y="23"/>
                  </a:lnTo>
                  <a:lnTo>
                    <a:pt x="1116" y="26"/>
                  </a:lnTo>
                  <a:lnTo>
                    <a:pt x="1093" y="26"/>
                  </a:lnTo>
                  <a:lnTo>
                    <a:pt x="1070" y="29"/>
                  </a:lnTo>
                  <a:lnTo>
                    <a:pt x="1052" y="29"/>
                  </a:lnTo>
                  <a:lnTo>
                    <a:pt x="1033" y="32"/>
                  </a:lnTo>
                  <a:lnTo>
                    <a:pt x="1010" y="32"/>
                  </a:lnTo>
                  <a:lnTo>
                    <a:pt x="992" y="32"/>
                  </a:lnTo>
                  <a:lnTo>
                    <a:pt x="974" y="32"/>
                  </a:lnTo>
                  <a:lnTo>
                    <a:pt x="956" y="32"/>
                  </a:lnTo>
                  <a:lnTo>
                    <a:pt x="937" y="32"/>
                  </a:lnTo>
                  <a:lnTo>
                    <a:pt x="919" y="35"/>
                  </a:lnTo>
                  <a:lnTo>
                    <a:pt x="901" y="35"/>
                  </a:lnTo>
                  <a:lnTo>
                    <a:pt x="887" y="35"/>
                  </a:lnTo>
                  <a:lnTo>
                    <a:pt x="869" y="35"/>
                  </a:lnTo>
                  <a:lnTo>
                    <a:pt x="850" y="37"/>
                  </a:lnTo>
                  <a:lnTo>
                    <a:pt x="832" y="40"/>
                  </a:lnTo>
                  <a:lnTo>
                    <a:pt x="818" y="40"/>
                  </a:lnTo>
                  <a:lnTo>
                    <a:pt x="800" y="40"/>
                  </a:lnTo>
                  <a:lnTo>
                    <a:pt x="791" y="40"/>
                  </a:lnTo>
                  <a:lnTo>
                    <a:pt x="777" y="40"/>
                  </a:lnTo>
                  <a:lnTo>
                    <a:pt x="764" y="40"/>
                  </a:lnTo>
                  <a:lnTo>
                    <a:pt x="750" y="40"/>
                  </a:lnTo>
                  <a:lnTo>
                    <a:pt x="741" y="40"/>
                  </a:lnTo>
                  <a:lnTo>
                    <a:pt x="732" y="43"/>
                  </a:lnTo>
                  <a:lnTo>
                    <a:pt x="723" y="43"/>
                  </a:lnTo>
                  <a:lnTo>
                    <a:pt x="709" y="43"/>
                  </a:lnTo>
                  <a:lnTo>
                    <a:pt x="700" y="43"/>
                  </a:lnTo>
                  <a:lnTo>
                    <a:pt x="686" y="43"/>
                  </a:lnTo>
                  <a:lnTo>
                    <a:pt x="677" y="43"/>
                  </a:lnTo>
                  <a:lnTo>
                    <a:pt x="663" y="43"/>
                  </a:lnTo>
                  <a:lnTo>
                    <a:pt x="649" y="43"/>
                  </a:lnTo>
                  <a:lnTo>
                    <a:pt x="640" y="43"/>
                  </a:lnTo>
                  <a:lnTo>
                    <a:pt x="627" y="46"/>
                  </a:lnTo>
                  <a:lnTo>
                    <a:pt x="613" y="46"/>
                  </a:lnTo>
                  <a:lnTo>
                    <a:pt x="599" y="46"/>
                  </a:lnTo>
                  <a:lnTo>
                    <a:pt x="585" y="46"/>
                  </a:lnTo>
                  <a:lnTo>
                    <a:pt x="572" y="46"/>
                  </a:lnTo>
                  <a:lnTo>
                    <a:pt x="558" y="46"/>
                  </a:lnTo>
                  <a:lnTo>
                    <a:pt x="544" y="46"/>
                  </a:lnTo>
                  <a:lnTo>
                    <a:pt x="526" y="46"/>
                  </a:lnTo>
                  <a:lnTo>
                    <a:pt x="512" y="46"/>
                  </a:lnTo>
                  <a:lnTo>
                    <a:pt x="499" y="46"/>
                  </a:lnTo>
                  <a:lnTo>
                    <a:pt x="480" y="46"/>
                  </a:lnTo>
                  <a:lnTo>
                    <a:pt x="467" y="46"/>
                  </a:lnTo>
                  <a:lnTo>
                    <a:pt x="448" y="46"/>
                  </a:lnTo>
                  <a:lnTo>
                    <a:pt x="435" y="46"/>
                  </a:lnTo>
                  <a:lnTo>
                    <a:pt x="416" y="46"/>
                  </a:lnTo>
                  <a:lnTo>
                    <a:pt x="403" y="46"/>
                  </a:lnTo>
                  <a:lnTo>
                    <a:pt x="389" y="46"/>
                  </a:lnTo>
                  <a:lnTo>
                    <a:pt x="371" y="46"/>
                  </a:lnTo>
                  <a:lnTo>
                    <a:pt x="357" y="46"/>
                  </a:lnTo>
                  <a:lnTo>
                    <a:pt x="339" y="46"/>
                  </a:lnTo>
                  <a:lnTo>
                    <a:pt x="325" y="46"/>
                  </a:lnTo>
                  <a:lnTo>
                    <a:pt x="311" y="46"/>
                  </a:lnTo>
                  <a:lnTo>
                    <a:pt x="293" y="46"/>
                  </a:lnTo>
                  <a:lnTo>
                    <a:pt x="279" y="46"/>
                  </a:lnTo>
                  <a:lnTo>
                    <a:pt x="266" y="46"/>
                  </a:lnTo>
                  <a:lnTo>
                    <a:pt x="252" y="46"/>
                  </a:lnTo>
                  <a:lnTo>
                    <a:pt x="234" y="46"/>
                  </a:lnTo>
                  <a:lnTo>
                    <a:pt x="220" y="46"/>
                  </a:lnTo>
                  <a:lnTo>
                    <a:pt x="206" y="46"/>
                  </a:lnTo>
                  <a:lnTo>
                    <a:pt x="192" y="46"/>
                  </a:lnTo>
                  <a:lnTo>
                    <a:pt x="179" y="46"/>
                  </a:lnTo>
                  <a:lnTo>
                    <a:pt x="165" y="46"/>
                  </a:lnTo>
                  <a:lnTo>
                    <a:pt x="156" y="46"/>
                  </a:lnTo>
                  <a:lnTo>
                    <a:pt x="142" y="43"/>
                  </a:lnTo>
                  <a:lnTo>
                    <a:pt x="128" y="43"/>
                  </a:lnTo>
                  <a:lnTo>
                    <a:pt x="119" y="43"/>
                  </a:lnTo>
                  <a:lnTo>
                    <a:pt x="106" y="43"/>
                  </a:lnTo>
                  <a:lnTo>
                    <a:pt x="96" y="43"/>
                  </a:lnTo>
                  <a:lnTo>
                    <a:pt x="83" y="43"/>
                  </a:lnTo>
                  <a:lnTo>
                    <a:pt x="74" y="43"/>
                  </a:lnTo>
                  <a:lnTo>
                    <a:pt x="64" y="43"/>
                  </a:lnTo>
                  <a:lnTo>
                    <a:pt x="46" y="43"/>
                  </a:lnTo>
                  <a:lnTo>
                    <a:pt x="32" y="43"/>
                  </a:lnTo>
                  <a:lnTo>
                    <a:pt x="23" y="43"/>
                  </a:lnTo>
                  <a:lnTo>
                    <a:pt x="10" y="43"/>
                  </a:lnTo>
                  <a:lnTo>
                    <a:pt x="0" y="43"/>
                  </a:lnTo>
                  <a:lnTo>
                    <a:pt x="10" y="43"/>
                  </a:lnTo>
                  <a:lnTo>
                    <a:pt x="28" y="43"/>
                  </a:lnTo>
                  <a:lnTo>
                    <a:pt x="42" y="46"/>
                  </a:lnTo>
                  <a:lnTo>
                    <a:pt x="60" y="46"/>
                  </a:lnTo>
                  <a:lnTo>
                    <a:pt x="69" y="46"/>
                  </a:lnTo>
                  <a:lnTo>
                    <a:pt x="83" y="46"/>
                  </a:lnTo>
                  <a:lnTo>
                    <a:pt x="92" y="49"/>
                  </a:lnTo>
                  <a:lnTo>
                    <a:pt x="106" y="49"/>
                  </a:lnTo>
                  <a:lnTo>
                    <a:pt x="119" y="49"/>
                  </a:lnTo>
                  <a:lnTo>
                    <a:pt x="128" y="52"/>
                  </a:lnTo>
                  <a:lnTo>
                    <a:pt x="142" y="55"/>
                  </a:lnTo>
                  <a:lnTo>
                    <a:pt x="156" y="55"/>
                  </a:lnTo>
                  <a:lnTo>
                    <a:pt x="165" y="55"/>
                  </a:lnTo>
                  <a:lnTo>
                    <a:pt x="179" y="55"/>
                  </a:lnTo>
                  <a:lnTo>
                    <a:pt x="188" y="55"/>
                  </a:lnTo>
                  <a:lnTo>
                    <a:pt x="202" y="57"/>
                  </a:lnTo>
                  <a:lnTo>
                    <a:pt x="211" y="57"/>
                  </a:lnTo>
                  <a:lnTo>
                    <a:pt x="220" y="57"/>
                  </a:lnTo>
                  <a:lnTo>
                    <a:pt x="229" y="60"/>
                  </a:lnTo>
                  <a:lnTo>
                    <a:pt x="238" y="60"/>
                  </a:lnTo>
                  <a:lnTo>
                    <a:pt x="252" y="60"/>
                  </a:lnTo>
                  <a:lnTo>
                    <a:pt x="266" y="60"/>
                  </a:lnTo>
                  <a:lnTo>
                    <a:pt x="270" y="63"/>
                  </a:lnTo>
                  <a:lnTo>
                    <a:pt x="275" y="66"/>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13" name="Freeform 203"/>
            <p:cNvSpPr>
              <a:spLocks/>
            </p:cNvSpPr>
            <p:nvPr>
              <p:custDataLst>
                <p:tags r:id="rId112"/>
              </p:custDataLst>
            </p:nvPr>
          </p:nvSpPr>
          <p:spPr bwMode="gray">
            <a:xfrm>
              <a:off x="1227" y="2140"/>
              <a:ext cx="1139" cy="188"/>
            </a:xfrm>
            <a:custGeom>
              <a:avLst/>
              <a:gdLst>
                <a:gd name="T0" fmla="*/ 49 w 1111"/>
                <a:gd name="T1" fmla="*/ 3 h 205"/>
                <a:gd name="T2" fmla="*/ 103 w 1111"/>
                <a:gd name="T3" fmla="*/ 6 h 205"/>
                <a:gd name="T4" fmla="*/ 195 w 1111"/>
                <a:gd name="T5" fmla="*/ 6 h 205"/>
                <a:gd name="T6" fmla="*/ 272 w 1111"/>
                <a:gd name="T7" fmla="*/ 6 h 205"/>
                <a:gd name="T8" fmla="*/ 343 w 1111"/>
                <a:gd name="T9" fmla="*/ 6 h 205"/>
                <a:gd name="T10" fmla="*/ 403 w 1111"/>
                <a:gd name="T11" fmla="*/ 6 h 205"/>
                <a:gd name="T12" fmla="*/ 463 w 1111"/>
                <a:gd name="T13" fmla="*/ 6 h 205"/>
                <a:gd name="T14" fmla="*/ 525 w 1111"/>
                <a:gd name="T15" fmla="*/ 6 h 205"/>
                <a:gd name="T16" fmla="*/ 595 w 1111"/>
                <a:gd name="T17" fmla="*/ 6 h 205"/>
                <a:gd name="T18" fmla="*/ 664 w 1111"/>
                <a:gd name="T19" fmla="*/ 6 h 205"/>
                <a:gd name="T20" fmla="*/ 734 w 1111"/>
                <a:gd name="T21" fmla="*/ 6 h 205"/>
                <a:gd name="T22" fmla="*/ 804 w 1111"/>
                <a:gd name="T23" fmla="*/ 6 h 205"/>
                <a:gd name="T24" fmla="*/ 865 w 1111"/>
                <a:gd name="T25" fmla="*/ 6 h 205"/>
                <a:gd name="T26" fmla="*/ 933 w 1111"/>
                <a:gd name="T27" fmla="*/ 6 h 205"/>
                <a:gd name="T28" fmla="*/ 1004 w 1111"/>
                <a:gd name="T29" fmla="*/ 6 h 205"/>
                <a:gd name="T30" fmla="*/ 1065 w 1111"/>
                <a:gd name="T31" fmla="*/ 6 h 205"/>
                <a:gd name="T32" fmla="*/ 1135 w 1111"/>
                <a:gd name="T33" fmla="*/ 6 h 205"/>
                <a:gd name="T34" fmla="*/ 1195 w 1111"/>
                <a:gd name="T35" fmla="*/ 6 h 205"/>
                <a:gd name="T36" fmla="*/ 1291 w 1111"/>
                <a:gd name="T37" fmla="*/ 6 h 205"/>
                <a:gd name="T38" fmla="*/ 1353 w 1111"/>
                <a:gd name="T39" fmla="*/ 6 h 205"/>
                <a:gd name="T40" fmla="*/ 1439 w 1111"/>
                <a:gd name="T41" fmla="*/ 6 h 205"/>
                <a:gd name="T42" fmla="*/ 1510 w 1111"/>
                <a:gd name="T43" fmla="*/ 6 h 205"/>
                <a:gd name="T44" fmla="*/ 1597 w 1111"/>
                <a:gd name="T45" fmla="*/ 6 h 205"/>
                <a:gd name="T46" fmla="*/ 1712 w 1111"/>
                <a:gd name="T47" fmla="*/ 6 h 205"/>
                <a:gd name="T48" fmla="*/ 1828 w 1111"/>
                <a:gd name="T49" fmla="*/ 7 h 205"/>
                <a:gd name="T50" fmla="*/ 1917 w 1111"/>
                <a:gd name="T51" fmla="*/ 7 h 205"/>
                <a:gd name="T52" fmla="*/ 1988 w 1111"/>
                <a:gd name="T53" fmla="*/ 7 h 205"/>
                <a:gd name="T54" fmla="*/ 2048 w 1111"/>
                <a:gd name="T55" fmla="*/ 7 h 205"/>
                <a:gd name="T56" fmla="*/ 2103 w 1111"/>
                <a:gd name="T57" fmla="*/ 7 h 205"/>
                <a:gd name="T58" fmla="*/ 2086 w 1111"/>
                <a:gd name="T59" fmla="*/ 22 h 205"/>
                <a:gd name="T60" fmla="*/ 2042 w 1111"/>
                <a:gd name="T61" fmla="*/ 22 h 205"/>
                <a:gd name="T62" fmla="*/ 1982 w 1111"/>
                <a:gd name="T63" fmla="*/ 22 h 205"/>
                <a:gd name="T64" fmla="*/ 1894 w 1111"/>
                <a:gd name="T65" fmla="*/ 22 h 205"/>
                <a:gd name="T66" fmla="*/ 1790 w 1111"/>
                <a:gd name="T67" fmla="*/ 22 h 205"/>
                <a:gd name="T68" fmla="*/ 1695 w 1111"/>
                <a:gd name="T69" fmla="*/ 22 h 205"/>
                <a:gd name="T70" fmla="*/ 1633 w 1111"/>
                <a:gd name="T71" fmla="*/ 22 h 205"/>
                <a:gd name="T72" fmla="*/ 1572 w 1111"/>
                <a:gd name="T73" fmla="*/ 21 h 205"/>
                <a:gd name="T74" fmla="*/ 1510 w 1111"/>
                <a:gd name="T75" fmla="*/ 21 h 205"/>
                <a:gd name="T76" fmla="*/ 1452 w 1111"/>
                <a:gd name="T77" fmla="*/ 21 h 205"/>
                <a:gd name="T78" fmla="*/ 1387 w 1111"/>
                <a:gd name="T79" fmla="*/ 21 h 205"/>
                <a:gd name="T80" fmla="*/ 1327 w 1111"/>
                <a:gd name="T81" fmla="*/ 21 h 205"/>
                <a:gd name="T82" fmla="*/ 1266 w 1111"/>
                <a:gd name="T83" fmla="*/ 21 h 205"/>
                <a:gd name="T84" fmla="*/ 1189 w 1111"/>
                <a:gd name="T85" fmla="*/ 20 h 205"/>
                <a:gd name="T86" fmla="*/ 1082 w 1111"/>
                <a:gd name="T87" fmla="*/ 20 h 205"/>
                <a:gd name="T88" fmla="*/ 985 w 1111"/>
                <a:gd name="T89" fmla="*/ 20 h 205"/>
                <a:gd name="T90" fmla="*/ 933 w 1111"/>
                <a:gd name="T91" fmla="*/ 20 h 205"/>
                <a:gd name="T92" fmla="*/ 865 w 1111"/>
                <a:gd name="T93" fmla="*/ 19 h 205"/>
                <a:gd name="T94" fmla="*/ 804 w 1111"/>
                <a:gd name="T95" fmla="*/ 18 h 205"/>
                <a:gd name="T96" fmla="*/ 734 w 1111"/>
                <a:gd name="T97" fmla="*/ 18 h 205"/>
                <a:gd name="T98" fmla="*/ 664 w 1111"/>
                <a:gd name="T99" fmla="*/ 18 h 205"/>
                <a:gd name="T100" fmla="*/ 595 w 1111"/>
                <a:gd name="T101" fmla="*/ 17 h 205"/>
                <a:gd name="T102" fmla="*/ 525 w 1111"/>
                <a:gd name="T103" fmla="*/ 17 h 205"/>
                <a:gd name="T104" fmla="*/ 463 w 1111"/>
                <a:gd name="T105" fmla="*/ 17 h 205"/>
                <a:gd name="T106" fmla="*/ 403 w 1111"/>
                <a:gd name="T107" fmla="*/ 17 h 205"/>
                <a:gd name="T108" fmla="*/ 343 w 1111"/>
                <a:gd name="T109" fmla="*/ 16 h 205"/>
                <a:gd name="T110" fmla="*/ 244 w 1111"/>
                <a:gd name="T111" fmla="*/ 16 h 205"/>
                <a:gd name="T112" fmla="*/ 137 w 1111"/>
                <a:gd name="T113" fmla="*/ 16 h 205"/>
                <a:gd name="T114" fmla="*/ 58 w 1111"/>
                <a:gd name="T115" fmla="*/ 15 h 205"/>
                <a:gd name="T116" fmla="*/ 5 w 1111"/>
                <a:gd name="T117" fmla="*/ 15 h 205"/>
                <a:gd name="T118" fmla="*/ 10 w 1111"/>
                <a:gd name="T119" fmla="*/ 0 h 20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11"/>
                <a:gd name="T181" fmla="*/ 0 h 205"/>
                <a:gd name="T182" fmla="*/ 1111 w 1111"/>
                <a:gd name="T183" fmla="*/ 205 h 20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11" h="205">
                  <a:moveTo>
                    <a:pt x="10" y="0"/>
                  </a:moveTo>
                  <a:lnTo>
                    <a:pt x="14" y="0"/>
                  </a:lnTo>
                  <a:lnTo>
                    <a:pt x="23" y="3"/>
                  </a:lnTo>
                  <a:lnTo>
                    <a:pt x="32" y="3"/>
                  </a:lnTo>
                  <a:lnTo>
                    <a:pt x="42" y="3"/>
                  </a:lnTo>
                  <a:lnTo>
                    <a:pt x="55" y="6"/>
                  </a:lnTo>
                  <a:lnTo>
                    <a:pt x="69" y="9"/>
                  </a:lnTo>
                  <a:lnTo>
                    <a:pt x="83" y="11"/>
                  </a:lnTo>
                  <a:lnTo>
                    <a:pt x="101" y="11"/>
                  </a:lnTo>
                  <a:lnTo>
                    <a:pt x="119" y="11"/>
                  </a:lnTo>
                  <a:lnTo>
                    <a:pt x="133" y="14"/>
                  </a:lnTo>
                  <a:lnTo>
                    <a:pt x="142" y="14"/>
                  </a:lnTo>
                  <a:lnTo>
                    <a:pt x="151" y="17"/>
                  </a:lnTo>
                  <a:lnTo>
                    <a:pt x="165" y="17"/>
                  </a:lnTo>
                  <a:lnTo>
                    <a:pt x="179" y="17"/>
                  </a:lnTo>
                  <a:lnTo>
                    <a:pt x="183" y="17"/>
                  </a:lnTo>
                  <a:lnTo>
                    <a:pt x="197" y="20"/>
                  </a:lnTo>
                  <a:lnTo>
                    <a:pt x="211" y="23"/>
                  </a:lnTo>
                  <a:lnTo>
                    <a:pt x="220" y="23"/>
                  </a:lnTo>
                  <a:lnTo>
                    <a:pt x="229" y="23"/>
                  </a:lnTo>
                  <a:lnTo>
                    <a:pt x="243" y="23"/>
                  </a:lnTo>
                  <a:lnTo>
                    <a:pt x="252" y="26"/>
                  </a:lnTo>
                  <a:lnTo>
                    <a:pt x="265" y="29"/>
                  </a:lnTo>
                  <a:lnTo>
                    <a:pt x="275" y="29"/>
                  </a:lnTo>
                  <a:lnTo>
                    <a:pt x="288" y="29"/>
                  </a:lnTo>
                  <a:lnTo>
                    <a:pt x="302" y="31"/>
                  </a:lnTo>
                  <a:lnTo>
                    <a:pt x="311" y="31"/>
                  </a:lnTo>
                  <a:lnTo>
                    <a:pt x="320" y="31"/>
                  </a:lnTo>
                  <a:lnTo>
                    <a:pt x="334" y="34"/>
                  </a:lnTo>
                  <a:lnTo>
                    <a:pt x="348" y="34"/>
                  </a:lnTo>
                  <a:lnTo>
                    <a:pt x="357" y="34"/>
                  </a:lnTo>
                  <a:lnTo>
                    <a:pt x="371" y="34"/>
                  </a:lnTo>
                  <a:lnTo>
                    <a:pt x="384" y="37"/>
                  </a:lnTo>
                  <a:lnTo>
                    <a:pt x="393" y="37"/>
                  </a:lnTo>
                  <a:lnTo>
                    <a:pt x="407" y="37"/>
                  </a:lnTo>
                  <a:lnTo>
                    <a:pt x="421" y="40"/>
                  </a:lnTo>
                  <a:lnTo>
                    <a:pt x="435" y="40"/>
                  </a:lnTo>
                  <a:lnTo>
                    <a:pt x="444" y="43"/>
                  </a:lnTo>
                  <a:lnTo>
                    <a:pt x="453" y="46"/>
                  </a:lnTo>
                  <a:lnTo>
                    <a:pt x="471" y="46"/>
                  </a:lnTo>
                  <a:lnTo>
                    <a:pt x="480" y="46"/>
                  </a:lnTo>
                  <a:lnTo>
                    <a:pt x="489" y="46"/>
                  </a:lnTo>
                  <a:lnTo>
                    <a:pt x="508" y="46"/>
                  </a:lnTo>
                  <a:lnTo>
                    <a:pt x="517" y="46"/>
                  </a:lnTo>
                  <a:lnTo>
                    <a:pt x="526" y="46"/>
                  </a:lnTo>
                  <a:lnTo>
                    <a:pt x="540" y="48"/>
                  </a:lnTo>
                  <a:lnTo>
                    <a:pt x="553" y="48"/>
                  </a:lnTo>
                  <a:lnTo>
                    <a:pt x="558" y="48"/>
                  </a:lnTo>
                  <a:lnTo>
                    <a:pt x="572" y="51"/>
                  </a:lnTo>
                  <a:lnTo>
                    <a:pt x="585" y="51"/>
                  </a:lnTo>
                  <a:lnTo>
                    <a:pt x="594" y="51"/>
                  </a:lnTo>
                  <a:lnTo>
                    <a:pt x="604" y="51"/>
                  </a:lnTo>
                  <a:lnTo>
                    <a:pt x="613" y="51"/>
                  </a:lnTo>
                  <a:lnTo>
                    <a:pt x="626" y="54"/>
                  </a:lnTo>
                  <a:lnTo>
                    <a:pt x="640" y="54"/>
                  </a:lnTo>
                  <a:lnTo>
                    <a:pt x="658" y="54"/>
                  </a:lnTo>
                  <a:lnTo>
                    <a:pt x="677" y="57"/>
                  </a:lnTo>
                  <a:lnTo>
                    <a:pt x="686" y="57"/>
                  </a:lnTo>
                  <a:lnTo>
                    <a:pt x="695" y="57"/>
                  </a:lnTo>
                  <a:lnTo>
                    <a:pt x="709" y="57"/>
                  </a:lnTo>
                  <a:lnTo>
                    <a:pt x="718" y="57"/>
                  </a:lnTo>
                  <a:lnTo>
                    <a:pt x="736" y="57"/>
                  </a:lnTo>
                  <a:lnTo>
                    <a:pt x="754" y="60"/>
                  </a:lnTo>
                  <a:lnTo>
                    <a:pt x="764" y="60"/>
                  </a:lnTo>
                  <a:lnTo>
                    <a:pt x="782" y="60"/>
                  </a:lnTo>
                  <a:lnTo>
                    <a:pt x="791" y="60"/>
                  </a:lnTo>
                  <a:lnTo>
                    <a:pt x="800" y="60"/>
                  </a:lnTo>
                  <a:lnTo>
                    <a:pt x="818" y="60"/>
                  </a:lnTo>
                  <a:lnTo>
                    <a:pt x="837" y="60"/>
                  </a:lnTo>
                  <a:lnTo>
                    <a:pt x="855" y="60"/>
                  </a:lnTo>
                  <a:lnTo>
                    <a:pt x="878" y="63"/>
                  </a:lnTo>
                  <a:lnTo>
                    <a:pt x="896" y="63"/>
                  </a:lnTo>
                  <a:lnTo>
                    <a:pt x="914" y="63"/>
                  </a:lnTo>
                  <a:lnTo>
                    <a:pt x="933" y="63"/>
                  </a:lnTo>
                  <a:lnTo>
                    <a:pt x="956" y="66"/>
                  </a:lnTo>
                  <a:lnTo>
                    <a:pt x="969" y="66"/>
                  </a:lnTo>
                  <a:lnTo>
                    <a:pt x="983" y="66"/>
                  </a:lnTo>
                  <a:lnTo>
                    <a:pt x="1001" y="66"/>
                  </a:lnTo>
                  <a:lnTo>
                    <a:pt x="1020" y="66"/>
                  </a:lnTo>
                  <a:lnTo>
                    <a:pt x="1029" y="66"/>
                  </a:lnTo>
                  <a:lnTo>
                    <a:pt x="1042" y="66"/>
                  </a:lnTo>
                  <a:lnTo>
                    <a:pt x="1056" y="66"/>
                  </a:lnTo>
                  <a:lnTo>
                    <a:pt x="1065" y="66"/>
                  </a:lnTo>
                  <a:lnTo>
                    <a:pt x="1074" y="66"/>
                  </a:lnTo>
                  <a:lnTo>
                    <a:pt x="1088" y="66"/>
                  </a:lnTo>
                  <a:lnTo>
                    <a:pt x="1093" y="66"/>
                  </a:lnTo>
                  <a:lnTo>
                    <a:pt x="1102" y="66"/>
                  </a:lnTo>
                  <a:lnTo>
                    <a:pt x="1111" y="66"/>
                  </a:lnTo>
                  <a:lnTo>
                    <a:pt x="1093" y="205"/>
                  </a:lnTo>
                  <a:lnTo>
                    <a:pt x="1088" y="205"/>
                  </a:lnTo>
                  <a:lnTo>
                    <a:pt x="1074" y="205"/>
                  </a:lnTo>
                  <a:lnTo>
                    <a:pt x="1070" y="205"/>
                  </a:lnTo>
                  <a:lnTo>
                    <a:pt x="1056" y="205"/>
                  </a:lnTo>
                  <a:lnTo>
                    <a:pt x="1047" y="205"/>
                  </a:lnTo>
                  <a:lnTo>
                    <a:pt x="1038" y="205"/>
                  </a:lnTo>
                  <a:lnTo>
                    <a:pt x="1020" y="202"/>
                  </a:lnTo>
                  <a:lnTo>
                    <a:pt x="1010" y="202"/>
                  </a:lnTo>
                  <a:lnTo>
                    <a:pt x="992" y="202"/>
                  </a:lnTo>
                  <a:lnTo>
                    <a:pt x="978" y="202"/>
                  </a:lnTo>
                  <a:lnTo>
                    <a:pt x="956" y="199"/>
                  </a:lnTo>
                  <a:lnTo>
                    <a:pt x="937" y="199"/>
                  </a:lnTo>
                  <a:lnTo>
                    <a:pt x="919" y="199"/>
                  </a:lnTo>
                  <a:lnTo>
                    <a:pt x="901" y="199"/>
                  </a:lnTo>
                  <a:lnTo>
                    <a:pt x="887" y="199"/>
                  </a:lnTo>
                  <a:lnTo>
                    <a:pt x="878" y="199"/>
                  </a:lnTo>
                  <a:lnTo>
                    <a:pt x="869" y="199"/>
                  </a:lnTo>
                  <a:lnTo>
                    <a:pt x="855" y="199"/>
                  </a:lnTo>
                  <a:lnTo>
                    <a:pt x="846" y="197"/>
                  </a:lnTo>
                  <a:lnTo>
                    <a:pt x="837" y="197"/>
                  </a:lnTo>
                  <a:lnTo>
                    <a:pt x="823" y="197"/>
                  </a:lnTo>
                  <a:lnTo>
                    <a:pt x="814" y="197"/>
                  </a:lnTo>
                  <a:lnTo>
                    <a:pt x="800" y="197"/>
                  </a:lnTo>
                  <a:lnTo>
                    <a:pt x="791" y="197"/>
                  </a:lnTo>
                  <a:lnTo>
                    <a:pt x="782" y="197"/>
                  </a:lnTo>
                  <a:lnTo>
                    <a:pt x="768" y="197"/>
                  </a:lnTo>
                  <a:lnTo>
                    <a:pt x="759" y="194"/>
                  </a:lnTo>
                  <a:lnTo>
                    <a:pt x="745" y="194"/>
                  </a:lnTo>
                  <a:lnTo>
                    <a:pt x="736" y="194"/>
                  </a:lnTo>
                  <a:lnTo>
                    <a:pt x="727" y="194"/>
                  </a:lnTo>
                  <a:lnTo>
                    <a:pt x="713" y="194"/>
                  </a:lnTo>
                  <a:lnTo>
                    <a:pt x="704" y="194"/>
                  </a:lnTo>
                  <a:lnTo>
                    <a:pt x="695" y="194"/>
                  </a:lnTo>
                  <a:lnTo>
                    <a:pt x="681" y="194"/>
                  </a:lnTo>
                  <a:lnTo>
                    <a:pt x="672" y="194"/>
                  </a:lnTo>
                  <a:lnTo>
                    <a:pt x="663" y="194"/>
                  </a:lnTo>
                  <a:lnTo>
                    <a:pt x="649" y="194"/>
                  </a:lnTo>
                  <a:lnTo>
                    <a:pt x="640" y="194"/>
                  </a:lnTo>
                  <a:lnTo>
                    <a:pt x="622" y="191"/>
                  </a:lnTo>
                  <a:lnTo>
                    <a:pt x="604" y="188"/>
                  </a:lnTo>
                  <a:lnTo>
                    <a:pt x="585" y="188"/>
                  </a:lnTo>
                  <a:lnTo>
                    <a:pt x="567" y="188"/>
                  </a:lnTo>
                  <a:lnTo>
                    <a:pt x="544" y="185"/>
                  </a:lnTo>
                  <a:lnTo>
                    <a:pt x="526" y="185"/>
                  </a:lnTo>
                  <a:lnTo>
                    <a:pt x="517" y="185"/>
                  </a:lnTo>
                  <a:lnTo>
                    <a:pt x="508" y="182"/>
                  </a:lnTo>
                  <a:lnTo>
                    <a:pt x="494" y="182"/>
                  </a:lnTo>
                  <a:lnTo>
                    <a:pt x="489" y="182"/>
                  </a:lnTo>
                  <a:lnTo>
                    <a:pt x="471" y="177"/>
                  </a:lnTo>
                  <a:lnTo>
                    <a:pt x="462" y="177"/>
                  </a:lnTo>
                  <a:lnTo>
                    <a:pt x="453" y="177"/>
                  </a:lnTo>
                  <a:lnTo>
                    <a:pt x="439" y="177"/>
                  </a:lnTo>
                  <a:lnTo>
                    <a:pt x="430" y="174"/>
                  </a:lnTo>
                  <a:lnTo>
                    <a:pt x="421" y="174"/>
                  </a:lnTo>
                  <a:lnTo>
                    <a:pt x="407" y="174"/>
                  </a:lnTo>
                  <a:lnTo>
                    <a:pt x="398" y="174"/>
                  </a:lnTo>
                  <a:lnTo>
                    <a:pt x="384" y="171"/>
                  </a:lnTo>
                  <a:lnTo>
                    <a:pt x="371" y="171"/>
                  </a:lnTo>
                  <a:lnTo>
                    <a:pt x="357" y="168"/>
                  </a:lnTo>
                  <a:lnTo>
                    <a:pt x="348" y="168"/>
                  </a:lnTo>
                  <a:lnTo>
                    <a:pt x="334" y="165"/>
                  </a:lnTo>
                  <a:lnTo>
                    <a:pt x="320" y="162"/>
                  </a:lnTo>
                  <a:lnTo>
                    <a:pt x="311" y="162"/>
                  </a:lnTo>
                  <a:lnTo>
                    <a:pt x="302" y="162"/>
                  </a:lnTo>
                  <a:lnTo>
                    <a:pt x="288" y="162"/>
                  </a:lnTo>
                  <a:lnTo>
                    <a:pt x="275" y="162"/>
                  </a:lnTo>
                  <a:lnTo>
                    <a:pt x="265" y="160"/>
                  </a:lnTo>
                  <a:lnTo>
                    <a:pt x="256" y="160"/>
                  </a:lnTo>
                  <a:lnTo>
                    <a:pt x="243" y="157"/>
                  </a:lnTo>
                  <a:lnTo>
                    <a:pt x="233" y="157"/>
                  </a:lnTo>
                  <a:lnTo>
                    <a:pt x="220" y="157"/>
                  </a:lnTo>
                  <a:lnTo>
                    <a:pt x="211" y="157"/>
                  </a:lnTo>
                  <a:lnTo>
                    <a:pt x="197" y="151"/>
                  </a:lnTo>
                  <a:lnTo>
                    <a:pt x="188" y="151"/>
                  </a:lnTo>
                  <a:lnTo>
                    <a:pt x="179" y="151"/>
                  </a:lnTo>
                  <a:lnTo>
                    <a:pt x="165" y="151"/>
                  </a:lnTo>
                  <a:lnTo>
                    <a:pt x="147" y="148"/>
                  </a:lnTo>
                  <a:lnTo>
                    <a:pt x="128" y="145"/>
                  </a:lnTo>
                  <a:lnTo>
                    <a:pt x="110" y="142"/>
                  </a:lnTo>
                  <a:lnTo>
                    <a:pt x="92" y="142"/>
                  </a:lnTo>
                  <a:lnTo>
                    <a:pt x="73" y="140"/>
                  </a:lnTo>
                  <a:lnTo>
                    <a:pt x="60" y="140"/>
                  </a:lnTo>
                  <a:lnTo>
                    <a:pt x="42" y="137"/>
                  </a:lnTo>
                  <a:lnTo>
                    <a:pt x="32" y="137"/>
                  </a:lnTo>
                  <a:lnTo>
                    <a:pt x="23" y="134"/>
                  </a:lnTo>
                  <a:lnTo>
                    <a:pt x="14" y="134"/>
                  </a:lnTo>
                  <a:lnTo>
                    <a:pt x="5" y="134"/>
                  </a:lnTo>
                  <a:lnTo>
                    <a:pt x="0" y="134"/>
                  </a:lnTo>
                  <a:lnTo>
                    <a:pt x="10"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14" name="Freeform 204"/>
            <p:cNvSpPr>
              <a:spLocks/>
            </p:cNvSpPr>
            <p:nvPr>
              <p:custDataLst>
                <p:tags r:id="rId113"/>
              </p:custDataLst>
            </p:nvPr>
          </p:nvSpPr>
          <p:spPr bwMode="gray">
            <a:xfrm>
              <a:off x="3658" y="2183"/>
              <a:ext cx="760" cy="161"/>
            </a:xfrm>
            <a:custGeom>
              <a:avLst/>
              <a:gdLst>
                <a:gd name="T0" fmla="*/ 14 w 741"/>
                <a:gd name="T1" fmla="*/ 5 h 176"/>
                <a:gd name="T2" fmla="*/ 75 w 741"/>
                <a:gd name="T3" fmla="*/ 5 h 176"/>
                <a:gd name="T4" fmla="*/ 138 w 741"/>
                <a:gd name="T5" fmla="*/ 5 h 176"/>
                <a:gd name="T6" fmla="*/ 197 w 741"/>
                <a:gd name="T7" fmla="*/ 5 h 176"/>
                <a:gd name="T8" fmla="*/ 255 w 741"/>
                <a:gd name="T9" fmla="*/ 5 h 176"/>
                <a:gd name="T10" fmla="*/ 309 w 741"/>
                <a:gd name="T11" fmla="*/ 5 h 176"/>
                <a:gd name="T12" fmla="*/ 379 w 741"/>
                <a:gd name="T13" fmla="*/ 5 h 176"/>
                <a:gd name="T14" fmla="*/ 434 w 741"/>
                <a:gd name="T15" fmla="*/ 5 h 176"/>
                <a:gd name="T16" fmla="*/ 494 w 741"/>
                <a:gd name="T17" fmla="*/ 5 h 176"/>
                <a:gd name="T18" fmla="*/ 547 w 741"/>
                <a:gd name="T19" fmla="*/ 5 h 176"/>
                <a:gd name="T20" fmla="*/ 618 w 741"/>
                <a:gd name="T21" fmla="*/ 5 h 176"/>
                <a:gd name="T22" fmla="*/ 663 w 741"/>
                <a:gd name="T23" fmla="*/ 5 h 176"/>
                <a:gd name="T24" fmla="*/ 724 w 741"/>
                <a:gd name="T25" fmla="*/ 5 h 176"/>
                <a:gd name="T26" fmla="*/ 785 w 741"/>
                <a:gd name="T27" fmla="*/ 5 h 176"/>
                <a:gd name="T28" fmla="*/ 837 w 741"/>
                <a:gd name="T29" fmla="*/ 5 h 176"/>
                <a:gd name="T30" fmla="*/ 891 w 741"/>
                <a:gd name="T31" fmla="*/ 5 h 176"/>
                <a:gd name="T32" fmla="*/ 945 w 741"/>
                <a:gd name="T33" fmla="*/ 5 h 176"/>
                <a:gd name="T34" fmla="*/ 998 w 741"/>
                <a:gd name="T35" fmla="*/ 5 h 176"/>
                <a:gd name="T36" fmla="*/ 1043 w 741"/>
                <a:gd name="T37" fmla="*/ 5 h 176"/>
                <a:gd name="T38" fmla="*/ 1088 w 741"/>
                <a:gd name="T39" fmla="*/ 5 h 176"/>
                <a:gd name="T40" fmla="*/ 1127 w 741"/>
                <a:gd name="T41" fmla="*/ 5 h 176"/>
                <a:gd name="T42" fmla="*/ 1176 w 741"/>
                <a:gd name="T43" fmla="*/ 2 h 176"/>
                <a:gd name="T44" fmla="*/ 1237 w 741"/>
                <a:gd name="T45" fmla="*/ 0 h 176"/>
                <a:gd name="T46" fmla="*/ 1301 w 741"/>
                <a:gd name="T47" fmla="*/ 0 h 176"/>
                <a:gd name="T48" fmla="*/ 1349 w 741"/>
                <a:gd name="T49" fmla="*/ 0 h 176"/>
                <a:gd name="T50" fmla="*/ 1405 w 741"/>
                <a:gd name="T51" fmla="*/ 0 h 176"/>
                <a:gd name="T52" fmla="*/ 1412 w 741"/>
                <a:gd name="T53" fmla="*/ 2 h 176"/>
                <a:gd name="T54" fmla="*/ 1412 w 741"/>
                <a:gd name="T55" fmla="*/ 5 h 176"/>
                <a:gd name="T56" fmla="*/ 1412 w 741"/>
                <a:gd name="T57" fmla="*/ 5 h 176"/>
                <a:gd name="T58" fmla="*/ 1423 w 741"/>
                <a:gd name="T59" fmla="*/ 5 h 176"/>
                <a:gd name="T60" fmla="*/ 1423 w 741"/>
                <a:gd name="T61" fmla="*/ 6 h 176"/>
                <a:gd name="T62" fmla="*/ 1423 w 741"/>
                <a:gd name="T63" fmla="*/ 9 h 176"/>
                <a:gd name="T64" fmla="*/ 1429 w 741"/>
                <a:gd name="T65" fmla="*/ 11 h 176"/>
                <a:gd name="T66" fmla="*/ 1429 w 741"/>
                <a:gd name="T67" fmla="*/ 12 h 176"/>
                <a:gd name="T68" fmla="*/ 1429 w 741"/>
                <a:gd name="T69" fmla="*/ 12 h 176"/>
                <a:gd name="T70" fmla="*/ 1387 w 741"/>
                <a:gd name="T71" fmla="*/ 12 h 176"/>
                <a:gd name="T72" fmla="*/ 1335 w 741"/>
                <a:gd name="T73" fmla="*/ 12 h 176"/>
                <a:gd name="T74" fmla="*/ 1288 w 741"/>
                <a:gd name="T75" fmla="*/ 13 h 176"/>
                <a:gd name="T76" fmla="*/ 1237 w 741"/>
                <a:gd name="T77" fmla="*/ 13 h 176"/>
                <a:gd name="T78" fmla="*/ 1184 w 741"/>
                <a:gd name="T79" fmla="*/ 13 h 176"/>
                <a:gd name="T80" fmla="*/ 1127 w 741"/>
                <a:gd name="T81" fmla="*/ 14 h 176"/>
                <a:gd name="T82" fmla="*/ 1062 w 741"/>
                <a:gd name="T83" fmla="*/ 14 h 176"/>
                <a:gd name="T84" fmla="*/ 1008 w 741"/>
                <a:gd name="T85" fmla="*/ 14 h 176"/>
                <a:gd name="T86" fmla="*/ 936 w 741"/>
                <a:gd name="T87" fmla="*/ 15 h 176"/>
                <a:gd name="T88" fmla="*/ 866 w 741"/>
                <a:gd name="T89" fmla="*/ 15 h 176"/>
                <a:gd name="T90" fmla="*/ 804 w 741"/>
                <a:gd name="T91" fmla="*/ 15 h 176"/>
                <a:gd name="T92" fmla="*/ 742 w 741"/>
                <a:gd name="T93" fmla="*/ 15 h 176"/>
                <a:gd name="T94" fmla="*/ 680 w 741"/>
                <a:gd name="T95" fmla="*/ 16 h 176"/>
                <a:gd name="T96" fmla="*/ 0 w 741"/>
                <a:gd name="T97" fmla="*/ 17 h 176"/>
                <a:gd name="T98" fmla="*/ 0 w 741"/>
                <a:gd name="T99" fmla="*/ 5 h 17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41"/>
                <a:gd name="T151" fmla="*/ 0 h 176"/>
                <a:gd name="T152" fmla="*/ 741 w 741"/>
                <a:gd name="T153" fmla="*/ 176 h 17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41" h="176">
                  <a:moveTo>
                    <a:pt x="0" y="40"/>
                  </a:moveTo>
                  <a:lnTo>
                    <a:pt x="14" y="40"/>
                  </a:lnTo>
                  <a:lnTo>
                    <a:pt x="28" y="40"/>
                  </a:lnTo>
                  <a:lnTo>
                    <a:pt x="41" y="40"/>
                  </a:lnTo>
                  <a:lnTo>
                    <a:pt x="60" y="40"/>
                  </a:lnTo>
                  <a:lnTo>
                    <a:pt x="73" y="40"/>
                  </a:lnTo>
                  <a:lnTo>
                    <a:pt x="87" y="40"/>
                  </a:lnTo>
                  <a:lnTo>
                    <a:pt x="101" y="40"/>
                  </a:lnTo>
                  <a:lnTo>
                    <a:pt x="119" y="40"/>
                  </a:lnTo>
                  <a:lnTo>
                    <a:pt x="133" y="37"/>
                  </a:lnTo>
                  <a:lnTo>
                    <a:pt x="147" y="37"/>
                  </a:lnTo>
                  <a:lnTo>
                    <a:pt x="160" y="37"/>
                  </a:lnTo>
                  <a:lnTo>
                    <a:pt x="179" y="37"/>
                  </a:lnTo>
                  <a:lnTo>
                    <a:pt x="197" y="34"/>
                  </a:lnTo>
                  <a:lnTo>
                    <a:pt x="210" y="34"/>
                  </a:lnTo>
                  <a:lnTo>
                    <a:pt x="224" y="34"/>
                  </a:lnTo>
                  <a:lnTo>
                    <a:pt x="238" y="34"/>
                  </a:lnTo>
                  <a:lnTo>
                    <a:pt x="256" y="31"/>
                  </a:lnTo>
                  <a:lnTo>
                    <a:pt x="270" y="31"/>
                  </a:lnTo>
                  <a:lnTo>
                    <a:pt x="284" y="28"/>
                  </a:lnTo>
                  <a:lnTo>
                    <a:pt x="302" y="28"/>
                  </a:lnTo>
                  <a:lnTo>
                    <a:pt x="320" y="28"/>
                  </a:lnTo>
                  <a:lnTo>
                    <a:pt x="329" y="28"/>
                  </a:lnTo>
                  <a:lnTo>
                    <a:pt x="343" y="25"/>
                  </a:lnTo>
                  <a:lnTo>
                    <a:pt x="361" y="25"/>
                  </a:lnTo>
                  <a:lnTo>
                    <a:pt x="375" y="22"/>
                  </a:lnTo>
                  <a:lnTo>
                    <a:pt x="389" y="22"/>
                  </a:lnTo>
                  <a:lnTo>
                    <a:pt x="407" y="20"/>
                  </a:lnTo>
                  <a:lnTo>
                    <a:pt x="421" y="20"/>
                  </a:lnTo>
                  <a:lnTo>
                    <a:pt x="434" y="20"/>
                  </a:lnTo>
                  <a:lnTo>
                    <a:pt x="448" y="20"/>
                  </a:lnTo>
                  <a:lnTo>
                    <a:pt x="462" y="17"/>
                  </a:lnTo>
                  <a:lnTo>
                    <a:pt x="480" y="17"/>
                  </a:lnTo>
                  <a:lnTo>
                    <a:pt x="489" y="14"/>
                  </a:lnTo>
                  <a:lnTo>
                    <a:pt x="503" y="14"/>
                  </a:lnTo>
                  <a:lnTo>
                    <a:pt x="517" y="14"/>
                  </a:lnTo>
                  <a:lnTo>
                    <a:pt x="526" y="11"/>
                  </a:lnTo>
                  <a:lnTo>
                    <a:pt x="540" y="8"/>
                  </a:lnTo>
                  <a:lnTo>
                    <a:pt x="553" y="8"/>
                  </a:lnTo>
                  <a:lnTo>
                    <a:pt x="562" y="5"/>
                  </a:lnTo>
                  <a:lnTo>
                    <a:pt x="576" y="5"/>
                  </a:lnTo>
                  <a:lnTo>
                    <a:pt x="585" y="5"/>
                  </a:lnTo>
                  <a:lnTo>
                    <a:pt x="599" y="5"/>
                  </a:lnTo>
                  <a:lnTo>
                    <a:pt x="608" y="2"/>
                  </a:lnTo>
                  <a:lnTo>
                    <a:pt x="622" y="2"/>
                  </a:lnTo>
                  <a:lnTo>
                    <a:pt x="640" y="0"/>
                  </a:lnTo>
                  <a:lnTo>
                    <a:pt x="658" y="0"/>
                  </a:lnTo>
                  <a:lnTo>
                    <a:pt x="672" y="0"/>
                  </a:lnTo>
                  <a:lnTo>
                    <a:pt x="686" y="0"/>
                  </a:lnTo>
                  <a:lnTo>
                    <a:pt x="699" y="0"/>
                  </a:lnTo>
                  <a:lnTo>
                    <a:pt x="709" y="0"/>
                  </a:lnTo>
                  <a:lnTo>
                    <a:pt x="727" y="0"/>
                  </a:lnTo>
                  <a:lnTo>
                    <a:pt x="731" y="0"/>
                  </a:lnTo>
                  <a:lnTo>
                    <a:pt x="731" y="2"/>
                  </a:lnTo>
                  <a:lnTo>
                    <a:pt x="731" y="8"/>
                  </a:lnTo>
                  <a:lnTo>
                    <a:pt x="731" y="14"/>
                  </a:lnTo>
                  <a:lnTo>
                    <a:pt x="731" y="22"/>
                  </a:lnTo>
                  <a:lnTo>
                    <a:pt x="731" y="31"/>
                  </a:lnTo>
                  <a:lnTo>
                    <a:pt x="731" y="42"/>
                  </a:lnTo>
                  <a:lnTo>
                    <a:pt x="736" y="51"/>
                  </a:lnTo>
                  <a:lnTo>
                    <a:pt x="736" y="59"/>
                  </a:lnTo>
                  <a:lnTo>
                    <a:pt x="736" y="68"/>
                  </a:lnTo>
                  <a:lnTo>
                    <a:pt x="736" y="79"/>
                  </a:lnTo>
                  <a:lnTo>
                    <a:pt x="736" y="88"/>
                  </a:lnTo>
                  <a:lnTo>
                    <a:pt x="741" y="96"/>
                  </a:lnTo>
                  <a:lnTo>
                    <a:pt x="741" y="102"/>
                  </a:lnTo>
                  <a:lnTo>
                    <a:pt x="741" y="105"/>
                  </a:lnTo>
                  <a:lnTo>
                    <a:pt x="741" y="111"/>
                  </a:lnTo>
                  <a:lnTo>
                    <a:pt x="731" y="111"/>
                  </a:lnTo>
                  <a:lnTo>
                    <a:pt x="718" y="114"/>
                  </a:lnTo>
                  <a:lnTo>
                    <a:pt x="699" y="116"/>
                  </a:lnTo>
                  <a:lnTo>
                    <a:pt x="690" y="116"/>
                  </a:lnTo>
                  <a:lnTo>
                    <a:pt x="681" y="116"/>
                  </a:lnTo>
                  <a:lnTo>
                    <a:pt x="668" y="119"/>
                  </a:lnTo>
                  <a:lnTo>
                    <a:pt x="658" y="122"/>
                  </a:lnTo>
                  <a:lnTo>
                    <a:pt x="640" y="125"/>
                  </a:lnTo>
                  <a:lnTo>
                    <a:pt x="631" y="125"/>
                  </a:lnTo>
                  <a:lnTo>
                    <a:pt x="613" y="128"/>
                  </a:lnTo>
                  <a:lnTo>
                    <a:pt x="604" y="128"/>
                  </a:lnTo>
                  <a:lnTo>
                    <a:pt x="585" y="131"/>
                  </a:lnTo>
                  <a:lnTo>
                    <a:pt x="567" y="131"/>
                  </a:lnTo>
                  <a:lnTo>
                    <a:pt x="549" y="133"/>
                  </a:lnTo>
                  <a:lnTo>
                    <a:pt x="540" y="136"/>
                  </a:lnTo>
                  <a:lnTo>
                    <a:pt x="521" y="139"/>
                  </a:lnTo>
                  <a:lnTo>
                    <a:pt x="503" y="139"/>
                  </a:lnTo>
                  <a:lnTo>
                    <a:pt x="485" y="142"/>
                  </a:lnTo>
                  <a:lnTo>
                    <a:pt x="471" y="145"/>
                  </a:lnTo>
                  <a:lnTo>
                    <a:pt x="448" y="148"/>
                  </a:lnTo>
                  <a:lnTo>
                    <a:pt x="434" y="148"/>
                  </a:lnTo>
                  <a:lnTo>
                    <a:pt x="416" y="148"/>
                  </a:lnTo>
                  <a:lnTo>
                    <a:pt x="398" y="151"/>
                  </a:lnTo>
                  <a:lnTo>
                    <a:pt x="384" y="153"/>
                  </a:lnTo>
                  <a:lnTo>
                    <a:pt x="366" y="153"/>
                  </a:lnTo>
                  <a:lnTo>
                    <a:pt x="352" y="156"/>
                  </a:lnTo>
                  <a:lnTo>
                    <a:pt x="338" y="159"/>
                  </a:lnTo>
                  <a:lnTo>
                    <a:pt x="0" y="176"/>
                  </a:lnTo>
                  <a:lnTo>
                    <a:pt x="0" y="4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15" name="Freeform 205"/>
            <p:cNvSpPr>
              <a:spLocks/>
            </p:cNvSpPr>
            <p:nvPr>
              <p:custDataLst>
                <p:tags r:id="rId114"/>
              </p:custDataLst>
            </p:nvPr>
          </p:nvSpPr>
          <p:spPr bwMode="gray">
            <a:xfrm>
              <a:off x="1293" y="2430"/>
              <a:ext cx="164" cy="94"/>
            </a:xfrm>
            <a:custGeom>
              <a:avLst/>
              <a:gdLst>
                <a:gd name="T0" fmla="*/ 54 w 160"/>
                <a:gd name="T1" fmla="*/ 3 h 103"/>
                <a:gd name="T2" fmla="*/ 19 w 160"/>
                <a:gd name="T3" fmla="*/ 5 h 103"/>
                <a:gd name="T4" fmla="*/ 14 w 160"/>
                <a:gd name="T5" fmla="*/ 5 h 103"/>
                <a:gd name="T6" fmla="*/ 9 w 160"/>
                <a:gd name="T7" fmla="*/ 5 h 103"/>
                <a:gd name="T8" fmla="*/ 5 w 160"/>
                <a:gd name="T9" fmla="*/ 5 h 103"/>
                <a:gd name="T10" fmla="*/ 0 w 160"/>
                <a:gd name="T11" fmla="*/ 5 h 103"/>
                <a:gd name="T12" fmla="*/ 0 w 160"/>
                <a:gd name="T13" fmla="*/ 5 h 103"/>
                <a:gd name="T14" fmla="*/ 0 w 160"/>
                <a:gd name="T15" fmla="*/ 5 h 103"/>
                <a:gd name="T16" fmla="*/ 5 w 160"/>
                <a:gd name="T17" fmla="*/ 5 h 103"/>
                <a:gd name="T18" fmla="*/ 5 w 160"/>
                <a:gd name="T19" fmla="*/ 7 h 103"/>
                <a:gd name="T20" fmla="*/ 9 w 160"/>
                <a:gd name="T21" fmla="*/ 8 h 103"/>
                <a:gd name="T22" fmla="*/ 19 w 160"/>
                <a:gd name="T23" fmla="*/ 9 h 103"/>
                <a:gd name="T24" fmla="*/ 58 w 160"/>
                <a:gd name="T25" fmla="*/ 10 h 103"/>
                <a:gd name="T26" fmla="*/ 83 w 160"/>
                <a:gd name="T27" fmla="*/ 10 h 103"/>
                <a:gd name="T28" fmla="*/ 116 w 160"/>
                <a:gd name="T29" fmla="*/ 10 h 103"/>
                <a:gd name="T30" fmla="*/ 137 w 160"/>
                <a:gd name="T31" fmla="*/ 10 h 103"/>
                <a:gd name="T32" fmla="*/ 164 w 160"/>
                <a:gd name="T33" fmla="*/ 10 h 103"/>
                <a:gd name="T34" fmla="*/ 194 w 160"/>
                <a:gd name="T35" fmla="*/ 10 h 103"/>
                <a:gd name="T36" fmla="*/ 217 w 160"/>
                <a:gd name="T37" fmla="*/ 10 h 103"/>
                <a:gd name="T38" fmla="*/ 234 w 160"/>
                <a:gd name="T39" fmla="*/ 10 h 103"/>
                <a:gd name="T40" fmla="*/ 252 w 160"/>
                <a:gd name="T41" fmla="*/ 9 h 103"/>
                <a:gd name="T42" fmla="*/ 279 w 160"/>
                <a:gd name="T43" fmla="*/ 8 h 103"/>
                <a:gd name="T44" fmla="*/ 286 w 160"/>
                <a:gd name="T45" fmla="*/ 7 h 103"/>
                <a:gd name="T46" fmla="*/ 295 w 160"/>
                <a:gd name="T47" fmla="*/ 5 h 103"/>
                <a:gd name="T48" fmla="*/ 302 w 160"/>
                <a:gd name="T49" fmla="*/ 5 h 103"/>
                <a:gd name="T50" fmla="*/ 295 w 160"/>
                <a:gd name="T51" fmla="*/ 5 h 103"/>
                <a:gd name="T52" fmla="*/ 295 w 160"/>
                <a:gd name="T53" fmla="*/ 5 h 103"/>
                <a:gd name="T54" fmla="*/ 286 w 160"/>
                <a:gd name="T55" fmla="*/ 5 h 103"/>
                <a:gd name="T56" fmla="*/ 279 w 160"/>
                <a:gd name="T57" fmla="*/ 5 h 103"/>
                <a:gd name="T58" fmla="*/ 252 w 160"/>
                <a:gd name="T59" fmla="*/ 5 h 103"/>
                <a:gd name="T60" fmla="*/ 217 w 160"/>
                <a:gd name="T61" fmla="*/ 5 h 103"/>
                <a:gd name="T62" fmla="*/ 194 w 160"/>
                <a:gd name="T63" fmla="*/ 3 h 103"/>
                <a:gd name="T64" fmla="*/ 145 w 160"/>
                <a:gd name="T65" fmla="*/ 3 h 103"/>
                <a:gd name="T66" fmla="*/ 116 w 160"/>
                <a:gd name="T67" fmla="*/ 0 h 103"/>
                <a:gd name="T68" fmla="*/ 83 w 160"/>
                <a:gd name="T69" fmla="*/ 3 h 103"/>
                <a:gd name="T70" fmla="*/ 65 w 160"/>
                <a:gd name="T71" fmla="*/ 3 h 103"/>
                <a:gd name="T72" fmla="*/ 54 w 160"/>
                <a:gd name="T73" fmla="*/ 3 h 103"/>
                <a:gd name="T74" fmla="*/ 54 w 160"/>
                <a:gd name="T75" fmla="*/ 3 h 1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0"/>
                <a:gd name="T115" fmla="*/ 0 h 103"/>
                <a:gd name="T116" fmla="*/ 160 w 160"/>
                <a:gd name="T117" fmla="*/ 103 h 10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0" h="103">
                  <a:moveTo>
                    <a:pt x="28" y="3"/>
                  </a:moveTo>
                  <a:lnTo>
                    <a:pt x="19" y="12"/>
                  </a:lnTo>
                  <a:lnTo>
                    <a:pt x="14" y="20"/>
                  </a:lnTo>
                  <a:lnTo>
                    <a:pt x="9" y="29"/>
                  </a:lnTo>
                  <a:lnTo>
                    <a:pt x="5" y="40"/>
                  </a:lnTo>
                  <a:lnTo>
                    <a:pt x="0" y="46"/>
                  </a:lnTo>
                  <a:lnTo>
                    <a:pt x="0" y="54"/>
                  </a:lnTo>
                  <a:lnTo>
                    <a:pt x="0" y="60"/>
                  </a:lnTo>
                  <a:lnTo>
                    <a:pt x="5" y="66"/>
                  </a:lnTo>
                  <a:lnTo>
                    <a:pt x="5" y="74"/>
                  </a:lnTo>
                  <a:lnTo>
                    <a:pt x="9" y="83"/>
                  </a:lnTo>
                  <a:lnTo>
                    <a:pt x="19" y="91"/>
                  </a:lnTo>
                  <a:lnTo>
                    <a:pt x="32" y="97"/>
                  </a:lnTo>
                  <a:lnTo>
                    <a:pt x="46" y="100"/>
                  </a:lnTo>
                  <a:lnTo>
                    <a:pt x="60" y="100"/>
                  </a:lnTo>
                  <a:lnTo>
                    <a:pt x="73" y="100"/>
                  </a:lnTo>
                  <a:lnTo>
                    <a:pt x="87" y="103"/>
                  </a:lnTo>
                  <a:lnTo>
                    <a:pt x="101" y="100"/>
                  </a:lnTo>
                  <a:lnTo>
                    <a:pt x="115" y="100"/>
                  </a:lnTo>
                  <a:lnTo>
                    <a:pt x="124" y="97"/>
                  </a:lnTo>
                  <a:lnTo>
                    <a:pt x="133" y="94"/>
                  </a:lnTo>
                  <a:lnTo>
                    <a:pt x="147" y="86"/>
                  </a:lnTo>
                  <a:lnTo>
                    <a:pt x="151" y="74"/>
                  </a:lnTo>
                  <a:lnTo>
                    <a:pt x="156" y="63"/>
                  </a:lnTo>
                  <a:lnTo>
                    <a:pt x="160" y="54"/>
                  </a:lnTo>
                  <a:lnTo>
                    <a:pt x="156" y="43"/>
                  </a:lnTo>
                  <a:lnTo>
                    <a:pt x="156" y="31"/>
                  </a:lnTo>
                  <a:lnTo>
                    <a:pt x="151" y="23"/>
                  </a:lnTo>
                  <a:lnTo>
                    <a:pt x="147" y="17"/>
                  </a:lnTo>
                  <a:lnTo>
                    <a:pt x="133" y="9"/>
                  </a:lnTo>
                  <a:lnTo>
                    <a:pt x="115" y="6"/>
                  </a:lnTo>
                  <a:lnTo>
                    <a:pt x="101" y="3"/>
                  </a:lnTo>
                  <a:lnTo>
                    <a:pt x="78" y="3"/>
                  </a:lnTo>
                  <a:lnTo>
                    <a:pt x="60" y="0"/>
                  </a:lnTo>
                  <a:lnTo>
                    <a:pt x="46" y="3"/>
                  </a:lnTo>
                  <a:lnTo>
                    <a:pt x="37" y="3"/>
                  </a:lnTo>
                  <a:lnTo>
                    <a:pt x="28"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16" name="Freeform 206"/>
            <p:cNvSpPr>
              <a:spLocks/>
            </p:cNvSpPr>
            <p:nvPr>
              <p:custDataLst>
                <p:tags r:id="rId115"/>
              </p:custDataLst>
            </p:nvPr>
          </p:nvSpPr>
          <p:spPr bwMode="gray">
            <a:xfrm>
              <a:off x="1785" y="2469"/>
              <a:ext cx="178" cy="93"/>
            </a:xfrm>
            <a:custGeom>
              <a:avLst/>
              <a:gdLst>
                <a:gd name="T0" fmla="*/ 58 w 174"/>
                <a:gd name="T1" fmla="*/ 5 h 102"/>
                <a:gd name="T2" fmla="*/ 49 w 174"/>
                <a:gd name="T3" fmla="*/ 5 h 102"/>
                <a:gd name="T4" fmla="*/ 14 w 174"/>
                <a:gd name="T5" fmla="*/ 5 h 102"/>
                <a:gd name="T6" fmla="*/ 14 w 174"/>
                <a:gd name="T7" fmla="*/ 5 h 102"/>
                <a:gd name="T8" fmla="*/ 9 w 174"/>
                <a:gd name="T9" fmla="*/ 5 h 102"/>
                <a:gd name="T10" fmla="*/ 5 w 174"/>
                <a:gd name="T11" fmla="*/ 5 h 102"/>
                <a:gd name="T12" fmla="*/ 0 w 174"/>
                <a:gd name="T13" fmla="*/ 5 h 102"/>
                <a:gd name="T14" fmla="*/ 0 w 174"/>
                <a:gd name="T15" fmla="*/ 5 h 102"/>
                <a:gd name="T16" fmla="*/ 5 w 174"/>
                <a:gd name="T17" fmla="*/ 5 h 102"/>
                <a:gd name="T18" fmla="*/ 9 w 174"/>
                <a:gd name="T19" fmla="*/ 7 h 102"/>
                <a:gd name="T20" fmla="*/ 14 w 174"/>
                <a:gd name="T21" fmla="*/ 8 h 102"/>
                <a:gd name="T22" fmla="*/ 49 w 174"/>
                <a:gd name="T23" fmla="*/ 9 h 102"/>
                <a:gd name="T24" fmla="*/ 63 w 174"/>
                <a:gd name="T25" fmla="*/ 10 h 102"/>
                <a:gd name="T26" fmla="*/ 86 w 174"/>
                <a:gd name="T27" fmla="*/ 10 h 102"/>
                <a:gd name="T28" fmla="*/ 116 w 174"/>
                <a:gd name="T29" fmla="*/ 10 h 102"/>
                <a:gd name="T30" fmla="*/ 140 w 174"/>
                <a:gd name="T31" fmla="*/ 10 h 102"/>
                <a:gd name="T32" fmla="*/ 171 w 174"/>
                <a:gd name="T33" fmla="*/ 10 h 102"/>
                <a:gd name="T34" fmla="*/ 190 w 174"/>
                <a:gd name="T35" fmla="*/ 10 h 102"/>
                <a:gd name="T36" fmla="*/ 214 w 174"/>
                <a:gd name="T37" fmla="*/ 10 h 102"/>
                <a:gd name="T38" fmla="*/ 238 w 174"/>
                <a:gd name="T39" fmla="*/ 9 h 102"/>
                <a:gd name="T40" fmla="*/ 255 w 174"/>
                <a:gd name="T41" fmla="*/ 9 h 102"/>
                <a:gd name="T42" fmla="*/ 273 w 174"/>
                <a:gd name="T43" fmla="*/ 8 h 102"/>
                <a:gd name="T44" fmla="*/ 290 w 174"/>
                <a:gd name="T45" fmla="*/ 7 h 102"/>
                <a:gd name="T46" fmla="*/ 305 w 174"/>
                <a:gd name="T47" fmla="*/ 6 h 102"/>
                <a:gd name="T48" fmla="*/ 313 w 174"/>
                <a:gd name="T49" fmla="*/ 5 h 102"/>
                <a:gd name="T50" fmla="*/ 313 w 174"/>
                <a:gd name="T51" fmla="*/ 5 h 102"/>
                <a:gd name="T52" fmla="*/ 313 w 174"/>
                <a:gd name="T53" fmla="*/ 5 h 102"/>
                <a:gd name="T54" fmla="*/ 305 w 174"/>
                <a:gd name="T55" fmla="*/ 5 h 102"/>
                <a:gd name="T56" fmla="*/ 305 w 174"/>
                <a:gd name="T57" fmla="*/ 5 h 102"/>
                <a:gd name="T58" fmla="*/ 290 w 174"/>
                <a:gd name="T59" fmla="*/ 5 h 102"/>
                <a:gd name="T60" fmla="*/ 283 w 174"/>
                <a:gd name="T61" fmla="*/ 5 h 102"/>
                <a:gd name="T62" fmla="*/ 262 w 174"/>
                <a:gd name="T63" fmla="*/ 5 h 102"/>
                <a:gd name="T64" fmla="*/ 244 w 174"/>
                <a:gd name="T65" fmla="*/ 0 h 102"/>
                <a:gd name="T66" fmla="*/ 229 w 174"/>
                <a:gd name="T67" fmla="*/ 0 h 102"/>
                <a:gd name="T68" fmla="*/ 207 w 174"/>
                <a:gd name="T69" fmla="*/ 0 h 102"/>
                <a:gd name="T70" fmla="*/ 190 w 174"/>
                <a:gd name="T71" fmla="*/ 0 h 102"/>
                <a:gd name="T72" fmla="*/ 171 w 174"/>
                <a:gd name="T73" fmla="*/ 0 h 102"/>
                <a:gd name="T74" fmla="*/ 140 w 174"/>
                <a:gd name="T75" fmla="*/ 0 h 102"/>
                <a:gd name="T76" fmla="*/ 127 w 174"/>
                <a:gd name="T77" fmla="*/ 0 h 102"/>
                <a:gd name="T78" fmla="*/ 106 w 174"/>
                <a:gd name="T79" fmla="*/ 0 h 102"/>
                <a:gd name="T80" fmla="*/ 86 w 174"/>
                <a:gd name="T81" fmla="*/ 0 h 102"/>
                <a:gd name="T82" fmla="*/ 63 w 174"/>
                <a:gd name="T83" fmla="*/ 3 h 102"/>
                <a:gd name="T84" fmla="*/ 58 w 174"/>
                <a:gd name="T85" fmla="*/ 5 h 102"/>
                <a:gd name="T86" fmla="*/ 58 w 174"/>
                <a:gd name="T87" fmla="*/ 5 h 1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74"/>
                <a:gd name="T133" fmla="*/ 0 h 102"/>
                <a:gd name="T134" fmla="*/ 174 w 174"/>
                <a:gd name="T135" fmla="*/ 102 h 10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74" h="102">
                  <a:moveTo>
                    <a:pt x="32" y="6"/>
                  </a:moveTo>
                  <a:lnTo>
                    <a:pt x="23" y="14"/>
                  </a:lnTo>
                  <a:lnTo>
                    <a:pt x="14" y="23"/>
                  </a:lnTo>
                  <a:lnTo>
                    <a:pt x="14" y="31"/>
                  </a:lnTo>
                  <a:lnTo>
                    <a:pt x="9" y="40"/>
                  </a:lnTo>
                  <a:lnTo>
                    <a:pt x="5" y="45"/>
                  </a:lnTo>
                  <a:lnTo>
                    <a:pt x="0" y="54"/>
                  </a:lnTo>
                  <a:lnTo>
                    <a:pt x="0" y="60"/>
                  </a:lnTo>
                  <a:lnTo>
                    <a:pt x="5" y="65"/>
                  </a:lnTo>
                  <a:lnTo>
                    <a:pt x="9" y="77"/>
                  </a:lnTo>
                  <a:lnTo>
                    <a:pt x="14" y="82"/>
                  </a:lnTo>
                  <a:lnTo>
                    <a:pt x="23" y="91"/>
                  </a:lnTo>
                  <a:lnTo>
                    <a:pt x="37" y="97"/>
                  </a:lnTo>
                  <a:lnTo>
                    <a:pt x="50" y="100"/>
                  </a:lnTo>
                  <a:lnTo>
                    <a:pt x="64" y="100"/>
                  </a:lnTo>
                  <a:lnTo>
                    <a:pt x="78" y="100"/>
                  </a:lnTo>
                  <a:lnTo>
                    <a:pt x="96" y="102"/>
                  </a:lnTo>
                  <a:lnTo>
                    <a:pt x="105" y="100"/>
                  </a:lnTo>
                  <a:lnTo>
                    <a:pt x="119" y="100"/>
                  </a:lnTo>
                  <a:lnTo>
                    <a:pt x="133" y="94"/>
                  </a:lnTo>
                  <a:lnTo>
                    <a:pt x="142" y="94"/>
                  </a:lnTo>
                  <a:lnTo>
                    <a:pt x="151" y="82"/>
                  </a:lnTo>
                  <a:lnTo>
                    <a:pt x="160" y="77"/>
                  </a:lnTo>
                  <a:lnTo>
                    <a:pt x="169" y="71"/>
                  </a:lnTo>
                  <a:lnTo>
                    <a:pt x="174" y="63"/>
                  </a:lnTo>
                  <a:lnTo>
                    <a:pt x="174" y="51"/>
                  </a:lnTo>
                  <a:lnTo>
                    <a:pt x="174" y="43"/>
                  </a:lnTo>
                  <a:lnTo>
                    <a:pt x="169" y="31"/>
                  </a:lnTo>
                  <a:lnTo>
                    <a:pt x="169" y="20"/>
                  </a:lnTo>
                  <a:lnTo>
                    <a:pt x="160" y="14"/>
                  </a:lnTo>
                  <a:lnTo>
                    <a:pt x="156" y="8"/>
                  </a:lnTo>
                  <a:lnTo>
                    <a:pt x="146" y="6"/>
                  </a:lnTo>
                  <a:lnTo>
                    <a:pt x="137" y="0"/>
                  </a:lnTo>
                  <a:lnTo>
                    <a:pt x="128" y="0"/>
                  </a:lnTo>
                  <a:lnTo>
                    <a:pt x="114" y="0"/>
                  </a:lnTo>
                  <a:lnTo>
                    <a:pt x="105" y="0"/>
                  </a:lnTo>
                  <a:lnTo>
                    <a:pt x="96" y="0"/>
                  </a:lnTo>
                  <a:lnTo>
                    <a:pt x="78" y="0"/>
                  </a:lnTo>
                  <a:lnTo>
                    <a:pt x="69" y="0"/>
                  </a:lnTo>
                  <a:lnTo>
                    <a:pt x="60" y="0"/>
                  </a:lnTo>
                  <a:lnTo>
                    <a:pt x="50" y="0"/>
                  </a:lnTo>
                  <a:lnTo>
                    <a:pt x="37" y="3"/>
                  </a:lnTo>
                  <a:lnTo>
                    <a:pt x="32" y="6"/>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17" name="Freeform 207"/>
            <p:cNvSpPr>
              <a:spLocks/>
            </p:cNvSpPr>
            <p:nvPr>
              <p:custDataLst>
                <p:tags r:id="rId116"/>
              </p:custDataLst>
            </p:nvPr>
          </p:nvSpPr>
          <p:spPr bwMode="gray">
            <a:xfrm>
              <a:off x="2047" y="2479"/>
              <a:ext cx="164" cy="93"/>
            </a:xfrm>
            <a:custGeom>
              <a:avLst/>
              <a:gdLst>
                <a:gd name="T0" fmla="*/ 58 w 160"/>
                <a:gd name="T1" fmla="*/ 3 h 103"/>
                <a:gd name="T2" fmla="*/ 18 w 160"/>
                <a:gd name="T3" fmla="*/ 5 h 103"/>
                <a:gd name="T4" fmla="*/ 14 w 160"/>
                <a:gd name="T5" fmla="*/ 5 h 103"/>
                <a:gd name="T6" fmla="*/ 9 w 160"/>
                <a:gd name="T7" fmla="*/ 5 h 103"/>
                <a:gd name="T8" fmla="*/ 0 w 160"/>
                <a:gd name="T9" fmla="*/ 5 h 103"/>
                <a:gd name="T10" fmla="*/ 0 w 160"/>
                <a:gd name="T11" fmla="*/ 5 h 103"/>
                <a:gd name="T12" fmla="*/ 0 w 160"/>
                <a:gd name="T13" fmla="*/ 5 h 103"/>
                <a:gd name="T14" fmla="*/ 0 w 160"/>
                <a:gd name="T15" fmla="*/ 5 h 103"/>
                <a:gd name="T16" fmla="*/ 0 w 160"/>
                <a:gd name="T17" fmla="*/ 5 h 103"/>
                <a:gd name="T18" fmla="*/ 0 w 160"/>
                <a:gd name="T19" fmla="*/ 5 h 103"/>
                <a:gd name="T20" fmla="*/ 9 w 160"/>
                <a:gd name="T21" fmla="*/ 5 h 103"/>
                <a:gd name="T22" fmla="*/ 18 w 160"/>
                <a:gd name="T23" fmla="*/ 6 h 103"/>
                <a:gd name="T24" fmla="*/ 58 w 160"/>
                <a:gd name="T25" fmla="*/ 7 h 103"/>
                <a:gd name="T26" fmla="*/ 74 w 160"/>
                <a:gd name="T27" fmla="*/ 7 h 103"/>
                <a:gd name="T28" fmla="*/ 101 w 160"/>
                <a:gd name="T29" fmla="*/ 7 h 103"/>
                <a:gd name="T30" fmla="*/ 137 w 160"/>
                <a:gd name="T31" fmla="*/ 7 h 103"/>
                <a:gd name="T32" fmla="*/ 164 w 160"/>
                <a:gd name="T33" fmla="*/ 8 h 103"/>
                <a:gd name="T34" fmla="*/ 194 w 160"/>
                <a:gd name="T35" fmla="*/ 7 h 103"/>
                <a:gd name="T36" fmla="*/ 216 w 160"/>
                <a:gd name="T37" fmla="*/ 7 h 103"/>
                <a:gd name="T38" fmla="*/ 234 w 160"/>
                <a:gd name="T39" fmla="*/ 7 h 103"/>
                <a:gd name="T40" fmla="*/ 252 w 160"/>
                <a:gd name="T41" fmla="*/ 7 h 103"/>
                <a:gd name="T42" fmla="*/ 278 w 160"/>
                <a:gd name="T43" fmla="*/ 5 h 103"/>
                <a:gd name="T44" fmla="*/ 295 w 160"/>
                <a:gd name="T45" fmla="*/ 5 h 103"/>
                <a:gd name="T46" fmla="*/ 295 w 160"/>
                <a:gd name="T47" fmla="*/ 5 h 103"/>
                <a:gd name="T48" fmla="*/ 302 w 160"/>
                <a:gd name="T49" fmla="*/ 5 h 103"/>
                <a:gd name="T50" fmla="*/ 302 w 160"/>
                <a:gd name="T51" fmla="*/ 5 h 103"/>
                <a:gd name="T52" fmla="*/ 295 w 160"/>
                <a:gd name="T53" fmla="*/ 5 h 103"/>
                <a:gd name="T54" fmla="*/ 286 w 160"/>
                <a:gd name="T55" fmla="*/ 5 h 103"/>
                <a:gd name="T56" fmla="*/ 278 w 160"/>
                <a:gd name="T57" fmla="*/ 5 h 103"/>
                <a:gd name="T58" fmla="*/ 252 w 160"/>
                <a:gd name="T59" fmla="*/ 5 h 103"/>
                <a:gd name="T60" fmla="*/ 224 w 160"/>
                <a:gd name="T61" fmla="*/ 5 h 103"/>
                <a:gd name="T62" fmla="*/ 181 w 160"/>
                <a:gd name="T63" fmla="*/ 3 h 103"/>
                <a:gd name="T64" fmla="*/ 145 w 160"/>
                <a:gd name="T65" fmla="*/ 3 h 103"/>
                <a:gd name="T66" fmla="*/ 101 w 160"/>
                <a:gd name="T67" fmla="*/ 0 h 103"/>
                <a:gd name="T68" fmla="*/ 74 w 160"/>
                <a:gd name="T69" fmla="*/ 0 h 103"/>
                <a:gd name="T70" fmla="*/ 58 w 160"/>
                <a:gd name="T71" fmla="*/ 0 h 103"/>
                <a:gd name="T72" fmla="*/ 58 w 160"/>
                <a:gd name="T73" fmla="*/ 3 h 103"/>
                <a:gd name="T74" fmla="*/ 58 w 160"/>
                <a:gd name="T75" fmla="*/ 3 h 1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0"/>
                <a:gd name="T115" fmla="*/ 0 h 103"/>
                <a:gd name="T116" fmla="*/ 160 w 160"/>
                <a:gd name="T117" fmla="*/ 103 h 10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0" h="103">
                  <a:moveTo>
                    <a:pt x="32" y="3"/>
                  </a:moveTo>
                  <a:lnTo>
                    <a:pt x="18" y="9"/>
                  </a:lnTo>
                  <a:lnTo>
                    <a:pt x="14" y="20"/>
                  </a:lnTo>
                  <a:lnTo>
                    <a:pt x="9" y="29"/>
                  </a:lnTo>
                  <a:lnTo>
                    <a:pt x="0" y="37"/>
                  </a:lnTo>
                  <a:lnTo>
                    <a:pt x="0" y="46"/>
                  </a:lnTo>
                  <a:lnTo>
                    <a:pt x="0" y="52"/>
                  </a:lnTo>
                  <a:lnTo>
                    <a:pt x="0" y="57"/>
                  </a:lnTo>
                  <a:lnTo>
                    <a:pt x="0" y="66"/>
                  </a:lnTo>
                  <a:lnTo>
                    <a:pt x="0" y="71"/>
                  </a:lnTo>
                  <a:lnTo>
                    <a:pt x="9" y="83"/>
                  </a:lnTo>
                  <a:lnTo>
                    <a:pt x="18" y="91"/>
                  </a:lnTo>
                  <a:lnTo>
                    <a:pt x="32" y="94"/>
                  </a:lnTo>
                  <a:lnTo>
                    <a:pt x="41" y="97"/>
                  </a:lnTo>
                  <a:lnTo>
                    <a:pt x="55" y="100"/>
                  </a:lnTo>
                  <a:lnTo>
                    <a:pt x="73" y="100"/>
                  </a:lnTo>
                  <a:lnTo>
                    <a:pt x="87" y="103"/>
                  </a:lnTo>
                  <a:lnTo>
                    <a:pt x="101" y="100"/>
                  </a:lnTo>
                  <a:lnTo>
                    <a:pt x="114" y="97"/>
                  </a:lnTo>
                  <a:lnTo>
                    <a:pt x="124" y="94"/>
                  </a:lnTo>
                  <a:lnTo>
                    <a:pt x="133" y="94"/>
                  </a:lnTo>
                  <a:lnTo>
                    <a:pt x="146" y="83"/>
                  </a:lnTo>
                  <a:lnTo>
                    <a:pt x="156" y="71"/>
                  </a:lnTo>
                  <a:lnTo>
                    <a:pt x="156" y="63"/>
                  </a:lnTo>
                  <a:lnTo>
                    <a:pt x="160" y="54"/>
                  </a:lnTo>
                  <a:lnTo>
                    <a:pt x="160" y="43"/>
                  </a:lnTo>
                  <a:lnTo>
                    <a:pt x="156" y="32"/>
                  </a:lnTo>
                  <a:lnTo>
                    <a:pt x="151" y="23"/>
                  </a:lnTo>
                  <a:lnTo>
                    <a:pt x="146" y="17"/>
                  </a:lnTo>
                  <a:lnTo>
                    <a:pt x="133" y="9"/>
                  </a:lnTo>
                  <a:lnTo>
                    <a:pt x="119" y="6"/>
                  </a:lnTo>
                  <a:lnTo>
                    <a:pt x="96" y="3"/>
                  </a:lnTo>
                  <a:lnTo>
                    <a:pt x="78" y="3"/>
                  </a:lnTo>
                  <a:lnTo>
                    <a:pt x="55" y="0"/>
                  </a:lnTo>
                  <a:lnTo>
                    <a:pt x="41" y="0"/>
                  </a:lnTo>
                  <a:lnTo>
                    <a:pt x="32" y="0"/>
                  </a:lnTo>
                  <a:lnTo>
                    <a:pt x="32"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18" name="Freeform 208"/>
            <p:cNvSpPr>
              <a:spLocks/>
            </p:cNvSpPr>
            <p:nvPr>
              <p:custDataLst>
                <p:tags r:id="rId117"/>
              </p:custDataLst>
            </p:nvPr>
          </p:nvSpPr>
          <p:spPr bwMode="gray">
            <a:xfrm>
              <a:off x="3963" y="2482"/>
              <a:ext cx="169" cy="90"/>
            </a:xfrm>
            <a:custGeom>
              <a:avLst/>
              <a:gdLst>
                <a:gd name="T0" fmla="*/ 58 w 165"/>
                <a:gd name="T1" fmla="*/ 3 h 100"/>
                <a:gd name="T2" fmla="*/ 49 w 165"/>
                <a:gd name="T3" fmla="*/ 5 h 100"/>
                <a:gd name="T4" fmla="*/ 14 w 165"/>
                <a:gd name="T5" fmla="*/ 5 h 100"/>
                <a:gd name="T6" fmla="*/ 5 w 165"/>
                <a:gd name="T7" fmla="*/ 5 h 100"/>
                <a:gd name="T8" fmla="*/ 5 w 165"/>
                <a:gd name="T9" fmla="*/ 5 h 100"/>
                <a:gd name="T10" fmla="*/ 5 w 165"/>
                <a:gd name="T11" fmla="*/ 5 h 100"/>
                <a:gd name="T12" fmla="*/ 0 w 165"/>
                <a:gd name="T13" fmla="*/ 5 h 100"/>
                <a:gd name="T14" fmla="*/ 0 w 165"/>
                <a:gd name="T15" fmla="*/ 5 h 100"/>
                <a:gd name="T16" fmla="*/ 5 w 165"/>
                <a:gd name="T17" fmla="*/ 5 h 100"/>
                <a:gd name="T18" fmla="*/ 5 w 165"/>
                <a:gd name="T19" fmla="*/ 5 h 100"/>
                <a:gd name="T20" fmla="*/ 14 w 165"/>
                <a:gd name="T21" fmla="*/ 5 h 100"/>
                <a:gd name="T22" fmla="*/ 49 w 165"/>
                <a:gd name="T23" fmla="*/ 6 h 100"/>
                <a:gd name="T24" fmla="*/ 64 w 165"/>
                <a:gd name="T25" fmla="*/ 6 h 100"/>
                <a:gd name="T26" fmla="*/ 82 w 165"/>
                <a:gd name="T27" fmla="*/ 7 h 100"/>
                <a:gd name="T28" fmla="*/ 113 w 165"/>
                <a:gd name="T29" fmla="*/ 7 h 100"/>
                <a:gd name="T30" fmla="*/ 143 w 165"/>
                <a:gd name="T31" fmla="*/ 7 h 100"/>
                <a:gd name="T32" fmla="*/ 170 w 165"/>
                <a:gd name="T33" fmla="*/ 7 h 100"/>
                <a:gd name="T34" fmla="*/ 187 w 165"/>
                <a:gd name="T35" fmla="*/ 7 h 100"/>
                <a:gd name="T36" fmla="*/ 214 w 165"/>
                <a:gd name="T37" fmla="*/ 7 h 100"/>
                <a:gd name="T38" fmla="*/ 237 w 165"/>
                <a:gd name="T39" fmla="*/ 6 h 100"/>
                <a:gd name="T40" fmla="*/ 255 w 165"/>
                <a:gd name="T41" fmla="*/ 6 h 100"/>
                <a:gd name="T42" fmla="*/ 276 w 165"/>
                <a:gd name="T43" fmla="*/ 5 h 100"/>
                <a:gd name="T44" fmla="*/ 291 w 165"/>
                <a:gd name="T45" fmla="*/ 5 h 100"/>
                <a:gd name="T46" fmla="*/ 298 w 165"/>
                <a:gd name="T47" fmla="*/ 5 h 100"/>
                <a:gd name="T48" fmla="*/ 306 w 165"/>
                <a:gd name="T49" fmla="*/ 5 h 100"/>
                <a:gd name="T50" fmla="*/ 306 w 165"/>
                <a:gd name="T51" fmla="*/ 5 h 100"/>
                <a:gd name="T52" fmla="*/ 298 w 165"/>
                <a:gd name="T53" fmla="*/ 5 h 100"/>
                <a:gd name="T54" fmla="*/ 283 w 165"/>
                <a:gd name="T55" fmla="*/ 5 h 100"/>
                <a:gd name="T56" fmla="*/ 276 w 165"/>
                <a:gd name="T57" fmla="*/ 5 h 100"/>
                <a:gd name="T58" fmla="*/ 247 w 165"/>
                <a:gd name="T59" fmla="*/ 5 h 100"/>
                <a:gd name="T60" fmla="*/ 221 w 165"/>
                <a:gd name="T61" fmla="*/ 5 h 100"/>
                <a:gd name="T62" fmla="*/ 206 w 165"/>
                <a:gd name="T63" fmla="*/ 3 h 100"/>
                <a:gd name="T64" fmla="*/ 178 w 165"/>
                <a:gd name="T65" fmla="*/ 3 h 100"/>
                <a:gd name="T66" fmla="*/ 170 w 165"/>
                <a:gd name="T67" fmla="*/ 3 h 100"/>
                <a:gd name="T68" fmla="*/ 143 w 165"/>
                <a:gd name="T69" fmla="*/ 3 h 100"/>
                <a:gd name="T70" fmla="*/ 113 w 165"/>
                <a:gd name="T71" fmla="*/ 0 h 100"/>
                <a:gd name="T72" fmla="*/ 72 w 165"/>
                <a:gd name="T73" fmla="*/ 3 h 100"/>
                <a:gd name="T74" fmla="*/ 64 w 165"/>
                <a:gd name="T75" fmla="*/ 3 h 100"/>
                <a:gd name="T76" fmla="*/ 58 w 165"/>
                <a:gd name="T77" fmla="*/ 3 h 100"/>
                <a:gd name="T78" fmla="*/ 58 w 165"/>
                <a:gd name="T79" fmla="*/ 3 h 1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5"/>
                <a:gd name="T121" fmla="*/ 0 h 100"/>
                <a:gd name="T122" fmla="*/ 165 w 165"/>
                <a:gd name="T123" fmla="*/ 100 h 1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5" h="100">
                  <a:moveTo>
                    <a:pt x="32" y="3"/>
                  </a:moveTo>
                  <a:lnTo>
                    <a:pt x="23" y="12"/>
                  </a:lnTo>
                  <a:lnTo>
                    <a:pt x="14" y="20"/>
                  </a:lnTo>
                  <a:lnTo>
                    <a:pt x="5" y="29"/>
                  </a:lnTo>
                  <a:lnTo>
                    <a:pt x="5" y="37"/>
                  </a:lnTo>
                  <a:lnTo>
                    <a:pt x="5" y="46"/>
                  </a:lnTo>
                  <a:lnTo>
                    <a:pt x="0" y="51"/>
                  </a:lnTo>
                  <a:lnTo>
                    <a:pt x="0" y="57"/>
                  </a:lnTo>
                  <a:lnTo>
                    <a:pt x="5" y="66"/>
                  </a:lnTo>
                  <a:lnTo>
                    <a:pt x="5" y="74"/>
                  </a:lnTo>
                  <a:lnTo>
                    <a:pt x="14" y="83"/>
                  </a:lnTo>
                  <a:lnTo>
                    <a:pt x="23" y="91"/>
                  </a:lnTo>
                  <a:lnTo>
                    <a:pt x="37" y="94"/>
                  </a:lnTo>
                  <a:lnTo>
                    <a:pt x="46" y="100"/>
                  </a:lnTo>
                  <a:lnTo>
                    <a:pt x="60" y="100"/>
                  </a:lnTo>
                  <a:lnTo>
                    <a:pt x="78" y="100"/>
                  </a:lnTo>
                  <a:lnTo>
                    <a:pt x="92" y="100"/>
                  </a:lnTo>
                  <a:lnTo>
                    <a:pt x="101" y="100"/>
                  </a:lnTo>
                  <a:lnTo>
                    <a:pt x="115" y="100"/>
                  </a:lnTo>
                  <a:lnTo>
                    <a:pt x="128" y="94"/>
                  </a:lnTo>
                  <a:lnTo>
                    <a:pt x="137" y="91"/>
                  </a:lnTo>
                  <a:lnTo>
                    <a:pt x="147" y="83"/>
                  </a:lnTo>
                  <a:lnTo>
                    <a:pt x="156" y="74"/>
                  </a:lnTo>
                  <a:lnTo>
                    <a:pt x="160" y="63"/>
                  </a:lnTo>
                  <a:lnTo>
                    <a:pt x="165" y="54"/>
                  </a:lnTo>
                  <a:lnTo>
                    <a:pt x="165" y="43"/>
                  </a:lnTo>
                  <a:lnTo>
                    <a:pt x="160" y="34"/>
                  </a:lnTo>
                  <a:lnTo>
                    <a:pt x="151" y="26"/>
                  </a:lnTo>
                  <a:lnTo>
                    <a:pt x="147" y="17"/>
                  </a:lnTo>
                  <a:lnTo>
                    <a:pt x="133" y="9"/>
                  </a:lnTo>
                  <a:lnTo>
                    <a:pt x="119" y="6"/>
                  </a:lnTo>
                  <a:lnTo>
                    <a:pt x="110" y="3"/>
                  </a:lnTo>
                  <a:lnTo>
                    <a:pt x="96" y="3"/>
                  </a:lnTo>
                  <a:lnTo>
                    <a:pt x="92" y="3"/>
                  </a:lnTo>
                  <a:lnTo>
                    <a:pt x="78" y="3"/>
                  </a:lnTo>
                  <a:lnTo>
                    <a:pt x="60" y="0"/>
                  </a:lnTo>
                  <a:lnTo>
                    <a:pt x="41" y="3"/>
                  </a:lnTo>
                  <a:lnTo>
                    <a:pt x="37" y="3"/>
                  </a:lnTo>
                  <a:lnTo>
                    <a:pt x="32"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19" name="Freeform 209"/>
            <p:cNvSpPr>
              <a:spLocks/>
            </p:cNvSpPr>
            <p:nvPr>
              <p:custDataLst>
                <p:tags r:id="rId118"/>
              </p:custDataLst>
            </p:nvPr>
          </p:nvSpPr>
          <p:spPr bwMode="gray">
            <a:xfrm>
              <a:off x="4212" y="2453"/>
              <a:ext cx="168" cy="91"/>
            </a:xfrm>
            <a:custGeom>
              <a:avLst/>
              <a:gdLst>
                <a:gd name="T0" fmla="*/ 62 w 164"/>
                <a:gd name="T1" fmla="*/ 3 h 99"/>
                <a:gd name="T2" fmla="*/ 48 w 164"/>
                <a:gd name="T3" fmla="*/ 6 h 99"/>
                <a:gd name="T4" fmla="*/ 18 w 164"/>
                <a:gd name="T5" fmla="*/ 6 h 99"/>
                <a:gd name="T6" fmla="*/ 9 w 164"/>
                <a:gd name="T7" fmla="*/ 6 h 99"/>
                <a:gd name="T8" fmla="*/ 9 w 164"/>
                <a:gd name="T9" fmla="*/ 6 h 99"/>
                <a:gd name="T10" fmla="*/ 4 w 164"/>
                <a:gd name="T11" fmla="*/ 6 h 99"/>
                <a:gd name="T12" fmla="*/ 0 w 164"/>
                <a:gd name="T13" fmla="*/ 6 h 99"/>
                <a:gd name="T14" fmla="*/ 0 w 164"/>
                <a:gd name="T15" fmla="*/ 6 h 99"/>
                <a:gd name="T16" fmla="*/ 4 w 164"/>
                <a:gd name="T17" fmla="*/ 6 h 99"/>
                <a:gd name="T18" fmla="*/ 9 w 164"/>
                <a:gd name="T19" fmla="*/ 8 h 99"/>
                <a:gd name="T20" fmla="*/ 18 w 164"/>
                <a:gd name="T21" fmla="*/ 9 h 99"/>
                <a:gd name="T22" fmla="*/ 48 w 164"/>
                <a:gd name="T23" fmla="*/ 10 h 99"/>
                <a:gd name="T24" fmla="*/ 62 w 164"/>
                <a:gd name="T25" fmla="*/ 11 h 99"/>
                <a:gd name="T26" fmla="*/ 90 w 164"/>
                <a:gd name="T27" fmla="*/ 11 h 99"/>
                <a:gd name="T28" fmla="*/ 122 w 164"/>
                <a:gd name="T29" fmla="*/ 11 h 99"/>
                <a:gd name="T30" fmla="*/ 142 w 164"/>
                <a:gd name="T31" fmla="*/ 11 h 99"/>
                <a:gd name="T32" fmla="*/ 169 w 164"/>
                <a:gd name="T33" fmla="*/ 12 h 99"/>
                <a:gd name="T34" fmla="*/ 198 w 164"/>
                <a:gd name="T35" fmla="*/ 11 h 99"/>
                <a:gd name="T36" fmla="*/ 228 w 164"/>
                <a:gd name="T37" fmla="*/ 11 h 99"/>
                <a:gd name="T38" fmla="*/ 238 w 164"/>
                <a:gd name="T39" fmla="*/ 11 h 99"/>
                <a:gd name="T40" fmla="*/ 264 w 164"/>
                <a:gd name="T41" fmla="*/ 10 h 99"/>
                <a:gd name="T42" fmla="*/ 282 w 164"/>
                <a:gd name="T43" fmla="*/ 9 h 99"/>
                <a:gd name="T44" fmla="*/ 297 w 164"/>
                <a:gd name="T45" fmla="*/ 8 h 99"/>
                <a:gd name="T46" fmla="*/ 305 w 164"/>
                <a:gd name="T47" fmla="*/ 6 h 99"/>
                <a:gd name="T48" fmla="*/ 305 w 164"/>
                <a:gd name="T49" fmla="*/ 6 h 99"/>
                <a:gd name="T50" fmla="*/ 305 w 164"/>
                <a:gd name="T51" fmla="*/ 6 h 99"/>
                <a:gd name="T52" fmla="*/ 297 w 164"/>
                <a:gd name="T53" fmla="*/ 6 h 99"/>
                <a:gd name="T54" fmla="*/ 290 w 164"/>
                <a:gd name="T55" fmla="*/ 6 h 99"/>
                <a:gd name="T56" fmla="*/ 282 w 164"/>
                <a:gd name="T57" fmla="*/ 6 h 99"/>
                <a:gd name="T58" fmla="*/ 256 w 164"/>
                <a:gd name="T59" fmla="*/ 5 h 99"/>
                <a:gd name="T60" fmla="*/ 228 w 164"/>
                <a:gd name="T61" fmla="*/ 3 h 99"/>
                <a:gd name="T62" fmla="*/ 205 w 164"/>
                <a:gd name="T63" fmla="*/ 3 h 99"/>
                <a:gd name="T64" fmla="*/ 186 w 164"/>
                <a:gd name="T65" fmla="*/ 0 h 99"/>
                <a:gd name="T66" fmla="*/ 169 w 164"/>
                <a:gd name="T67" fmla="*/ 0 h 99"/>
                <a:gd name="T68" fmla="*/ 150 w 164"/>
                <a:gd name="T69" fmla="*/ 0 h 99"/>
                <a:gd name="T70" fmla="*/ 122 w 164"/>
                <a:gd name="T71" fmla="*/ 0 h 99"/>
                <a:gd name="T72" fmla="*/ 80 w 164"/>
                <a:gd name="T73" fmla="*/ 0 h 99"/>
                <a:gd name="T74" fmla="*/ 62 w 164"/>
                <a:gd name="T75" fmla="*/ 0 h 99"/>
                <a:gd name="T76" fmla="*/ 62 w 164"/>
                <a:gd name="T77" fmla="*/ 3 h 99"/>
                <a:gd name="T78" fmla="*/ 62 w 164"/>
                <a:gd name="T79" fmla="*/ 3 h 9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4"/>
                <a:gd name="T121" fmla="*/ 0 h 99"/>
                <a:gd name="T122" fmla="*/ 164 w 164"/>
                <a:gd name="T123" fmla="*/ 99 h 9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4" h="99">
                  <a:moveTo>
                    <a:pt x="36" y="3"/>
                  </a:moveTo>
                  <a:lnTo>
                    <a:pt x="22" y="11"/>
                  </a:lnTo>
                  <a:lnTo>
                    <a:pt x="18" y="17"/>
                  </a:lnTo>
                  <a:lnTo>
                    <a:pt x="9" y="28"/>
                  </a:lnTo>
                  <a:lnTo>
                    <a:pt x="9" y="37"/>
                  </a:lnTo>
                  <a:lnTo>
                    <a:pt x="4" y="45"/>
                  </a:lnTo>
                  <a:lnTo>
                    <a:pt x="0" y="51"/>
                  </a:lnTo>
                  <a:lnTo>
                    <a:pt x="0" y="57"/>
                  </a:lnTo>
                  <a:lnTo>
                    <a:pt x="4" y="62"/>
                  </a:lnTo>
                  <a:lnTo>
                    <a:pt x="9" y="74"/>
                  </a:lnTo>
                  <a:lnTo>
                    <a:pt x="18" y="80"/>
                  </a:lnTo>
                  <a:lnTo>
                    <a:pt x="22" y="88"/>
                  </a:lnTo>
                  <a:lnTo>
                    <a:pt x="36" y="94"/>
                  </a:lnTo>
                  <a:lnTo>
                    <a:pt x="50" y="97"/>
                  </a:lnTo>
                  <a:lnTo>
                    <a:pt x="64" y="97"/>
                  </a:lnTo>
                  <a:lnTo>
                    <a:pt x="77" y="97"/>
                  </a:lnTo>
                  <a:lnTo>
                    <a:pt x="91" y="99"/>
                  </a:lnTo>
                  <a:lnTo>
                    <a:pt x="105" y="97"/>
                  </a:lnTo>
                  <a:lnTo>
                    <a:pt x="123" y="97"/>
                  </a:lnTo>
                  <a:lnTo>
                    <a:pt x="128" y="94"/>
                  </a:lnTo>
                  <a:lnTo>
                    <a:pt x="141" y="88"/>
                  </a:lnTo>
                  <a:lnTo>
                    <a:pt x="150" y="80"/>
                  </a:lnTo>
                  <a:lnTo>
                    <a:pt x="159" y="71"/>
                  </a:lnTo>
                  <a:lnTo>
                    <a:pt x="164" y="60"/>
                  </a:lnTo>
                  <a:lnTo>
                    <a:pt x="164" y="51"/>
                  </a:lnTo>
                  <a:lnTo>
                    <a:pt x="164" y="40"/>
                  </a:lnTo>
                  <a:lnTo>
                    <a:pt x="159" y="31"/>
                  </a:lnTo>
                  <a:lnTo>
                    <a:pt x="155" y="23"/>
                  </a:lnTo>
                  <a:lnTo>
                    <a:pt x="150" y="17"/>
                  </a:lnTo>
                  <a:lnTo>
                    <a:pt x="137" y="5"/>
                  </a:lnTo>
                  <a:lnTo>
                    <a:pt x="123" y="3"/>
                  </a:lnTo>
                  <a:lnTo>
                    <a:pt x="109" y="3"/>
                  </a:lnTo>
                  <a:lnTo>
                    <a:pt x="100" y="0"/>
                  </a:lnTo>
                  <a:lnTo>
                    <a:pt x="91" y="0"/>
                  </a:lnTo>
                  <a:lnTo>
                    <a:pt x="82" y="0"/>
                  </a:lnTo>
                  <a:lnTo>
                    <a:pt x="64" y="0"/>
                  </a:lnTo>
                  <a:lnTo>
                    <a:pt x="45" y="0"/>
                  </a:lnTo>
                  <a:lnTo>
                    <a:pt x="36" y="0"/>
                  </a:lnTo>
                  <a:lnTo>
                    <a:pt x="36"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20" name="Freeform 210"/>
            <p:cNvSpPr>
              <a:spLocks/>
            </p:cNvSpPr>
            <p:nvPr>
              <p:custDataLst>
                <p:tags r:id="rId119"/>
              </p:custDataLst>
            </p:nvPr>
          </p:nvSpPr>
          <p:spPr bwMode="gray">
            <a:xfrm>
              <a:off x="3668" y="2508"/>
              <a:ext cx="169" cy="87"/>
            </a:xfrm>
            <a:custGeom>
              <a:avLst/>
              <a:gdLst>
                <a:gd name="T0" fmla="*/ 58 w 165"/>
                <a:gd name="T1" fmla="*/ 0 h 96"/>
                <a:gd name="T2" fmla="*/ 19 w 165"/>
                <a:gd name="T3" fmla="*/ 5 h 96"/>
                <a:gd name="T4" fmla="*/ 19 w 165"/>
                <a:gd name="T5" fmla="*/ 5 h 96"/>
                <a:gd name="T6" fmla="*/ 10 w 165"/>
                <a:gd name="T7" fmla="*/ 5 h 96"/>
                <a:gd name="T8" fmla="*/ 5 w 165"/>
                <a:gd name="T9" fmla="*/ 5 h 96"/>
                <a:gd name="T10" fmla="*/ 0 w 165"/>
                <a:gd name="T11" fmla="*/ 5 h 96"/>
                <a:gd name="T12" fmla="*/ 0 w 165"/>
                <a:gd name="T13" fmla="*/ 5 h 96"/>
                <a:gd name="T14" fmla="*/ 0 w 165"/>
                <a:gd name="T15" fmla="*/ 5 h 96"/>
                <a:gd name="T16" fmla="*/ 0 w 165"/>
                <a:gd name="T17" fmla="*/ 5 h 96"/>
                <a:gd name="T18" fmla="*/ 5 w 165"/>
                <a:gd name="T19" fmla="*/ 5 h 96"/>
                <a:gd name="T20" fmla="*/ 10 w 165"/>
                <a:gd name="T21" fmla="*/ 6 h 96"/>
                <a:gd name="T22" fmla="*/ 19 w 165"/>
                <a:gd name="T23" fmla="*/ 7 h 96"/>
                <a:gd name="T24" fmla="*/ 58 w 165"/>
                <a:gd name="T25" fmla="*/ 8 h 96"/>
                <a:gd name="T26" fmla="*/ 82 w 165"/>
                <a:gd name="T27" fmla="*/ 8 h 96"/>
                <a:gd name="T28" fmla="*/ 113 w 165"/>
                <a:gd name="T29" fmla="*/ 8 h 96"/>
                <a:gd name="T30" fmla="*/ 137 w 165"/>
                <a:gd name="T31" fmla="*/ 8 h 96"/>
                <a:gd name="T32" fmla="*/ 170 w 165"/>
                <a:gd name="T33" fmla="*/ 8 h 96"/>
                <a:gd name="T34" fmla="*/ 199 w 165"/>
                <a:gd name="T35" fmla="*/ 8 h 96"/>
                <a:gd name="T36" fmla="*/ 214 w 165"/>
                <a:gd name="T37" fmla="*/ 8 h 96"/>
                <a:gd name="T38" fmla="*/ 237 w 165"/>
                <a:gd name="T39" fmla="*/ 7 h 96"/>
                <a:gd name="T40" fmla="*/ 257 w 165"/>
                <a:gd name="T41" fmla="*/ 7 h 96"/>
                <a:gd name="T42" fmla="*/ 276 w 165"/>
                <a:gd name="T43" fmla="*/ 6 h 96"/>
                <a:gd name="T44" fmla="*/ 291 w 165"/>
                <a:gd name="T45" fmla="*/ 5 h 96"/>
                <a:gd name="T46" fmla="*/ 298 w 165"/>
                <a:gd name="T47" fmla="*/ 5 h 96"/>
                <a:gd name="T48" fmla="*/ 306 w 165"/>
                <a:gd name="T49" fmla="*/ 5 h 96"/>
                <a:gd name="T50" fmla="*/ 298 w 165"/>
                <a:gd name="T51" fmla="*/ 5 h 96"/>
                <a:gd name="T52" fmla="*/ 291 w 165"/>
                <a:gd name="T53" fmla="*/ 5 h 96"/>
                <a:gd name="T54" fmla="*/ 283 w 165"/>
                <a:gd name="T55" fmla="*/ 5 h 96"/>
                <a:gd name="T56" fmla="*/ 283 w 165"/>
                <a:gd name="T57" fmla="*/ 5 h 96"/>
                <a:gd name="T58" fmla="*/ 247 w 165"/>
                <a:gd name="T59" fmla="*/ 5 h 96"/>
                <a:gd name="T60" fmla="*/ 221 w 165"/>
                <a:gd name="T61" fmla="*/ 2 h 96"/>
                <a:gd name="T62" fmla="*/ 206 w 165"/>
                <a:gd name="T63" fmla="*/ 0 h 96"/>
                <a:gd name="T64" fmla="*/ 178 w 165"/>
                <a:gd name="T65" fmla="*/ 0 h 96"/>
                <a:gd name="T66" fmla="*/ 170 w 165"/>
                <a:gd name="T67" fmla="*/ 0 h 96"/>
                <a:gd name="T68" fmla="*/ 151 w 165"/>
                <a:gd name="T69" fmla="*/ 0 h 96"/>
                <a:gd name="T70" fmla="*/ 113 w 165"/>
                <a:gd name="T71" fmla="*/ 0 h 96"/>
                <a:gd name="T72" fmla="*/ 82 w 165"/>
                <a:gd name="T73" fmla="*/ 0 h 96"/>
                <a:gd name="T74" fmla="*/ 64 w 165"/>
                <a:gd name="T75" fmla="*/ 0 h 96"/>
                <a:gd name="T76" fmla="*/ 58 w 165"/>
                <a:gd name="T77" fmla="*/ 0 h 96"/>
                <a:gd name="T78" fmla="*/ 58 w 165"/>
                <a:gd name="T79" fmla="*/ 0 h 9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5"/>
                <a:gd name="T121" fmla="*/ 0 h 96"/>
                <a:gd name="T122" fmla="*/ 165 w 165"/>
                <a:gd name="T123" fmla="*/ 96 h 9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5" h="96">
                  <a:moveTo>
                    <a:pt x="32" y="0"/>
                  </a:moveTo>
                  <a:lnTo>
                    <a:pt x="19" y="8"/>
                  </a:lnTo>
                  <a:lnTo>
                    <a:pt x="19" y="20"/>
                  </a:lnTo>
                  <a:lnTo>
                    <a:pt x="10" y="28"/>
                  </a:lnTo>
                  <a:lnTo>
                    <a:pt x="5" y="37"/>
                  </a:lnTo>
                  <a:lnTo>
                    <a:pt x="0" y="39"/>
                  </a:lnTo>
                  <a:lnTo>
                    <a:pt x="0" y="48"/>
                  </a:lnTo>
                  <a:lnTo>
                    <a:pt x="0" y="57"/>
                  </a:lnTo>
                  <a:lnTo>
                    <a:pt x="0" y="62"/>
                  </a:lnTo>
                  <a:lnTo>
                    <a:pt x="5" y="71"/>
                  </a:lnTo>
                  <a:lnTo>
                    <a:pt x="10" y="82"/>
                  </a:lnTo>
                  <a:lnTo>
                    <a:pt x="19" y="85"/>
                  </a:lnTo>
                  <a:lnTo>
                    <a:pt x="32" y="94"/>
                  </a:lnTo>
                  <a:lnTo>
                    <a:pt x="46" y="94"/>
                  </a:lnTo>
                  <a:lnTo>
                    <a:pt x="60" y="96"/>
                  </a:lnTo>
                  <a:lnTo>
                    <a:pt x="74" y="96"/>
                  </a:lnTo>
                  <a:lnTo>
                    <a:pt x="92" y="96"/>
                  </a:lnTo>
                  <a:lnTo>
                    <a:pt x="106" y="96"/>
                  </a:lnTo>
                  <a:lnTo>
                    <a:pt x="115" y="94"/>
                  </a:lnTo>
                  <a:lnTo>
                    <a:pt x="128" y="91"/>
                  </a:lnTo>
                  <a:lnTo>
                    <a:pt x="138" y="88"/>
                  </a:lnTo>
                  <a:lnTo>
                    <a:pt x="147" y="79"/>
                  </a:lnTo>
                  <a:lnTo>
                    <a:pt x="156" y="71"/>
                  </a:lnTo>
                  <a:lnTo>
                    <a:pt x="160" y="62"/>
                  </a:lnTo>
                  <a:lnTo>
                    <a:pt x="165" y="51"/>
                  </a:lnTo>
                  <a:lnTo>
                    <a:pt x="160" y="39"/>
                  </a:lnTo>
                  <a:lnTo>
                    <a:pt x="156" y="28"/>
                  </a:lnTo>
                  <a:lnTo>
                    <a:pt x="151" y="20"/>
                  </a:lnTo>
                  <a:lnTo>
                    <a:pt x="151" y="14"/>
                  </a:lnTo>
                  <a:lnTo>
                    <a:pt x="133" y="5"/>
                  </a:lnTo>
                  <a:lnTo>
                    <a:pt x="119" y="2"/>
                  </a:lnTo>
                  <a:lnTo>
                    <a:pt x="110" y="0"/>
                  </a:lnTo>
                  <a:lnTo>
                    <a:pt x="96" y="0"/>
                  </a:lnTo>
                  <a:lnTo>
                    <a:pt x="92" y="0"/>
                  </a:lnTo>
                  <a:lnTo>
                    <a:pt x="83" y="0"/>
                  </a:lnTo>
                  <a:lnTo>
                    <a:pt x="60" y="0"/>
                  </a:lnTo>
                  <a:lnTo>
                    <a:pt x="46" y="0"/>
                  </a:lnTo>
                  <a:lnTo>
                    <a:pt x="37" y="0"/>
                  </a:lnTo>
                  <a:lnTo>
                    <a:pt x="32"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21" name="Freeform 211"/>
            <p:cNvSpPr>
              <a:spLocks/>
            </p:cNvSpPr>
            <p:nvPr>
              <p:custDataLst>
                <p:tags r:id="rId120"/>
              </p:custDataLst>
            </p:nvPr>
          </p:nvSpPr>
          <p:spPr bwMode="gray">
            <a:xfrm>
              <a:off x="2717" y="2050"/>
              <a:ext cx="197" cy="621"/>
            </a:xfrm>
            <a:custGeom>
              <a:avLst/>
              <a:gdLst>
                <a:gd name="T0" fmla="*/ 132 w 192"/>
                <a:gd name="T1" fmla="*/ 10 h 681"/>
                <a:gd name="T2" fmla="*/ 94 w 192"/>
                <a:gd name="T3" fmla="*/ 15 h 681"/>
                <a:gd name="T4" fmla="*/ 66 w 192"/>
                <a:gd name="T5" fmla="*/ 19 h 681"/>
                <a:gd name="T6" fmla="*/ 49 w 192"/>
                <a:gd name="T7" fmla="*/ 24 h 681"/>
                <a:gd name="T8" fmla="*/ 13 w 192"/>
                <a:gd name="T9" fmla="*/ 29 h 681"/>
                <a:gd name="T10" fmla="*/ 9 w 192"/>
                <a:gd name="T11" fmla="*/ 33 h 681"/>
                <a:gd name="T12" fmla="*/ 4 w 192"/>
                <a:gd name="T13" fmla="*/ 36 h 681"/>
                <a:gd name="T14" fmla="*/ 0 w 192"/>
                <a:gd name="T15" fmla="*/ 39 h 681"/>
                <a:gd name="T16" fmla="*/ 0 w 192"/>
                <a:gd name="T17" fmla="*/ 43 h 681"/>
                <a:gd name="T18" fmla="*/ 0 w 192"/>
                <a:gd name="T19" fmla="*/ 47 h 681"/>
                <a:gd name="T20" fmla="*/ 0 w 192"/>
                <a:gd name="T21" fmla="*/ 51 h 681"/>
                <a:gd name="T22" fmla="*/ 0 w 192"/>
                <a:gd name="T23" fmla="*/ 54 h 681"/>
                <a:gd name="T24" fmla="*/ 0 w 192"/>
                <a:gd name="T25" fmla="*/ 56 h 681"/>
                <a:gd name="T26" fmla="*/ 0 w 192"/>
                <a:gd name="T27" fmla="*/ 57 h 681"/>
                <a:gd name="T28" fmla="*/ 4 w 192"/>
                <a:gd name="T29" fmla="*/ 60 h 681"/>
                <a:gd name="T30" fmla="*/ 13 w 192"/>
                <a:gd name="T31" fmla="*/ 61 h 681"/>
                <a:gd name="T32" fmla="*/ 18 w 192"/>
                <a:gd name="T33" fmla="*/ 61 h 681"/>
                <a:gd name="T34" fmla="*/ 49 w 192"/>
                <a:gd name="T35" fmla="*/ 57 h 681"/>
                <a:gd name="T36" fmla="*/ 49 w 192"/>
                <a:gd name="T37" fmla="*/ 56 h 681"/>
                <a:gd name="T38" fmla="*/ 49 w 192"/>
                <a:gd name="T39" fmla="*/ 54 h 681"/>
                <a:gd name="T40" fmla="*/ 53 w 192"/>
                <a:gd name="T41" fmla="*/ 51 h 681"/>
                <a:gd name="T42" fmla="*/ 53 w 192"/>
                <a:gd name="T43" fmla="*/ 47 h 681"/>
                <a:gd name="T44" fmla="*/ 66 w 192"/>
                <a:gd name="T45" fmla="*/ 47 h 681"/>
                <a:gd name="T46" fmla="*/ 66 w 192"/>
                <a:gd name="T47" fmla="*/ 43 h 681"/>
                <a:gd name="T48" fmla="*/ 76 w 192"/>
                <a:gd name="T49" fmla="*/ 39 h 681"/>
                <a:gd name="T50" fmla="*/ 84 w 192"/>
                <a:gd name="T51" fmla="*/ 37 h 681"/>
                <a:gd name="T52" fmla="*/ 94 w 192"/>
                <a:gd name="T53" fmla="*/ 36 h 681"/>
                <a:gd name="T54" fmla="*/ 118 w 192"/>
                <a:gd name="T55" fmla="*/ 33 h 681"/>
                <a:gd name="T56" fmla="*/ 126 w 192"/>
                <a:gd name="T57" fmla="*/ 30 h 681"/>
                <a:gd name="T58" fmla="*/ 132 w 192"/>
                <a:gd name="T59" fmla="*/ 26 h 681"/>
                <a:gd name="T60" fmla="*/ 148 w 192"/>
                <a:gd name="T61" fmla="*/ 23 h 681"/>
                <a:gd name="T62" fmla="*/ 159 w 192"/>
                <a:gd name="T63" fmla="*/ 21 h 681"/>
                <a:gd name="T64" fmla="*/ 168 w 192"/>
                <a:gd name="T65" fmla="*/ 19 h 681"/>
                <a:gd name="T66" fmla="*/ 176 w 192"/>
                <a:gd name="T67" fmla="*/ 17 h 681"/>
                <a:gd name="T68" fmla="*/ 190 w 192"/>
                <a:gd name="T69" fmla="*/ 15 h 681"/>
                <a:gd name="T70" fmla="*/ 196 w 192"/>
                <a:gd name="T71" fmla="*/ 14 h 681"/>
                <a:gd name="T72" fmla="*/ 211 w 192"/>
                <a:gd name="T73" fmla="*/ 12 h 681"/>
                <a:gd name="T74" fmla="*/ 228 w 192"/>
                <a:gd name="T75" fmla="*/ 10 h 681"/>
                <a:gd name="T76" fmla="*/ 276 w 192"/>
                <a:gd name="T77" fmla="*/ 7 h 681"/>
                <a:gd name="T78" fmla="*/ 318 w 192"/>
                <a:gd name="T79" fmla="*/ 5 h 681"/>
                <a:gd name="T80" fmla="*/ 356 w 192"/>
                <a:gd name="T81" fmla="*/ 5 h 681"/>
                <a:gd name="T82" fmla="*/ 375 w 192"/>
                <a:gd name="T83" fmla="*/ 0 h 681"/>
                <a:gd name="T84" fmla="*/ 318 w 192"/>
                <a:gd name="T85" fmla="*/ 5 h 681"/>
                <a:gd name="T86" fmla="*/ 205 w 192"/>
                <a:gd name="T87" fmla="*/ 5 h 681"/>
                <a:gd name="T88" fmla="*/ 159 w 192"/>
                <a:gd name="T89" fmla="*/ 6 h 68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92"/>
                <a:gd name="T136" fmla="*/ 0 h 681"/>
                <a:gd name="T137" fmla="*/ 192 w 192"/>
                <a:gd name="T138" fmla="*/ 681 h 68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92" h="681">
                  <a:moveTo>
                    <a:pt x="82" y="69"/>
                  </a:moveTo>
                  <a:lnTo>
                    <a:pt x="73" y="86"/>
                  </a:lnTo>
                  <a:lnTo>
                    <a:pt x="68" y="103"/>
                  </a:lnTo>
                  <a:lnTo>
                    <a:pt x="59" y="123"/>
                  </a:lnTo>
                  <a:lnTo>
                    <a:pt x="59" y="140"/>
                  </a:lnTo>
                  <a:lnTo>
                    <a:pt x="50" y="160"/>
                  </a:lnTo>
                  <a:lnTo>
                    <a:pt x="45" y="177"/>
                  </a:lnTo>
                  <a:lnTo>
                    <a:pt x="41" y="194"/>
                  </a:lnTo>
                  <a:lnTo>
                    <a:pt x="36" y="211"/>
                  </a:lnTo>
                  <a:lnTo>
                    <a:pt x="32" y="228"/>
                  </a:lnTo>
                  <a:lnTo>
                    <a:pt x="27" y="245"/>
                  </a:lnTo>
                  <a:lnTo>
                    <a:pt x="23" y="262"/>
                  </a:lnTo>
                  <a:lnTo>
                    <a:pt x="23" y="279"/>
                  </a:lnTo>
                  <a:lnTo>
                    <a:pt x="18" y="297"/>
                  </a:lnTo>
                  <a:lnTo>
                    <a:pt x="13" y="314"/>
                  </a:lnTo>
                  <a:lnTo>
                    <a:pt x="13" y="328"/>
                  </a:lnTo>
                  <a:lnTo>
                    <a:pt x="13" y="345"/>
                  </a:lnTo>
                  <a:lnTo>
                    <a:pt x="9" y="362"/>
                  </a:lnTo>
                  <a:lnTo>
                    <a:pt x="4" y="376"/>
                  </a:lnTo>
                  <a:lnTo>
                    <a:pt x="4" y="391"/>
                  </a:lnTo>
                  <a:lnTo>
                    <a:pt x="4" y="405"/>
                  </a:lnTo>
                  <a:lnTo>
                    <a:pt x="0" y="419"/>
                  </a:lnTo>
                  <a:lnTo>
                    <a:pt x="0" y="433"/>
                  </a:lnTo>
                  <a:lnTo>
                    <a:pt x="0" y="445"/>
                  </a:lnTo>
                  <a:lnTo>
                    <a:pt x="0" y="462"/>
                  </a:lnTo>
                  <a:lnTo>
                    <a:pt x="0" y="476"/>
                  </a:lnTo>
                  <a:lnTo>
                    <a:pt x="0" y="487"/>
                  </a:lnTo>
                  <a:lnTo>
                    <a:pt x="0" y="502"/>
                  </a:lnTo>
                  <a:lnTo>
                    <a:pt x="0" y="513"/>
                  </a:lnTo>
                  <a:lnTo>
                    <a:pt x="0" y="524"/>
                  </a:lnTo>
                  <a:lnTo>
                    <a:pt x="0" y="536"/>
                  </a:lnTo>
                  <a:lnTo>
                    <a:pt x="0" y="550"/>
                  </a:lnTo>
                  <a:lnTo>
                    <a:pt x="0" y="561"/>
                  </a:lnTo>
                  <a:lnTo>
                    <a:pt x="0" y="570"/>
                  </a:lnTo>
                  <a:lnTo>
                    <a:pt x="0" y="578"/>
                  </a:lnTo>
                  <a:lnTo>
                    <a:pt x="0" y="590"/>
                  </a:lnTo>
                  <a:lnTo>
                    <a:pt x="0" y="598"/>
                  </a:lnTo>
                  <a:lnTo>
                    <a:pt x="0" y="607"/>
                  </a:lnTo>
                  <a:lnTo>
                    <a:pt x="0" y="615"/>
                  </a:lnTo>
                  <a:lnTo>
                    <a:pt x="0" y="621"/>
                  </a:lnTo>
                  <a:lnTo>
                    <a:pt x="0" y="630"/>
                  </a:lnTo>
                  <a:lnTo>
                    <a:pt x="0" y="635"/>
                  </a:lnTo>
                  <a:lnTo>
                    <a:pt x="0" y="641"/>
                  </a:lnTo>
                  <a:lnTo>
                    <a:pt x="4" y="650"/>
                  </a:lnTo>
                  <a:lnTo>
                    <a:pt x="4" y="655"/>
                  </a:lnTo>
                  <a:lnTo>
                    <a:pt x="4" y="664"/>
                  </a:lnTo>
                  <a:lnTo>
                    <a:pt x="9" y="675"/>
                  </a:lnTo>
                  <a:lnTo>
                    <a:pt x="13" y="681"/>
                  </a:lnTo>
                  <a:lnTo>
                    <a:pt x="18" y="678"/>
                  </a:lnTo>
                  <a:lnTo>
                    <a:pt x="18" y="675"/>
                  </a:lnTo>
                  <a:lnTo>
                    <a:pt x="18" y="667"/>
                  </a:lnTo>
                  <a:lnTo>
                    <a:pt x="23" y="655"/>
                  </a:lnTo>
                  <a:lnTo>
                    <a:pt x="23" y="647"/>
                  </a:lnTo>
                  <a:lnTo>
                    <a:pt x="23" y="638"/>
                  </a:lnTo>
                  <a:lnTo>
                    <a:pt x="23" y="630"/>
                  </a:lnTo>
                  <a:lnTo>
                    <a:pt x="23" y="624"/>
                  </a:lnTo>
                  <a:lnTo>
                    <a:pt x="23" y="615"/>
                  </a:lnTo>
                  <a:lnTo>
                    <a:pt x="23" y="607"/>
                  </a:lnTo>
                  <a:lnTo>
                    <a:pt x="23" y="598"/>
                  </a:lnTo>
                  <a:lnTo>
                    <a:pt x="23" y="590"/>
                  </a:lnTo>
                  <a:lnTo>
                    <a:pt x="23" y="581"/>
                  </a:lnTo>
                  <a:lnTo>
                    <a:pt x="23" y="573"/>
                  </a:lnTo>
                  <a:lnTo>
                    <a:pt x="27" y="564"/>
                  </a:lnTo>
                  <a:lnTo>
                    <a:pt x="27" y="553"/>
                  </a:lnTo>
                  <a:lnTo>
                    <a:pt x="27" y="541"/>
                  </a:lnTo>
                  <a:lnTo>
                    <a:pt x="27" y="533"/>
                  </a:lnTo>
                  <a:lnTo>
                    <a:pt x="32" y="524"/>
                  </a:lnTo>
                  <a:lnTo>
                    <a:pt x="32" y="516"/>
                  </a:lnTo>
                  <a:lnTo>
                    <a:pt x="36" y="504"/>
                  </a:lnTo>
                  <a:lnTo>
                    <a:pt x="36" y="493"/>
                  </a:lnTo>
                  <a:lnTo>
                    <a:pt x="36" y="485"/>
                  </a:lnTo>
                  <a:lnTo>
                    <a:pt x="36" y="473"/>
                  </a:lnTo>
                  <a:lnTo>
                    <a:pt x="41" y="465"/>
                  </a:lnTo>
                  <a:lnTo>
                    <a:pt x="41" y="453"/>
                  </a:lnTo>
                  <a:lnTo>
                    <a:pt x="41" y="442"/>
                  </a:lnTo>
                  <a:lnTo>
                    <a:pt x="45" y="430"/>
                  </a:lnTo>
                  <a:lnTo>
                    <a:pt x="45" y="422"/>
                  </a:lnTo>
                  <a:lnTo>
                    <a:pt x="45" y="410"/>
                  </a:lnTo>
                  <a:lnTo>
                    <a:pt x="45" y="402"/>
                  </a:lnTo>
                  <a:lnTo>
                    <a:pt x="50" y="391"/>
                  </a:lnTo>
                  <a:lnTo>
                    <a:pt x="50" y="379"/>
                  </a:lnTo>
                  <a:lnTo>
                    <a:pt x="50" y="371"/>
                  </a:lnTo>
                  <a:lnTo>
                    <a:pt x="55" y="359"/>
                  </a:lnTo>
                  <a:lnTo>
                    <a:pt x="59" y="348"/>
                  </a:lnTo>
                  <a:lnTo>
                    <a:pt x="59" y="336"/>
                  </a:lnTo>
                  <a:lnTo>
                    <a:pt x="59" y="328"/>
                  </a:lnTo>
                  <a:lnTo>
                    <a:pt x="64" y="316"/>
                  </a:lnTo>
                  <a:lnTo>
                    <a:pt x="64" y="305"/>
                  </a:lnTo>
                  <a:lnTo>
                    <a:pt x="68" y="297"/>
                  </a:lnTo>
                  <a:lnTo>
                    <a:pt x="68" y="285"/>
                  </a:lnTo>
                  <a:lnTo>
                    <a:pt x="68" y="277"/>
                  </a:lnTo>
                  <a:lnTo>
                    <a:pt x="68" y="265"/>
                  </a:lnTo>
                  <a:lnTo>
                    <a:pt x="77" y="257"/>
                  </a:lnTo>
                  <a:lnTo>
                    <a:pt x="77" y="248"/>
                  </a:lnTo>
                  <a:lnTo>
                    <a:pt x="77" y="240"/>
                  </a:lnTo>
                  <a:lnTo>
                    <a:pt x="82" y="228"/>
                  </a:lnTo>
                  <a:lnTo>
                    <a:pt x="82" y="223"/>
                  </a:lnTo>
                  <a:lnTo>
                    <a:pt x="82" y="211"/>
                  </a:lnTo>
                  <a:lnTo>
                    <a:pt x="87" y="205"/>
                  </a:lnTo>
                  <a:lnTo>
                    <a:pt x="87" y="197"/>
                  </a:lnTo>
                  <a:lnTo>
                    <a:pt x="91" y="188"/>
                  </a:lnTo>
                  <a:lnTo>
                    <a:pt x="91" y="183"/>
                  </a:lnTo>
                  <a:lnTo>
                    <a:pt x="91" y="174"/>
                  </a:lnTo>
                  <a:lnTo>
                    <a:pt x="96" y="168"/>
                  </a:lnTo>
                  <a:lnTo>
                    <a:pt x="96" y="163"/>
                  </a:lnTo>
                  <a:lnTo>
                    <a:pt x="96" y="154"/>
                  </a:lnTo>
                  <a:lnTo>
                    <a:pt x="100" y="148"/>
                  </a:lnTo>
                  <a:lnTo>
                    <a:pt x="100" y="146"/>
                  </a:lnTo>
                  <a:lnTo>
                    <a:pt x="100" y="137"/>
                  </a:lnTo>
                  <a:lnTo>
                    <a:pt x="105" y="129"/>
                  </a:lnTo>
                  <a:lnTo>
                    <a:pt x="109" y="123"/>
                  </a:lnTo>
                  <a:lnTo>
                    <a:pt x="114" y="114"/>
                  </a:lnTo>
                  <a:lnTo>
                    <a:pt x="114" y="111"/>
                  </a:lnTo>
                  <a:lnTo>
                    <a:pt x="118" y="103"/>
                  </a:lnTo>
                  <a:lnTo>
                    <a:pt x="123" y="94"/>
                  </a:lnTo>
                  <a:lnTo>
                    <a:pt x="132" y="86"/>
                  </a:lnTo>
                  <a:lnTo>
                    <a:pt x="141" y="74"/>
                  </a:lnTo>
                  <a:lnTo>
                    <a:pt x="150" y="66"/>
                  </a:lnTo>
                  <a:lnTo>
                    <a:pt x="155" y="57"/>
                  </a:lnTo>
                  <a:lnTo>
                    <a:pt x="164" y="46"/>
                  </a:lnTo>
                  <a:lnTo>
                    <a:pt x="169" y="37"/>
                  </a:lnTo>
                  <a:lnTo>
                    <a:pt x="178" y="26"/>
                  </a:lnTo>
                  <a:lnTo>
                    <a:pt x="182" y="20"/>
                  </a:lnTo>
                  <a:lnTo>
                    <a:pt x="187" y="12"/>
                  </a:lnTo>
                  <a:lnTo>
                    <a:pt x="187" y="9"/>
                  </a:lnTo>
                  <a:lnTo>
                    <a:pt x="192" y="0"/>
                  </a:lnTo>
                  <a:lnTo>
                    <a:pt x="187" y="0"/>
                  </a:lnTo>
                  <a:lnTo>
                    <a:pt x="178" y="6"/>
                  </a:lnTo>
                  <a:lnTo>
                    <a:pt x="164" y="15"/>
                  </a:lnTo>
                  <a:lnTo>
                    <a:pt x="146" y="26"/>
                  </a:lnTo>
                  <a:lnTo>
                    <a:pt x="123" y="37"/>
                  </a:lnTo>
                  <a:lnTo>
                    <a:pt x="105" y="49"/>
                  </a:lnTo>
                  <a:lnTo>
                    <a:pt x="96" y="57"/>
                  </a:lnTo>
                  <a:lnTo>
                    <a:pt x="82" y="66"/>
                  </a:lnTo>
                  <a:lnTo>
                    <a:pt x="82" y="6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22" name="Freeform 212"/>
            <p:cNvSpPr>
              <a:spLocks/>
            </p:cNvSpPr>
            <p:nvPr>
              <p:custDataLst>
                <p:tags r:id="rId121"/>
              </p:custDataLst>
            </p:nvPr>
          </p:nvSpPr>
          <p:spPr bwMode="gray">
            <a:xfrm>
              <a:off x="2656" y="2138"/>
              <a:ext cx="605" cy="46"/>
            </a:xfrm>
            <a:custGeom>
              <a:avLst/>
              <a:gdLst>
                <a:gd name="T0" fmla="*/ 132 w 590"/>
                <a:gd name="T1" fmla="*/ 5 h 51"/>
                <a:gd name="T2" fmla="*/ 195 w 590"/>
                <a:gd name="T3" fmla="*/ 5 h 51"/>
                <a:gd name="T4" fmla="*/ 263 w 590"/>
                <a:gd name="T5" fmla="*/ 5 h 51"/>
                <a:gd name="T6" fmla="*/ 323 w 590"/>
                <a:gd name="T7" fmla="*/ 3 h 51"/>
                <a:gd name="T8" fmla="*/ 385 w 590"/>
                <a:gd name="T9" fmla="*/ 0 h 51"/>
                <a:gd name="T10" fmla="*/ 439 w 590"/>
                <a:gd name="T11" fmla="*/ 0 h 51"/>
                <a:gd name="T12" fmla="*/ 502 w 590"/>
                <a:gd name="T13" fmla="*/ 0 h 51"/>
                <a:gd name="T14" fmla="*/ 554 w 590"/>
                <a:gd name="T15" fmla="*/ 0 h 51"/>
                <a:gd name="T16" fmla="*/ 607 w 590"/>
                <a:gd name="T17" fmla="*/ 3 h 51"/>
                <a:gd name="T18" fmla="*/ 658 w 590"/>
                <a:gd name="T19" fmla="*/ 3 h 51"/>
                <a:gd name="T20" fmla="*/ 710 w 590"/>
                <a:gd name="T21" fmla="*/ 5 h 51"/>
                <a:gd name="T22" fmla="*/ 756 w 590"/>
                <a:gd name="T23" fmla="*/ 5 h 51"/>
                <a:gd name="T24" fmla="*/ 799 w 590"/>
                <a:gd name="T25" fmla="*/ 5 h 51"/>
                <a:gd name="T26" fmla="*/ 842 w 590"/>
                <a:gd name="T27" fmla="*/ 5 h 51"/>
                <a:gd name="T28" fmla="*/ 895 w 590"/>
                <a:gd name="T29" fmla="*/ 5 h 51"/>
                <a:gd name="T30" fmla="*/ 966 w 590"/>
                <a:gd name="T31" fmla="*/ 5 h 51"/>
                <a:gd name="T32" fmla="*/ 1026 w 590"/>
                <a:gd name="T33" fmla="*/ 5 h 51"/>
                <a:gd name="T34" fmla="*/ 1064 w 590"/>
                <a:gd name="T35" fmla="*/ 5 h 51"/>
                <a:gd name="T36" fmla="*/ 1105 w 590"/>
                <a:gd name="T37" fmla="*/ 5 h 51"/>
                <a:gd name="T38" fmla="*/ 1132 w 590"/>
                <a:gd name="T39" fmla="*/ 5 h 51"/>
                <a:gd name="T40" fmla="*/ 1132 w 590"/>
                <a:gd name="T41" fmla="*/ 5 h 51"/>
                <a:gd name="T42" fmla="*/ 1099 w 590"/>
                <a:gd name="T43" fmla="*/ 5 h 51"/>
                <a:gd name="T44" fmla="*/ 1052 w 590"/>
                <a:gd name="T45" fmla="*/ 5 h 51"/>
                <a:gd name="T46" fmla="*/ 1012 w 590"/>
                <a:gd name="T47" fmla="*/ 5 h 51"/>
                <a:gd name="T48" fmla="*/ 966 w 590"/>
                <a:gd name="T49" fmla="*/ 5 h 51"/>
                <a:gd name="T50" fmla="*/ 904 w 590"/>
                <a:gd name="T51" fmla="*/ 5 h 51"/>
                <a:gd name="T52" fmla="*/ 852 w 590"/>
                <a:gd name="T53" fmla="*/ 5 h 51"/>
                <a:gd name="T54" fmla="*/ 790 w 590"/>
                <a:gd name="T55" fmla="*/ 5 h 51"/>
                <a:gd name="T56" fmla="*/ 739 w 590"/>
                <a:gd name="T57" fmla="*/ 5 h 51"/>
                <a:gd name="T58" fmla="*/ 675 w 590"/>
                <a:gd name="T59" fmla="*/ 5 h 51"/>
                <a:gd name="T60" fmla="*/ 613 w 590"/>
                <a:gd name="T61" fmla="*/ 5 h 51"/>
                <a:gd name="T62" fmla="*/ 563 w 590"/>
                <a:gd name="T63" fmla="*/ 5 h 51"/>
                <a:gd name="T64" fmla="*/ 509 w 590"/>
                <a:gd name="T65" fmla="*/ 5 h 51"/>
                <a:gd name="T66" fmla="*/ 458 w 590"/>
                <a:gd name="T67" fmla="*/ 5 h 51"/>
                <a:gd name="T68" fmla="*/ 414 w 590"/>
                <a:gd name="T69" fmla="*/ 5 h 51"/>
                <a:gd name="T70" fmla="*/ 368 w 590"/>
                <a:gd name="T71" fmla="*/ 5 h 51"/>
                <a:gd name="T72" fmla="*/ 323 w 590"/>
                <a:gd name="T73" fmla="*/ 5 h 51"/>
                <a:gd name="T74" fmla="*/ 274 w 590"/>
                <a:gd name="T75" fmla="*/ 5 h 51"/>
                <a:gd name="T76" fmla="*/ 210 w 590"/>
                <a:gd name="T77" fmla="*/ 5 h 51"/>
                <a:gd name="T78" fmla="*/ 147 w 590"/>
                <a:gd name="T79" fmla="*/ 5 h 51"/>
                <a:gd name="T80" fmla="*/ 84 w 590"/>
                <a:gd name="T81" fmla="*/ 5 h 51"/>
                <a:gd name="T82" fmla="*/ 19 w 590"/>
                <a:gd name="T83" fmla="*/ 5 h 51"/>
                <a:gd name="T84" fmla="*/ 94 w 590"/>
                <a:gd name="T85" fmla="*/ 5 h 5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90"/>
                <a:gd name="T130" fmla="*/ 0 h 51"/>
                <a:gd name="T131" fmla="*/ 590 w 590"/>
                <a:gd name="T132" fmla="*/ 51 h 5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90" h="51">
                  <a:moveTo>
                    <a:pt x="51" y="14"/>
                  </a:moveTo>
                  <a:lnTo>
                    <a:pt x="69" y="12"/>
                  </a:lnTo>
                  <a:lnTo>
                    <a:pt x="83" y="9"/>
                  </a:lnTo>
                  <a:lnTo>
                    <a:pt x="101" y="6"/>
                  </a:lnTo>
                  <a:lnTo>
                    <a:pt x="119" y="6"/>
                  </a:lnTo>
                  <a:lnTo>
                    <a:pt x="137" y="6"/>
                  </a:lnTo>
                  <a:lnTo>
                    <a:pt x="151" y="3"/>
                  </a:lnTo>
                  <a:lnTo>
                    <a:pt x="169" y="3"/>
                  </a:lnTo>
                  <a:lnTo>
                    <a:pt x="183" y="3"/>
                  </a:lnTo>
                  <a:lnTo>
                    <a:pt x="201" y="0"/>
                  </a:lnTo>
                  <a:lnTo>
                    <a:pt x="215" y="0"/>
                  </a:lnTo>
                  <a:lnTo>
                    <a:pt x="229" y="0"/>
                  </a:lnTo>
                  <a:lnTo>
                    <a:pt x="247" y="0"/>
                  </a:lnTo>
                  <a:lnTo>
                    <a:pt x="261" y="0"/>
                  </a:lnTo>
                  <a:lnTo>
                    <a:pt x="274" y="0"/>
                  </a:lnTo>
                  <a:lnTo>
                    <a:pt x="288" y="0"/>
                  </a:lnTo>
                  <a:lnTo>
                    <a:pt x="306" y="3"/>
                  </a:lnTo>
                  <a:lnTo>
                    <a:pt x="316" y="3"/>
                  </a:lnTo>
                  <a:lnTo>
                    <a:pt x="334" y="3"/>
                  </a:lnTo>
                  <a:lnTo>
                    <a:pt x="343" y="3"/>
                  </a:lnTo>
                  <a:lnTo>
                    <a:pt x="357" y="6"/>
                  </a:lnTo>
                  <a:lnTo>
                    <a:pt x="370" y="6"/>
                  </a:lnTo>
                  <a:lnTo>
                    <a:pt x="384" y="6"/>
                  </a:lnTo>
                  <a:lnTo>
                    <a:pt x="393" y="6"/>
                  </a:lnTo>
                  <a:lnTo>
                    <a:pt x="407" y="9"/>
                  </a:lnTo>
                  <a:lnTo>
                    <a:pt x="416" y="9"/>
                  </a:lnTo>
                  <a:lnTo>
                    <a:pt x="425" y="12"/>
                  </a:lnTo>
                  <a:lnTo>
                    <a:pt x="439" y="14"/>
                  </a:lnTo>
                  <a:lnTo>
                    <a:pt x="448" y="14"/>
                  </a:lnTo>
                  <a:lnTo>
                    <a:pt x="466" y="17"/>
                  </a:lnTo>
                  <a:lnTo>
                    <a:pt x="489" y="20"/>
                  </a:lnTo>
                  <a:lnTo>
                    <a:pt x="503" y="26"/>
                  </a:lnTo>
                  <a:lnTo>
                    <a:pt x="521" y="26"/>
                  </a:lnTo>
                  <a:lnTo>
                    <a:pt x="535" y="29"/>
                  </a:lnTo>
                  <a:lnTo>
                    <a:pt x="549" y="34"/>
                  </a:lnTo>
                  <a:lnTo>
                    <a:pt x="553" y="37"/>
                  </a:lnTo>
                  <a:lnTo>
                    <a:pt x="567" y="40"/>
                  </a:lnTo>
                  <a:lnTo>
                    <a:pt x="576" y="43"/>
                  </a:lnTo>
                  <a:lnTo>
                    <a:pt x="581" y="49"/>
                  </a:lnTo>
                  <a:lnTo>
                    <a:pt x="590" y="49"/>
                  </a:lnTo>
                  <a:lnTo>
                    <a:pt x="590" y="51"/>
                  </a:lnTo>
                  <a:lnTo>
                    <a:pt x="581" y="51"/>
                  </a:lnTo>
                  <a:lnTo>
                    <a:pt x="572" y="49"/>
                  </a:lnTo>
                  <a:lnTo>
                    <a:pt x="558" y="49"/>
                  </a:lnTo>
                  <a:lnTo>
                    <a:pt x="549" y="43"/>
                  </a:lnTo>
                  <a:lnTo>
                    <a:pt x="540" y="43"/>
                  </a:lnTo>
                  <a:lnTo>
                    <a:pt x="526" y="40"/>
                  </a:lnTo>
                  <a:lnTo>
                    <a:pt x="517" y="40"/>
                  </a:lnTo>
                  <a:lnTo>
                    <a:pt x="503" y="37"/>
                  </a:lnTo>
                  <a:lnTo>
                    <a:pt x="489" y="37"/>
                  </a:lnTo>
                  <a:lnTo>
                    <a:pt x="471" y="34"/>
                  </a:lnTo>
                  <a:lnTo>
                    <a:pt x="457" y="34"/>
                  </a:lnTo>
                  <a:lnTo>
                    <a:pt x="444" y="32"/>
                  </a:lnTo>
                  <a:lnTo>
                    <a:pt x="425" y="32"/>
                  </a:lnTo>
                  <a:lnTo>
                    <a:pt x="412" y="32"/>
                  </a:lnTo>
                  <a:lnTo>
                    <a:pt x="398" y="29"/>
                  </a:lnTo>
                  <a:lnTo>
                    <a:pt x="384" y="29"/>
                  </a:lnTo>
                  <a:lnTo>
                    <a:pt x="370" y="29"/>
                  </a:lnTo>
                  <a:lnTo>
                    <a:pt x="352" y="26"/>
                  </a:lnTo>
                  <a:lnTo>
                    <a:pt x="334" y="26"/>
                  </a:lnTo>
                  <a:lnTo>
                    <a:pt x="320" y="26"/>
                  </a:lnTo>
                  <a:lnTo>
                    <a:pt x="306" y="26"/>
                  </a:lnTo>
                  <a:lnTo>
                    <a:pt x="293" y="26"/>
                  </a:lnTo>
                  <a:lnTo>
                    <a:pt x="279" y="26"/>
                  </a:lnTo>
                  <a:lnTo>
                    <a:pt x="265" y="26"/>
                  </a:lnTo>
                  <a:lnTo>
                    <a:pt x="252" y="26"/>
                  </a:lnTo>
                  <a:lnTo>
                    <a:pt x="238" y="26"/>
                  </a:lnTo>
                  <a:lnTo>
                    <a:pt x="229" y="26"/>
                  </a:lnTo>
                  <a:lnTo>
                    <a:pt x="215" y="26"/>
                  </a:lnTo>
                  <a:lnTo>
                    <a:pt x="210" y="26"/>
                  </a:lnTo>
                  <a:lnTo>
                    <a:pt x="192" y="26"/>
                  </a:lnTo>
                  <a:lnTo>
                    <a:pt x="183" y="29"/>
                  </a:lnTo>
                  <a:lnTo>
                    <a:pt x="169" y="29"/>
                  </a:lnTo>
                  <a:lnTo>
                    <a:pt x="156" y="29"/>
                  </a:lnTo>
                  <a:lnTo>
                    <a:pt x="142" y="32"/>
                  </a:lnTo>
                  <a:lnTo>
                    <a:pt x="128" y="34"/>
                  </a:lnTo>
                  <a:lnTo>
                    <a:pt x="110" y="34"/>
                  </a:lnTo>
                  <a:lnTo>
                    <a:pt x="96" y="37"/>
                  </a:lnTo>
                  <a:lnTo>
                    <a:pt x="78" y="37"/>
                  </a:lnTo>
                  <a:lnTo>
                    <a:pt x="64" y="40"/>
                  </a:lnTo>
                  <a:lnTo>
                    <a:pt x="46" y="40"/>
                  </a:lnTo>
                  <a:lnTo>
                    <a:pt x="32" y="40"/>
                  </a:lnTo>
                  <a:lnTo>
                    <a:pt x="19" y="43"/>
                  </a:lnTo>
                  <a:lnTo>
                    <a:pt x="0" y="46"/>
                  </a:lnTo>
                  <a:lnTo>
                    <a:pt x="51" y="14"/>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23" name="Freeform 213"/>
            <p:cNvSpPr>
              <a:spLocks/>
            </p:cNvSpPr>
            <p:nvPr>
              <p:custDataLst>
                <p:tags r:id="rId122"/>
              </p:custDataLst>
            </p:nvPr>
          </p:nvSpPr>
          <p:spPr bwMode="gray">
            <a:xfrm>
              <a:off x="2632" y="2239"/>
              <a:ext cx="643" cy="58"/>
            </a:xfrm>
            <a:custGeom>
              <a:avLst/>
              <a:gdLst>
                <a:gd name="T0" fmla="*/ 95 w 627"/>
                <a:gd name="T1" fmla="*/ 6 h 63"/>
                <a:gd name="T2" fmla="*/ 140 w 627"/>
                <a:gd name="T3" fmla="*/ 6 h 63"/>
                <a:gd name="T4" fmla="*/ 195 w 627"/>
                <a:gd name="T5" fmla="*/ 6 h 63"/>
                <a:gd name="T6" fmla="*/ 244 w 627"/>
                <a:gd name="T7" fmla="*/ 6 h 63"/>
                <a:gd name="T8" fmla="*/ 298 w 627"/>
                <a:gd name="T9" fmla="*/ 6 h 63"/>
                <a:gd name="T10" fmla="*/ 353 w 627"/>
                <a:gd name="T11" fmla="*/ 6 h 63"/>
                <a:gd name="T12" fmla="*/ 414 w 627"/>
                <a:gd name="T13" fmla="*/ 6 h 63"/>
                <a:gd name="T14" fmla="*/ 469 w 627"/>
                <a:gd name="T15" fmla="*/ 3 h 63"/>
                <a:gd name="T16" fmla="*/ 520 w 627"/>
                <a:gd name="T17" fmla="*/ 0 h 63"/>
                <a:gd name="T18" fmla="*/ 581 w 627"/>
                <a:gd name="T19" fmla="*/ 0 h 63"/>
                <a:gd name="T20" fmla="*/ 635 w 627"/>
                <a:gd name="T21" fmla="*/ 0 h 63"/>
                <a:gd name="T22" fmla="*/ 687 w 627"/>
                <a:gd name="T23" fmla="*/ 0 h 63"/>
                <a:gd name="T24" fmla="*/ 740 w 627"/>
                <a:gd name="T25" fmla="*/ 0 h 63"/>
                <a:gd name="T26" fmla="*/ 783 w 627"/>
                <a:gd name="T27" fmla="*/ 0 h 63"/>
                <a:gd name="T28" fmla="*/ 828 w 627"/>
                <a:gd name="T29" fmla="*/ 0 h 63"/>
                <a:gd name="T30" fmla="*/ 891 w 627"/>
                <a:gd name="T31" fmla="*/ 0 h 63"/>
                <a:gd name="T32" fmla="*/ 924 w 627"/>
                <a:gd name="T33" fmla="*/ 3 h 63"/>
                <a:gd name="T34" fmla="*/ 969 w 627"/>
                <a:gd name="T35" fmla="*/ 3 h 63"/>
                <a:gd name="T36" fmla="*/ 1029 w 627"/>
                <a:gd name="T37" fmla="*/ 6 h 63"/>
                <a:gd name="T38" fmla="*/ 1093 w 627"/>
                <a:gd name="T39" fmla="*/ 6 h 63"/>
                <a:gd name="T40" fmla="*/ 1148 w 627"/>
                <a:gd name="T41" fmla="*/ 6 h 63"/>
                <a:gd name="T42" fmla="*/ 1188 w 627"/>
                <a:gd name="T43" fmla="*/ 6 h 63"/>
                <a:gd name="T44" fmla="*/ 1197 w 627"/>
                <a:gd name="T45" fmla="*/ 6 h 63"/>
                <a:gd name="T46" fmla="*/ 1181 w 627"/>
                <a:gd name="T47" fmla="*/ 6 h 63"/>
                <a:gd name="T48" fmla="*/ 1136 w 627"/>
                <a:gd name="T49" fmla="*/ 6 h 63"/>
                <a:gd name="T50" fmla="*/ 1093 w 627"/>
                <a:gd name="T51" fmla="*/ 6 h 63"/>
                <a:gd name="T52" fmla="*/ 1029 w 627"/>
                <a:gd name="T53" fmla="*/ 6 h 63"/>
                <a:gd name="T54" fmla="*/ 962 w 627"/>
                <a:gd name="T55" fmla="*/ 6 h 63"/>
                <a:gd name="T56" fmla="*/ 900 w 627"/>
                <a:gd name="T57" fmla="*/ 6 h 63"/>
                <a:gd name="T58" fmla="*/ 828 w 627"/>
                <a:gd name="T59" fmla="*/ 6 h 63"/>
                <a:gd name="T60" fmla="*/ 757 w 627"/>
                <a:gd name="T61" fmla="*/ 6 h 63"/>
                <a:gd name="T62" fmla="*/ 705 w 627"/>
                <a:gd name="T63" fmla="*/ 6 h 63"/>
                <a:gd name="T64" fmla="*/ 659 w 627"/>
                <a:gd name="T65" fmla="*/ 6 h 63"/>
                <a:gd name="T66" fmla="*/ 615 w 627"/>
                <a:gd name="T67" fmla="*/ 6 h 63"/>
                <a:gd name="T68" fmla="*/ 563 w 627"/>
                <a:gd name="T69" fmla="*/ 6 h 63"/>
                <a:gd name="T70" fmla="*/ 520 w 627"/>
                <a:gd name="T71" fmla="*/ 6 h 63"/>
                <a:gd name="T72" fmla="*/ 458 w 627"/>
                <a:gd name="T73" fmla="*/ 6 h 63"/>
                <a:gd name="T74" fmla="*/ 406 w 627"/>
                <a:gd name="T75" fmla="*/ 6 h 63"/>
                <a:gd name="T76" fmla="*/ 353 w 627"/>
                <a:gd name="T77" fmla="*/ 6 h 63"/>
                <a:gd name="T78" fmla="*/ 306 w 627"/>
                <a:gd name="T79" fmla="*/ 6 h 63"/>
                <a:gd name="T80" fmla="*/ 255 w 627"/>
                <a:gd name="T81" fmla="*/ 6 h 63"/>
                <a:gd name="T82" fmla="*/ 210 w 627"/>
                <a:gd name="T83" fmla="*/ 6 h 63"/>
                <a:gd name="T84" fmla="*/ 176 w 627"/>
                <a:gd name="T85" fmla="*/ 6 h 63"/>
                <a:gd name="T86" fmla="*/ 125 w 627"/>
                <a:gd name="T87" fmla="*/ 6 h 63"/>
                <a:gd name="T88" fmla="*/ 54 w 627"/>
                <a:gd name="T89" fmla="*/ 6 h 63"/>
                <a:gd name="T90" fmla="*/ 67 w 627"/>
                <a:gd name="T91" fmla="*/ 6 h 6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27"/>
                <a:gd name="T139" fmla="*/ 0 h 63"/>
                <a:gd name="T140" fmla="*/ 627 w 627"/>
                <a:gd name="T141" fmla="*/ 63 h 6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27" h="63">
                  <a:moveTo>
                    <a:pt x="37" y="37"/>
                  </a:moveTo>
                  <a:lnTo>
                    <a:pt x="51" y="34"/>
                  </a:lnTo>
                  <a:lnTo>
                    <a:pt x="64" y="29"/>
                  </a:lnTo>
                  <a:lnTo>
                    <a:pt x="74" y="26"/>
                  </a:lnTo>
                  <a:lnTo>
                    <a:pt x="87" y="23"/>
                  </a:lnTo>
                  <a:lnTo>
                    <a:pt x="101" y="20"/>
                  </a:lnTo>
                  <a:lnTo>
                    <a:pt x="115" y="17"/>
                  </a:lnTo>
                  <a:lnTo>
                    <a:pt x="128" y="15"/>
                  </a:lnTo>
                  <a:lnTo>
                    <a:pt x="142" y="15"/>
                  </a:lnTo>
                  <a:lnTo>
                    <a:pt x="156" y="12"/>
                  </a:lnTo>
                  <a:lnTo>
                    <a:pt x="170" y="9"/>
                  </a:lnTo>
                  <a:lnTo>
                    <a:pt x="183" y="6"/>
                  </a:lnTo>
                  <a:lnTo>
                    <a:pt x="197" y="6"/>
                  </a:lnTo>
                  <a:lnTo>
                    <a:pt x="215" y="6"/>
                  </a:lnTo>
                  <a:lnTo>
                    <a:pt x="229" y="3"/>
                  </a:lnTo>
                  <a:lnTo>
                    <a:pt x="243" y="3"/>
                  </a:lnTo>
                  <a:lnTo>
                    <a:pt x="261" y="3"/>
                  </a:lnTo>
                  <a:lnTo>
                    <a:pt x="270" y="0"/>
                  </a:lnTo>
                  <a:lnTo>
                    <a:pt x="288" y="0"/>
                  </a:lnTo>
                  <a:lnTo>
                    <a:pt x="302" y="0"/>
                  </a:lnTo>
                  <a:lnTo>
                    <a:pt x="316" y="0"/>
                  </a:lnTo>
                  <a:lnTo>
                    <a:pt x="329" y="0"/>
                  </a:lnTo>
                  <a:lnTo>
                    <a:pt x="339" y="0"/>
                  </a:lnTo>
                  <a:lnTo>
                    <a:pt x="357" y="0"/>
                  </a:lnTo>
                  <a:lnTo>
                    <a:pt x="375" y="0"/>
                  </a:lnTo>
                  <a:lnTo>
                    <a:pt x="384" y="0"/>
                  </a:lnTo>
                  <a:lnTo>
                    <a:pt x="393" y="0"/>
                  </a:lnTo>
                  <a:lnTo>
                    <a:pt x="407" y="0"/>
                  </a:lnTo>
                  <a:lnTo>
                    <a:pt x="421" y="0"/>
                  </a:lnTo>
                  <a:lnTo>
                    <a:pt x="430" y="0"/>
                  </a:lnTo>
                  <a:lnTo>
                    <a:pt x="444" y="0"/>
                  </a:lnTo>
                  <a:lnTo>
                    <a:pt x="462" y="0"/>
                  </a:lnTo>
                  <a:lnTo>
                    <a:pt x="471" y="3"/>
                  </a:lnTo>
                  <a:lnTo>
                    <a:pt x="480" y="3"/>
                  </a:lnTo>
                  <a:lnTo>
                    <a:pt x="494" y="3"/>
                  </a:lnTo>
                  <a:lnTo>
                    <a:pt x="503" y="3"/>
                  </a:lnTo>
                  <a:lnTo>
                    <a:pt x="517" y="6"/>
                  </a:lnTo>
                  <a:lnTo>
                    <a:pt x="535" y="6"/>
                  </a:lnTo>
                  <a:lnTo>
                    <a:pt x="553" y="9"/>
                  </a:lnTo>
                  <a:lnTo>
                    <a:pt x="567" y="9"/>
                  </a:lnTo>
                  <a:lnTo>
                    <a:pt x="581" y="12"/>
                  </a:lnTo>
                  <a:lnTo>
                    <a:pt x="595" y="15"/>
                  </a:lnTo>
                  <a:lnTo>
                    <a:pt x="604" y="15"/>
                  </a:lnTo>
                  <a:lnTo>
                    <a:pt x="617" y="17"/>
                  </a:lnTo>
                  <a:lnTo>
                    <a:pt x="627" y="20"/>
                  </a:lnTo>
                  <a:lnTo>
                    <a:pt x="622" y="20"/>
                  </a:lnTo>
                  <a:lnTo>
                    <a:pt x="617" y="20"/>
                  </a:lnTo>
                  <a:lnTo>
                    <a:pt x="613" y="20"/>
                  </a:lnTo>
                  <a:lnTo>
                    <a:pt x="604" y="23"/>
                  </a:lnTo>
                  <a:lnTo>
                    <a:pt x="590" y="20"/>
                  </a:lnTo>
                  <a:lnTo>
                    <a:pt x="576" y="20"/>
                  </a:lnTo>
                  <a:lnTo>
                    <a:pt x="567" y="20"/>
                  </a:lnTo>
                  <a:lnTo>
                    <a:pt x="558" y="20"/>
                  </a:lnTo>
                  <a:lnTo>
                    <a:pt x="535" y="17"/>
                  </a:lnTo>
                  <a:lnTo>
                    <a:pt x="517" y="17"/>
                  </a:lnTo>
                  <a:lnTo>
                    <a:pt x="499" y="17"/>
                  </a:lnTo>
                  <a:lnTo>
                    <a:pt x="485" y="17"/>
                  </a:lnTo>
                  <a:lnTo>
                    <a:pt x="467" y="17"/>
                  </a:lnTo>
                  <a:lnTo>
                    <a:pt x="448" y="17"/>
                  </a:lnTo>
                  <a:lnTo>
                    <a:pt x="430" y="17"/>
                  </a:lnTo>
                  <a:lnTo>
                    <a:pt x="416" y="17"/>
                  </a:lnTo>
                  <a:lnTo>
                    <a:pt x="393" y="17"/>
                  </a:lnTo>
                  <a:lnTo>
                    <a:pt x="375" y="20"/>
                  </a:lnTo>
                  <a:lnTo>
                    <a:pt x="366" y="20"/>
                  </a:lnTo>
                  <a:lnTo>
                    <a:pt x="357" y="20"/>
                  </a:lnTo>
                  <a:lnTo>
                    <a:pt x="343" y="20"/>
                  </a:lnTo>
                  <a:lnTo>
                    <a:pt x="334" y="23"/>
                  </a:lnTo>
                  <a:lnTo>
                    <a:pt x="320" y="23"/>
                  </a:lnTo>
                  <a:lnTo>
                    <a:pt x="307" y="26"/>
                  </a:lnTo>
                  <a:lnTo>
                    <a:pt x="293" y="26"/>
                  </a:lnTo>
                  <a:lnTo>
                    <a:pt x="284" y="29"/>
                  </a:lnTo>
                  <a:lnTo>
                    <a:pt x="270" y="29"/>
                  </a:lnTo>
                  <a:lnTo>
                    <a:pt x="252" y="29"/>
                  </a:lnTo>
                  <a:lnTo>
                    <a:pt x="238" y="32"/>
                  </a:lnTo>
                  <a:lnTo>
                    <a:pt x="224" y="34"/>
                  </a:lnTo>
                  <a:lnTo>
                    <a:pt x="211" y="34"/>
                  </a:lnTo>
                  <a:lnTo>
                    <a:pt x="197" y="34"/>
                  </a:lnTo>
                  <a:lnTo>
                    <a:pt x="183" y="34"/>
                  </a:lnTo>
                  <a:lnTo>
                    <a:pt x="174" y="37"/>
                  </a:lnTo>
                  <a:lnTo>
                    <a:pt x="160" y="40"/>
                  </a:lnTo>
                  <a:lnTo>
                    <a:pt x="147" y="40"/>
                  </a:lnTo>
                  <a:lnTo>
                    <a:pt x="133" y="43"/>
                  </a:lnTo>
                  <a:lnTo>
                    <a:pt x="124" y="43"/>
                  </a:lnTo>
                  <a:lnTo>
                    <a:pt x="110" y="43"/>
                  </a:lnTo>
                  <a:lnTo>
                    <a:pt x="101" y="49"/>
                  </a:lnTo>
                  <a:lnTo>
                    <a:pt x="92" y="49"/>
                  </a:lnTo>
                  <a:lnTo>
                    <a:pt x="83" y="52"/>
                  </a:lnTo>
                  <a:lnTo>
                    <a:pt x="64" y="54"/>
                  </a:lnTo>
                  <a:lnTo>
                    <a:pt x="46" y="54"/>
                  </a:lnTo>
                  <a:lnTo>
                    <a:pt x="28" y="57"/>
                  </a:lnTo>
                  <a:lnTo>
                    <a:pt x="0" y="63"/>
                  </a:lnTo>
                  <a:lnTo>
                    <a:pt x="37" y="37"/>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24" name="Freeform 214"/>
            <p:cNvSpPr>
              <a:spLocks/>
            </p:cNvSpPr>
            <p:nvPr>
              <p:custDataLst>
                <p:tags r:id="rId123"/>
              </p:custDataLst>
            </p:nvPr>
          </p:nvSpPr>
          <p:spPr bwMode="gray">
            <a:xfrm>
              <a:off x="2628" y="2323"/>
              <a:ext cx="614" cy="45"/>
            </a:xfrm>
            <a:custGeom>
              <a:avLst/>
              <a:gdLst>
                <a:gd name="T0" fmla="*/ 201 w 599"/>
                <a:gd name="T1" fmla="*/ 6 h 49"/>
                <a:gd name="T2" fmla="*/ 244 w 599"/>
                <a:gd name="T3" fmla="*/ 6 h 49"/>
                <a:gd name="T4" fmla="*/ 293 w 599"/>
                <a:gd name="T5" fmla="*/ 3 h 49"/>
                <a:gd name="T6" fmla="*/ 338 w 599"/>
                <a:gd name="T7" fmla="*/ 0 h 49"/>
                <a:gd name="T8" fmla="*/ 381 w 599"/>
                <a:gd name="T9" fmla="*/ 0 h 49"/>
                <a:gd name="T10" fmla="*/ 433 w 599"/>
                <a:gd name="T11" fmla="*/ 0 h 49"/>
                <a:gd name="T12" fmla="*/ 488 w 599"/>
                <a:gd name="T13" fmla="*/ 0 h 49"/>
                <a:gd name="T14" fmla="*/ 521 w 599"/>
                <a:gd name="T15" fmla="*/ 0 h 49"/>
                <a:gd name="T16" fmla="*/ 573 w 599"/>
                <a:gd name="T17" fmla="*/ 0 h 49"/>
                <a:gd name="T18" fmla="*/ 616 w 599"/>
                <a:gd name="T19" fmla="*/ 0 h 49"/>
                <a:gd name="T20" fmla="*/ 661 w 599"/>
                <a:gd name="T21" fmla="*/ 3 h 49"/>
                <a:gd name="T22" fmla="*/ 702 w 599"/>
                <a:gd name="T23" fmla="*/ 6 h 49"/>
                <a:gd name="T24" fmla="*/ 755 w 599"/>
                <a:gd name="T25" fmla="*/ 6 h 49"/>
                <a:gd name="T26" fmla="*/ 789 w 599"/>
                <a:gd name="T27" fmla="*/ 6 h 49"/>
                <a:gd name="T28" fmla="*/ 826 w 599"/>
                <a:gd name="T29" fmla="*/ 6 h 49"/>
                <a:gd name="T30" fmla="*/ 858 w 599"/>
                <a:gd name="T31" fmla="*/ 6 h 49"/>
                <a:gd name="T32" fmla="*/ 919 w 599"/>
                <a:gd name="T33" fmla="*/ 6 h 49"/>
                <a:gd name="T34" fmla="*/ 982 w 599"/>
                <a:gd name="T35" fmla="*/ 6 h 49"/>
                <a:gd name="T36" fmla="*/ 1034 w 599"/>
                <a:gd name="T37" fmla="*/ 6 h 49"/>
                <a:gd name="T38" fmla="*/ 1079 w 599"/>
                <a:gd name="T39" fmla="*/ 6 h 49"/>
                <a:gd name="T40" fmla="*/ 1120 w 599"/>
                <a:gd name="T41" fmla="*/ 6 h 49"/>
                <a:gd name="T42" fmla="*/ 1139 w 599"/>
                <a:gd name="T43" fmla="*/ 6 h 49"/>
                <a:gd name="T44" fmla="*/ 1105 w 599"/>
                <a:gd name="T45" fmla="*/ 6 h 49"/>
                <a:gd name="T46" fmla="*/ 1034 w 599"/>
                <a:gd name="T47" fmla="*/ 6 h 49"/>
                <a:gd name="T48" fmla="*/ 964 w 599"/>
                <a:gd name="T49" fmla="*/ 6 h 49"/>
                <a:gd name="T50" fmla="*/ 889 w 599"/>
                <a:gd name="T51" fmla="*/ 6 h 49"/>
                <a:gd name="T52" fmla="*/ 826 w 599"/>
                <a:gd name="T53" fmla="*/ 6 h 49"/>
                <a:gd name="T54" fmla="*/ 789 w 599"/>
                <a:gd name="T55" fmla="*/ 6 h 49"/>
                <a:gd name="T56" fmla="*/ 748 w 599"/>
                <a:gd name="T57" fmla="*/ 6 h 49"/>
                <a:gd name="T58" fmla="*/ 702 w 599"/>
                <a:gd name="T59" fmla="*/ 6 h 49"/>
                <a:gd name="T60" fmla="*/ 652 w 599"/>
                <a:gd name="T61" fmla="*/ 6 h 49"/>
                <a:gd name="T62" fmla="*/ 616 w 599"/>
                <a:gd name="T63" fmla="*/ 6 h 49"/>
                <a:gd name="T64" fmla="*/ 566 w 599"/>
                <a:gd name="T65" fmla="*/ 6 h 49"/>
                <a:gd name="T66" fmla="*/ 521 w 599"/>
                <a:gd name="T67" fmla="*/ 6 h 49"/>
                <a:gd name="T68" fmla="*/ 488 w 599"/>
                <a:gd name="T69" fmla="*/ 6 h 49"/>
                <a:gd name="T70" fmla="*/ 433 w 599"/>
                <a:gd name="T71" fmla="*/ 6 h 49"/>
                <a:gd name="T72" fmla="*/ 381 w 599"/>
                <a:gd name="T73" fmla="*/ 6 h 49"/>
                <a:gd name="T74" fmla="*/ 338 w 599"/>
                <a:gd name="T75" fmla="*/ 6 h 49"/>
                <a:gd name="T76" fmla="*/ 293 w 599"/>
                <a:gd name="T77" fmla="*/ 6 h 49"/>
                <a:gd name="T78" fmla="*/ 244 w 599"/>
                <a:gd name="T79" fmla="*/ 6 h 49"/>
                <a:gd name="T80" fmla="*/ 201 w 599"/>
                <a:gd name="T81" fmla="*/ 6 h 49"/>
                <a:gd name="T82" fmla="*/ 164 w 599"/>
                <a:gd name="T83" fmla="*/ 6 h 49"/>
                <a:gd name="T84" fmla="*/ 124 w 599"/>
                <a:gd name="T85" fmla="*/ 6 h 49"/>
                <a:gd name="T86" fmla="*/ 74 w 599"/>
                <a:gd name="T87" fmla="*/ 6 h 49"/>
                <a:gd name="T88" fmla="*/ 18 w 599"/>
                <a:gd name="T89" fmla="*/ 6 h 49"/>
                <a:gd name="T90" fmla="*/ 0 w 599"/>
                <a:gd name="T91" fmla="*/ 6 h 49"/>
                <a:gd name="T92" fmla="*/ 49 w 599"/>
                <a:gd name="T93" fmla="*/ 6 h 49"/>
                <a:gd name="T94" fmla="*/ 103 w 599"/>
                <a:gd name="T95" fmla="*/ 6 h 49"/>
                <a:gd name="T96" fmla="*/ 146 w 599"/>
                <a:gd name="T97" fmla="*/ 6 h 49"/>
                <a:gd name="T98" fmla="*/ 164 w 599"/>
                <a:gd name="T99" fmla="*/ 6 h 49"/>
                <a:gd name="T100" fmla="*/ 172 w 599"/>
                <a:gd name="T101" fmla="*/ 6 h 4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99"/>
                <a:gd name="T154" fmla="*/ 0 h 49"/>
                <a:gd name="T155" fmla="*/ 599 w 599"/>
                <a:gd name="T156" fmla="*/ 49 h 4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99" h="49">
                  <a:moveTo>
                    <a:pt x="91" y="12"/>
                  </a:moveTo>
                  <a:lnTo>
                    <a:pt x="105" y="9"/>
                  </a:lnTo>
                  <a:lnTo>
                    <a:pt x="114" y="6"/>
                  </a:lnTo>
                  <a:lnTo>
                    <a:pt x="128" y="6"/>
                  </a:lnTo>
                  <a:lnTo>
                    <a:pt x="142" y="3"/>
                  </a:lnTo>
                  <a:lnTo>
                    <a:pt x="155" y="3"/>
                  </a:lnTo>
                  <a:lnTo>
                    <a:pt x="169" y="0"/>
                  </a:lnTo>
                  <a:lnTo>
                    <a:pt x="178" y="0"/>
                  </a:lnTo>
                  <a:lnTo>
                    <a:pt x="192" y="0"/>
                  </a:lnTo>
                  <a:lnTo>
                    <a:pt x="201" y="0"/>
                  </a:lnTo>
                  <a:lnTo>
                    <a:pt x="219" y="0"/>
                  </a:lnTo>
                  <a:lnTo>
                    <a:pt x="228" y="0"/>
                  </a:lnTo>
                  <a:lnTo>
                    <a:pt x="242" y="0"/>
                  </a:lnTo>
                  <a:lnTo>
                    <a:pt x="256" y="0"/>
                  </a:lnTo>
                  <a:lnTo>
                    <a:pt x="265" y="0"/>
                  </a:lnTo>
                  <a:lnTo>
                    <a:pt x="274" y="0"/>
                  </a:lnTo>
                  <a:lnTo>
                    <a:pt x="292" y="0"/>
                  </a:lnTo>
                  <a:lnTo>
                    <a:pt x="301" y="0"/>
                  </a:lnTo>
                  <a:lnTo>
                    <a:pt x="311" y="0"/>
                  </a:lnTo>
                  <a:lnTo>
                    <a:pt x="324" y="0"/>
                  </a:lnTo>
                  <a:lnTo>
                    <a:pt x="338" y="3"/>
                  </a:lnTo>
                  <a:lnTo>
                    <a:pt x="347" y="3"/>
                  </a:lnTo>
                  <a:lnTo>
                    <a:pt x="361" y="3"/>
                  </a:lnTo>
                  <a:lnTo>
                    <a:pt x="370" y="6"/>
                  </a:lnTo>
                  <a:lnTo>
                    <a:pt x="384" y="6"/>
                  </a:lnTo>
                  <a:lnTo>
                    <a:pt x="397" y="6"/>
                  </a:lnTo>
                  <a:lnTo>
                    <a:pt x="407" y="9"/>
                  </a:lnTo>
                  <a:lnTo>
                    <a:pt x="416" y="9"/>
                  </a:lnTo>
                  <a:lnTo>
                    <a:pt x="425" y="12"/>
                  </a:lnTo>
                  <a:lnTo>
                    <a:pt x="434" y="12"/>
                  </a:lnTo>
                  <a:lnTo>
                    <a:pt x="448" y="15"/>
                  </a:lnTo>
                  <a:lnTo>
                    <a:pt x="452" y="15"/>
                  </a:lnTo>
                  <a:lnTo>
                    <a:pt x="466" y="17"/>
                  </a:lnTo>
                  <a:lnTo>
                    <a:pt x="484" y="20"/>
                  </a:lnTo>
                  <a:lnTo>
                    <a:pt x="498" y="23"/>
                  </a:lnTo>
                  <a:lnTo>
                    <a:pt x="516" y="26"/>
                  </a:lnTo>
                  <a:lnTo>
                    <a:pt x="535" y="29"/>
                  </a:lnTo>
                  <a:lnTo>
                    <a:pt x="544" y="32"/>
                  </a:lnTo>
                  <a:lnTo>
                    <a:pt x="557" y="35"/>
                  </a:lnTo>
                  <a:lnTo>
                    <a:pt x="567" y="37"/>
                  </a:lnTo>
                  <a:lnTo>
                    <a:pt x="580" y="40"/>
                  </a:lnTo>
                  <a:lnTo>
                    <a:pt x="589" y="43"/>
                  </a:lnTo>
                  <a:lnTo>
                    <a:pt x="599" y="49"/>
                  </a:lnTo>
                  <a:lnTo>
                    <a:pt x="589" y="49"/>
                  </a:lnTo>
                  <a:lnTo>
                    <a:pt x="580" y="46"/>
                  </a:lnTo>
                  <a:lnTo>
                    <a:pt x="562" y="43"/>
                  </a:lnTo>
                  <a:lnTo>
                    <a:pt x="544" y="40"/>
                  </a:lnTo>
                  <a:lnTo>
                    <a:pt x="530" y="37"/>
                  </a:lnTo>
                  <a:lnTo>
                    <a:pt x="507" y="37"/>
                  </a:lnTo>
                  <a:lnTo>
                    <a:pt x="489" y="35"/>
                  </a:lnTo>
                  <a:lnTo>
                    <a:pt x="466" y="35"/>
                  </a:lnTo>
                  <a:lnTo>
                    <a:pt x="448" y="35"/>
                  </a:lnTo>
                  <a:lnTo>
                    <a:pt x="434" y="32"/>
                  </a:lnTo>
                  <a:lnTo>
                    <a:pt x="425" y="32"/>
                  </a:lnTo>
                  <a:lnTo>
                    <a:pt x="416" y="29"/>
                  </a:lnTo>
                  <a:lnTo>
                    <a:pt x="402" y="29"/>
                  </a:lnTo>
                  <a:lnTo>
                    <a:pt x="393" y="29"/>
                  </a:lnTo>
                  <a:lnTo>
                    <a:pt x="379" y="29"/>
                  </a:lnTo>
                  <a:lnTo>
                    <a:pt x="370" y="29"/>
                  </a:lnTo>
                  <a:lnTo>
                    <a:pt x="361" y="29"/>
                  </a:lnTo>
                  <a:lnTo>
                    <a:pt x="343" y="29"/>
                  </a:lnTo>
                  <a:lnTo>
                    <a:pt x="333" y="29"/>
                  </a:lnTo>
                  <a:lnTo>
                    <a:pt x="324" y="29"/>
                  </a:lnTo>
                  <a:lnTo>
                    <a:pt x="311" y="29"/>
                  </a:lnTo>
                  <a:lnTo>
                    <a:pt x="297" y="29"/>
                  </a:lnTo>
                  <a:lnTo>
                    <a:pt x="288" y="29"/>
                  </a:lnTo>
                  <a:lnTo>
                    <a:pt x="274" y="29"/>
                  </a:lnTo>
                  <a:lnTo>
                    <a:pt x="265" y="29"/>
                  </a:lnTo>
                  <a:lnTo>
                    <a:pt x="256" y="29"/>
                  </a:lnTo>
                  <a:lnTo>
                    <a:pt x="242" y="29"/>
                  </a:lnTo>
                  <a:lnTo>
                    <a:pt x="228" y="29"/>
                  </a:lnTo>
                  <a:lnTo>
                    <a:pt x="219" y="29"/>
                  </a:lnTo>
                  <a:lnTo>
                    <a:pt x="201" y="29"/>
                  </a:lnTo>
                  <a:lnTo>
                    <a:pt x="187" y="29"/>
                  </a:lnTo>
                  <a:lnTo>
                    <a:pt x="178" y="29"/>
                  </a:lnTo>
                  <a:lnTo>
                    <a:pt x="169" y="29"/>
                  </a:lnTo>
                  <a:lnTo>
                    <a:pt x="155" y="29"/>
                  </a:lnTo>
                  <a:lnTo>
                    <a:pt x="137" y="29"/>
                  </a:lnTo>
                  <a:lnTo>
                    <a:pt x="128" y="29"/>
                  </a:lnTo>
                  <a:lnTo>
                    <a:pt x="119" y="32"/>
                  </a:lnTo>
                  <a:lnTo>
                    <a:pt x="105" y="32"/>
                  </a:lnTo>
                  <a:lnTo>
                    <a:pt x="91" y="32"/>
                  </a:lnTo>
                  <a:lnTo>
                    <a:pt x="87" y="32"/>
                  </a:lnTo>
                  <a:lnTo>
                    <a:pt x="73" y="35"/>
                  </a:lnTo>
                  <a:lnTo>
                    <a:pt x="64" y="35"/>
                  </a:lnTo>
                  <a:lnTo>
                    <a:pt x="55" y="35"/>
                  </a:lnTo>
                  <a:lnTo>
                    <a:pt x="41" y="35"/>
                  </a:lnTo>
                  <a:lnTo>
                    <a:pt x="36" y="35"/>
                  </a:lnTo>
                  <a:lnTo>
                    <a:pt x="18" y="35"/>
                  </a:lnTo>
                  <a:lnTo>
                    <a:pt x="14" y="35"/>
                  </a:lnTo>
                  <a:lnTo>
                    <a:pt x="0" y="32"/>
                  </a:lnTo>
                  <a:lnTo>
                    <a:pt x="9" y="29"/>
                  </a:lnTo>
                  <a:lnTo>
                    <a:pt x="23" y="23"/>
                  </a:lnTo>
                  <a:lnTo>
                    <a:pt x="36" y="20"/>
                  </a:lnTo>
                  <a:lnTo>
                    <a:pt x="55" y="17"/>
                  </a:lnTo>
                  <a:lnTo>
                    <a:pt x="68" y="15"/>
                  </a:lnTo>
                  <a:lnTo>
                    <a:pt x="78" y="15"/>
                  </a:lnTo>
                  <a:lnTo>
                    <a:pt x="87" y="12"/>
                  </a:lnTo>
                  <a:lnTo>
                    <a:pt x="91" y="12"/>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25" name="Freeform 215"/>
            <p:cNvSpPr>
              <a:spLocks/>
            </p:cNvSpPr>
            <p:nvPr>
              <p:custDataLst>
                <p:tags r:id="rId124"/>
              </p:custDataLst>
            </p:nvPr>
          </p:nvSpPr>
          <p:spPr bwMode="gray">
            <a:xfrm>
              <a:off x="1260" y="2190"/>
              <a:ext cx="993" cy="80"/>
            </a:xfrm>
            <a:custGeom>
              <a:avLst/>
              <a:gdLst>
                <a:gd name="T0" fmla="*/ 73 w 969"/>
                <a:gd name="T1" fmla="*/ 3 h 88"/>
                <a:gd name="T2" fmla="*/ 137 w 969"/>
                <a:gd name="T3" fmla="*/ 5 h 88"/>
                <a:gd name="T4" fmla="*/ 223 w 969"/>
                <a:gd name="T5" fmla="*/ 5 h 88"/>
                <a:gd name="T6" fmla="*/ 309 w 969"/>
                <a:gd name="T7" fmla="*/ 5 h 88"/>
                <a:gd name="T8" fmla="*/ 363 w 969"/>
                <a:gd name="T9" fmla="*/ 5 h 88"/>
                <a:gd name="T10" fmla="*/ 424 w 969"/>
                <a:gd name="T11" fmla="*/ 5 h 88"/>
                <a:gd name="T12" fmla="*/ 483 w 969"/>
                <a:gd name="T13" fmla="*/ 5 h 88"/>
                <a:gd name="T14" fmla="*/ 544 w 969"/>
                <a:gd name="T15" fmla="*/ 5 h 88"/>
                <a:gd name="T16" fmla="*/ 614 w 969"/>
                <a:gd name="T17" fmla="*/ 5 h 88"/>
                <a:gd name="T18" fmla="*/ 675 w 969"/>
                <a:gd name="T19" fmla="*/ 5 h 88"/>
                <a:gd name="T20" fmla="*/ 736 w 969"/>
                <a:gd name="T21" fmla="*/ 5 h 88"/>
                <a:gd name="T22" fmla="*/ 794 w 969"/>
                <a:gd name="T23" fmla="*/ 5 h 88"/>
                <a:gd name="T24" fmla="*/ 874 w 969"/>
                <a:gd name="T25" fmla="*/ 5 h 88"/>
                <a:gd name="T26" fmla="*/ 933 w 969"/>
                <a:gd name="T27" fmla="*/ 5 h 88"/>
                <a:gd name="T28" fmla="*/ 992 w 969"/>
                <a:gd name="T29" fmla="*/ 5 h 88"/>
                <a:gd name="T30" fmla="*/ 1063 w 969"/>
                <a:gd name="T31" fmla="*/ 5 h 88"/>
                <a:gd name="T32" fmla="*/ 1175 w 969"/>
                <a:gd name="T33" fmla="*/ 5 h 88"/>
                <a:gd name="T34" fmla="*/ 1263 w 969"/>
                <a:gd name="T35" fmla="*/ 5 h 88"/>
                <a:gd name="T36" fmla="*/ 1346 w 969"/>
                <a:gd name="T37" fmla="*/ 5 h 88"/>
                <a:gd name="T38" fmla="*/ 1433 w 969"/>
                <a:gd name="T39" fmla="*/ 5 h 88"/>
                <a:gd name="T40" fmla="*/ 1519 w 969"/>
                <a:gd name="T41" fmla="*/ 5 h 88"/>
                <a:gd name="T42" fmla="*/ 1598 w 969"/>
                <a:gd name="T43" fmla="*/ 5 h 88"/>
                <a:gd name="T44" fmla="*/ 1657 w 969"/>
                <a:gd name="T45" fmla="*/ 5 h 88"/>
                <a:gd name="T46" fmla="*/ 1745 w 969"/>
                <a:gd name="T47" fmla="*/ 5 h 88"/>
                <a:gd name="T48" fmla="*/ 1808 w 969"/>
                <a:gd name="T49" fmla="*/ 5 h 88"/>
                <a:gd name="T50" fmla="*/ 1828 w 969"/>
                <a:gd name="T51" fmla="*/ 7 h 88"/>
                <a:gd name="T52" fmla="*/ 1772 w 969"/>
                <a:gd name="T53" fmla="*/ 7 h 88"/>
                <a:gd name="T54" fmla="*/ 1699 w 969"/>
                <a:gd name="T55" fmla="*/ 7 h 88"/>
                <a:gd name="T56" fmla="*/ 1631 w 969"/>
                <a:gd name="T57" fmla="*/ 7 h 88"/>
                <a:gd name="T58" fmla="*/ 1554 w 969"/>
                <a:gd name="T59" fmla="*/ 7 h 88"/>
                <a:gd name="T60" fmla="*/ 1448 w 969"/>
                <a:gd name="T61" fmla="*/ 6 h 88"/>
                <a:gd name="T62" fmla="*/ 1363 w 969"/>
                <a:gd name="T63" fmla="*/ 6 h 88"/>
                <a:gd name="T64" fmla="*/ 1268 w 969"/>
                <a:gd name="T65" fmla="*/ 6 h 88"/>
                <a:gd name="T66" fmla="*/ 1184 w 969"/>
                <a:gd name="T67" fmla="*/ 6 h 88"/>
                <a:gd name="T68" fmla="*/ 1089 w 969"/>
                <a:gd name="T69" fmla="*/ 5 h 88"/>
                <a:gd name="T70" fmla="*/ 1012 w 969"/>
                <a:gd name="T71" fmla="*/ 5 h 88"/>
                <a:gd name="T72" fmla="*/ 918 w 969"/>
                <a:gd name="T73" fmla="*/ 5 h 88"/>
                <a:gd name="T74" fmla="*/ 862 w 969"/>
                <a:gd name="T75" fmla="*/ 5 h 88"/>
                <a:gd name="T76" fmla="*/ 794 w 969"/>
                <a:gd name="T77" fmla="*/ 5 h 88"/>
                <a:gd name="T78" fmla="*/ 736 w 969"/>
                <a:gd name="T79" fmla="*/ 5 h 88"/>
                <a:gd name="T80" fmla="*/ 666 w 969"/>
                <a:gd name="T81" fmla="*/ 5 h 88"/>
                <a:gd name="T82" fmla="*/ 605 w 969"/>
                <a:gd name="T83" fmla="*/ 5 h 88"/>
                <a:gd name="T84" fmla="*/ 526 w 969"/>
                <a:gd name="T85" fmla="*/ 5 h 88"/>
                <a:gd name="T86" fmla="*/ 465 w 969"/>
                <a:gd name="T87" fmla="*/ 5 h 88"/>
                <a:gd name="T88" fmla="*/ 397 w 969"/>
                <a:gd name="T89" fmla="*/ 5 h 88"/>
                <a:gd name="T90" fmla="*/ 339 w 969"/>
                <a:gd name="T91" fmla="*/ 5 h 88"/>
                <a:gd name="T92" fmla="*/ 279 w 969"/>
                <a:gd name="T93" fmla="*/ 5 h 88"/>
                <a:gd name="T94" fmla="*/ 180 w 969"/>
                <a:gd name="T95" fmla="*/ 5 h 88"/>
                <a:gd name="T96" fmla="*/ 93 w 969"/>
                <a:gd name="T97" fmla="*/ 5 h 88"/>
                <a:gd name="T98" fmla="*/ 19 w 969"/>
                <a:gd name="T99" fmla="*/ 5 h 88"/>
                <a:gd name="T100" fmla="*/ 58 w 969"/>
                <a:gd name="T101" fmla="*/ 0 h 8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69"/>
                <a:gd name="T154" fmla="*/ 0 h 88"/>
                <a:gd name="T155" fmla="*/ 969 w 969"/>
                <a:gd name="T156" fmla="*/ 88 h 8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69" h="88">
                  <a:moveTo>
                    <a:pt x="32" y="0"/>
                  </a:moveTo>
                  <a:lnTo>
                    <a:pt x="37" y="0"/>
                  </a:lnTo>
                  <a:lnTo>
                    <a:pt x="41" y="3"/>
                  </a:lnTo>
                  <a:lnTo>
                    <a:pt x="51" y="3"/>
                  </a:lnTo>
                  <a:lnTo>
                    <a:pt x="60" y="6"/>
                  </a:lnTo>
                  <a:lnTo>
                    <a:pt x="73" y="6"/>
                  </a:lnTo>
                  <a:lnTo>
                    <a:pt x="87" y="9"/>
                  </a:lnTo>
                  <a:lnTo>
                    <a:pt x="101" y="9"/>
                  </a:lnTo>
                  <a:lnTo>
                    <a:pt x="119" y="12"/>
                  </a:lnTo>
                  <a:lnTo>
                    <a:pt x="133" y="12"/>
                  </a:lnTo>
                  <a:lnTo>
                    <a:pt x="151" y="14"/>
                  </a:lnTo>
                  <a:lnTo>
                    <a:pt x="165" y="14"/>
                  </a:lnTo>
                  <a:lnTo>
                    <a:pt x="169" y="17"/>
                  </a:lnTo>
                  <a:lnTo>
                    <a:pt x="183" y="17"/>
                  </a:lnTo>
                  <a:lnTo>
                    <a:pt x="192" y="20"/>
                  </a:lnTo>
                  <a:lnTo>
                    <a:pt x="201" y="20"/>
                  </a:lnTo>
                  <a:lnTo>
                    <a:pt x="211" y="20"/>
                  </a:lnTo>
                  <a:lnTo>
                    <a:pt x="224" y="20"/>
                  </a:lnTo>
                  <a:lnTo>
                    <a:pt x="233" y="23"/>
                  </a:lnTo>
                  <a:lnTo>
                    <a:pt x="243" y="23"/>
                  </a:lnTo>
                  <a:lnTo>
                    <a:pt x="256" y="23"/>
                  </a:lnTo>
                  <a:lnTo>
                    <a:pt x="270" y="23"/>
                  </a:lnTo>
                  <a:lnTo>
                    <a:pt x="279" y="26"/>
                  </a:lnTo>
                  <a:lnTo>
                    <a:pt x="288" y="26"/>
                  </a:lnTo>
                  <a:lnTo>
                    <a:pt x="302" y="29"/>
                  </a:lnTo>
                  <a:lnTo>
                    <a:pt x="316" y="29"/>
                  </a:lnTo>
                  <a:lnTo>
                    <a:pt x="325" y="32"/>
                  </a:lnTo>
                  <a:lnTo>
                    <a:pt x="334" y="32"/>
                  </a:lnTo>
                  <a:lnTo>
                    <a:pt x="348" y="32"/>
                  </a:lnTo>
                  <a:lnTo>
                    <a:pt x="357" y="34"/>
                  </a:lnTo>
                  <a:lnTo>
                    <a:pt x="371" y="34"/>
                  </a:lnTo>
                  <a:lnTo>
                    <a:pt x="380" y="34"/>
                  </a:lnTo>
                  <a:lnTo>
                    <a:pt x="389" y="34"/>
                  </a:lnTo>
                  <a:lnTo>
                    <a:pt x="403" y="34"/>
                  </a:lnTo>
                  <a:lnTo>
                    <a:pt x="416" y="37"/>
                  </a:lnTo>
                  <a:lnTo>
                    <a:pt x="421" y="37"/>
                  </a:lnTo>
                  <a:lnTo>
                    <a:pt x="439" y="40"/>
                  </a:lnTo>
                  <a:lnTo>
                    <a:pt x="448" y="40"/>
                  </a:lnTo>
                  <a:lnTo>
                    <a:pt x="462" y="40"/>
                  </a:lnTo>
                  <a:lnTo>
                    <a:pt x="471" y="40"/>
                  </a:lnTo>
                  <a:lnTo>
                    <a:pt x="480" y="43"/>
                  </a:lnTo>
                  <a:lnTo>
                    <a:pt x="494" y="43"/>
                  </a:lnTo>
                  <a:lnTo>
                    <a:pt x="503" y="43"/>
                  </a:lnTo>
                  <a:lnTo>
                    <a:pt x="512" y="43"/>
                  </a:lnTo>
                  <a:lnTo>
                    <a:pt x="526" y="46"/>
                  </a:lnTo>
                  <a:lnTo>
                    <a:pt x="535" y="46"/>
                  </a:lnTo>
                  <a:lnTo>
                    <a:pt x="544" y="46"/>
                  </a:lnTo>
                  <a:lnTo>
                    <a:pt x="562" y="46"/>
                  </a:lnTo>
                  <a:lnTo>
                    <a:pt x="585" y="46"/>
                  </a:lnTo>
                  <a:lnTo>
                    <a:pt x="599" y="49"/>
                  </a:lnTo>
                  <a:lnTo>
                    <a:pt x="622" y="51"/>
                  </a:lnTo>
                  <a:lnTo>
                    <a:pt x="636" y="51"/>
                  </a:lnTo>
                  <a:lnTo>
                    <a:pt x="654" y="51"/>
                  </a:lnTo>
                  <a:lnTo>
                    <a:pt x="668" y="51"/>
                  </a:lnTo>
                  <a:lnTo>
                    <a:pt x="681" y="51"/>
                  </a:lnTo>
                  <a:lnTo>
                    <a:pt x="700" y="51"/>
                  </a:lnTo>
                  <a:lnTo>
                    <a:pt x="713" y="51"/>
                  </a:lnTo>
                  <a:lnTo>
                    <a:pt x="732" y="51"/>
                  </a:lnTo>
                  <a:lnTo>
                    <a:pt x="750" y="51"/>
                  </a:lnTo>
                  <a:lnTo>
                    <a:pt x="759" y="51"/>
                  </a:lnTo>
                  <a:lnTo>
                    <a:pt x="777" y="51"/>
                  </a:lnTo>
                  <a:lnTo>
                    <a:pt x="786" y="54"/>
                  </a:lnTo>
                  <a:lnTo>
                    <a:pt x="805" y="54"/>
                  </a:lnTo>
                  <a:lnTo>
                    <a:pt x="818" y="54"/>
                  </a:lnTo>
                  <a:lnTo>
                    <a:pt x="832" y="54"/>
                  </a:lnTo>
                  <a:lnTo>
                    <a:pt x="846" y="54"/>
                  </a:lnTo>
                  <a:lnTo>
                    <a:pt x="860" y="57"/>
                  </a:lnTo>
                  <a:lnTo>
                    <a:pt x="869" y="57"/>
                  </a:lnTo>
                  <a:lnTo>
                    <a:pt x="878" y="57"/>
                  </a:lnTo>
                  <a:lnTo>
                    <a:pt x="892" y="57"/>
                  </a:lnTo>
                  <a:lnTo>
                    <a:pt x="901" y="60"/>
                  </a:lnTo>
                  <a:lnTo>
                    <a:pt x="924" y="60"/>
                  </a:lnTo>
                  <a:lnTo>
                    <a:pt x="937" y="60"/>
                  </a:lnTo>
                  <a:lnTo>
                    <a:pt x="951" y="60"/>
                  </a:lnTo>
                  <a:lnTo>
                    <a:pt x="956" y="63"/>
                  </a:lnTo>
                  <a:lnTo>
                    <a:pt x="965" y="63"/>
                  </a:lnTo>
                  <a:lnTo>
                    <a:pt x="969" y="63"/>
                  </a:lnTo>
                  <a:lnTo>
                    <a:pt x="969" y="88"/>
                  </a:lnTo>
                  <a:lnTo>
                    <a:pt x="965" y="86"/>
                  </a:lnTo>
                  <a:lnTo>
                    <a:pt x="951" y="86"/>
                  </a:lnTo>
                  <a:lnTo>
                    <a:pt x="937" y="86"/>
                  </a:lnTo>
                  <a:lnTo>
                    <a:pt x="924" y="86"/>
                  </a:lnTo>
                  <a:lnTo>
                    <a:pt x="914" y="83"/>
                  </a:lnTo>
                  <a:lnTo>
                    <a:pt x="901" y="83"/>
                  </a:lnTo>
                  <a:lnTo>
                    <a:pt x="887" y="83"/>
                  </a:lnTo>
                  <a:lnTo>
                    <a:pt x="878" y="83"/>
                  </a:lnTo>
                  <a:lnTo>
                    <a:pt x="864" y="83"/>
                  </a:lnTo>
                  <a:lnTo>
                    <a:pt x="846" y="83"/>
                  </a:lnTo>
                  <a:lnTo>
                    <a:pt x="837" y="83"/>
                  </a:lnTo>
                  <a:lnTo>
                    <a:pt x="823" y="83"/>
                  </a:lnTo>
                  <a:lnTo>
                    <a:pt x="805" y="83"/>
                  </a:lnTo>
                  <a:lnTo>
                    <a:pt x="786" y="83"/>
                  </a:lnTo>
                  <a:lnTo>
                    <a:pt x="768" y="80"/>
                  </a:lnTo>
                  <a:lnTo>
                    <a:pt x="754" y="80"/>
                  </a:lnTo>
                  <a:lnTo>
                    <a:pt x="736" y="80"/>
                  </a:lnTo>
                  <a:lnTo>
                    <a:pt x="722" y="80"/>
                  </a:lnTo>
                  <a:lnTo>
                    <a:pt x="704" y="80"/>
                  </a:lnTo>
                  <a:lnTo>
                    <a:pt x="690" y="80"/>
                  </a:lnTo>
                  <a:lnTo>
                    <a:pt x="672" y="77"/>
                  </a:lnTo>
                  <a:lnTo>
                    <a:pt x="658" y="77"/>
                  </a:lnTo>
                  <a:lnTo>
                    <a:pt x="640" y="77"/>
                  </a:lnTo>
                  <a:lnTo>
                    <a:pt x="626" y="77"/>
                  </a:lnTo>
                  <a:lnTo>
                    <a:pt x="608" y="74"/>
                  </a:lnTo>
                  <a:lnTo>
                    <a:pt x="590" y="74"/>
                  </a:lnTo>
                  <a:lnTo>
                    <a:pt x="576" y="74"/>
                  </a:lnTo>
                  <a:lnTo>
                    <a:pt x="567" y="74"/>
                  </a:lnTo>
                  <a:lnTo>
                    <a:pt x="549" y="71"/>
                  </a:lnTo>
                  <a:lnTo>
                    <a:pt x="535" y="71"/>
                  </a:lnTo>
                  <a:lnTo>
                    <a:pt x="517" y="69"/>
                  </a:lnTo>
                  <a:lnTo>
                    <a:pt x="499" y="69"/>
                  </a:lnTo>
                  <a:lnTo>
                    <a:pt x="485" y="69"/>
                  </a:lnTo>
                  <a:lnTo>
                    <a:pt x="476" y="69"/>
                  </a:lnTo>
                  <a:lnTo>
                    <a:pt x="467" y="66"/>
                  </a:lnTo>
                  <a:lnTo>
                    <a:pt x="457" y="66"/>
                  </a:lnTo>
                  <a:lnTo>
                    <a:pt x="444" y="66"/>
                  </a:lnTo>
                  <a:lnTo>
                    <a:pt x="435" y="63"/>
                  </a:lnTo>
                  <a:lnTo>
                    <a:pt x="421" y="63"/>
                  </a:lnTo>
                  <a:lnTo>
                    <a:pt x="412" y="63"/>
                  </a:lnTo>
                  <a:lnTo>
                    <a:pt x="403" y="60"/>
                  </a:lnTo>
                  <a:lnTo>
                    <a:pt x="389" y="60"/>
                  </a:lnTo>
                  <a:lnTo>
                    <a:pt x="380" y="57"/>
                  </a:lnTo>
                  <a:lnTo>
                    <a:pt x="366" y="57"/>
                  </a:lnTo>
                  <a:lnTo>
                    <a:pt x="352" y="57"/>
                  </a:lnTo>
                  <a:lnTo>
                    <a:pt x="343" y="54"/>
                  </a:lnTo>
                  <a:lnTo>
                    <a:pt x="334" y="54"/>
                  </a:lnTo>
                  <a:lnTo>
                    <a:pt x="320" y="54"/>
                  </a:lnTo>
                  <a:lnTo>
                    <a:pt x="307" y="51"/>
                  </a:lnTo>
                  <a:lnTo>
                    <a:pt x="297" y="51"/>
                  </a:lnTo>
                  <a:lnTo>
                    <a:pt x="279" y="51"/>
                  </a:lnTo>
                  <a:lnTo>
                    <a:pt x="270" y="51"/>
                  </a:lnTo>
                  <a:lnTo>
                    <a:pt x="261" y="49"/>
                  </a:lnTo>
                  <a:lnTo>
                    <a:pt x="247" y="46"/>
                  </a:lnTo>
                  <a:lnTo>
                    <a:pt x="238" y="46"/>
                  </a:lnTo>
                  <a:lnTo>
                    <a:pt x="224" y="46"/>
                  </a:lnTo>
                  <a:lnTo>
                    <a:pt x="211" y="46"/>
                  </a:lnTo>
                  <a:lnTo>
                    <a:pt x="201" y="43"/>
                  </a:lnTo>
                  <a:lnTo>
                    <a:pt x="188" y="43"/>
                  </a:lnTo>
                  <a:lnTo>
                    <a:pt x="179" y="43"/>
                  </a:lnTo>
                  <a:lnTo>
                    <a:pt x="165" y="40"/>
                  </a:lnTo>
                  <a:lnTo>
                    <a:pt x="156" y="40"/>
                  </a:lnTo>
                  <a:lnTo>
                    <a:pt x="147" y="37"/>
                  </a:lnTo>
                  <a:lnTo>
                    <a:pt x="137" y="37"/>
                  </a:lnTo>
                  <a:lnTo>
                    <a:pt x="115" y="34"/>
                  </a:lnTo>
                  <a:lnTo>
                    <a:pt x="96" y="34"/>
                  </a:lnTo>
                  <a:lnTo>
                    <a:pt x="78" y="32"/>
                  </a:lnTo>
                  <a:lnTo>
                    <a:pt x="69" y="32"/>
                  </a:lnTo>
                  <a:lnTo>
                    <a:pt x="51" y="29"/>
                  </a:lnTo>
                  <a:lnTo>
                    <a:pt x="41" y="26"/>
                  </a:lnTo>
                  <a:lnTo>
                    <a:pt x="23" y="26"/>
                  </a:lnTo>
                  <a:lnTo>
                    <a:pt x="19" y="26"/>
                  </a:lnTo>
                  <a:lnTo>
                    <a:pt x="5" y="23"/>
                  </a:lnTo>
                  <a:lnTo>
                    <a:pt x="0" y="23"/>
                  </a:lnTo>
                  <a:lnTo>
                    <a:pt x="32"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26" name="Freeform 216"/>
            <p:cNvSpPr>
              <a:spLocks/>
            </p:cNvSpPr>
            <p:nvPr>
              <p:custDataLst>
                <p:tags r:id="rId125"/>
              </p:custDataLst>
            </p:nvPr>
          </p:nvSpPr>
          <p:spPr bwMode="gray">
            <a:xfrm>
              <a:off x="3720" y="2221"/>
              <a:ext cx="623" cy="63"/>
            </a:xfrm>
            <a:custGeom>
              <a:avLst/>
              <a:gdLst>
                <a:gd name="T0" fmla="*/ 13 w 608"/>
                <a:gd name="T1" fmla="*/ 5 h 69"/>
                <a:gd name="T2" fmla="*/ 73 w 608"/>
                <a:gd name="T3" fmla="*/ 5 h 69"/>
                <a:gd name="T4" fmla="*/ 129 w 608"/>
                <a:gd name="T5" fmla="*/ 5 h 69"/>
                <a:gd name="T6" fmla="*/ 189 w 608"/>
                <a:gd name="T7" fmla="*/ 5 h 69"/>
                <a:gd name="T8" fmla="*/ 241 w 608"/>
                <a:gd name="T9" fmla="*/ 5 h 69"/>
                <a:gd name="T10" fmla="*/ 293 w 608"/>
                <a:gd name="T11" fmla="*/ 5 h 69"/>
                <a:gd name="T12" fmla="*/ 342 w 608"/>
                <a:gd name="T13" fmla="*/ 5 h 69"/>
                <a:gd name="T14" fmla="*/ 394 w 608"/>
                <a:gd name="T15" fmla="*/ 5 h 69"/>
                <a:gd name="T16" fmla="*/ 445 w 608"/>
                <a:gd name="T17" fmla="*/ 5 h 69"/>
                <a:gd name="T18" fmla="*/ 489 w 608"/>
                <a:gd name="T19" fmla="*/ 5 h 69"/>
                <a:gd name="T20" fmla="*/ 550 w 608"/>
                <a:gd name="T21" fmla="*/ 5 h 69"/>
                <a:gd name="T22" fmla="*/ 593 w 608"/>
                <a:gd name="T23" fmla="*/ 5 h 69"/>
                <a:gd name="T24" fmla="*/ 637 w 608"/>
                <a:gd name="T25" fmla="*/ 5 h 69"/>
                <a:gd name="T26" fmla="*/ 681 w 608"/>
                <a:gd name="T27" fmla="*/ 5 h 69"/>
                <a:gd name="T28" fmla="*/ 733 w 608"/>
                <a:gd name="T29" fmla="*/ 5 h 69"/>
                <a:gd name="T30" fmla="*/ 775 w 608"/>
                <a:gd name="T31" fmla="*/ 5 h 69"/>
                <a:gd name="T32" fmla="*/ 835 w 608"/>
                <a:gd name="T33" fmla="*/ 5 h 69"/>
                <a:gd name="T34" fmla="*/ 903 w 608"/>
                <a:gd name="T35" fmla="*/ 5 h 69"/>
                <a:gd name="T36" fmla="*/ 971 w 608"/>
                <a:gd name="T37" fmla="*/ 5 h 69"/>
                <a:gd name="T38" fmla="*/ 1024 w 608"/>
                <a:gd name="T39" fmla="*/ 5 h 69"/>
                <a:gd name="T40" fmla="*/ 1067 w 608"/>
                <a:gd name="T41" fmla="*/ 3 h 69"/>
                <a:gd name="T42" fmla="*/ 1102 w 608"/>
                <a:gd name="T43" fmla="*/ 0 h 69"/>
                <a:gd name="T44" fmla="*/ 1136 w 608"/>
                <a:gd name="T45" fmla="*/ 0 h 69"/>
                <a:gd name="T46" fmla="*/ 1147 w 608"/>
                <a:gd name="T47" fmla="*/ 5 h 69"/>
                <a:gd name="T48" fmla="*/ 1125 w 608"/>
                <a:gd name="T49" fmla="*/ 5 h 69"/>
                <a:gd name="T50" fmla="*/ 1093 w 608"/>
                <a:gd name="T51" fmla="*/ 5 h 69"/>
                <a:gd name="T52" fmla="*/ 1062 w 608"/>
                <a:gd name="T53" fmla="*/ 5 h 69"/>
                <a:gd name="T54" fmla="*/ 1006 w 608"/>
                <a:gd name="T55" fmla="*/ 5 h 69"/>
                <a:gd name="T56" fmla="*/ 967 w 608"/>
                <a:gd name="T57" fmla="*/ 5 h 69"/>
                <a:gd name="T58" fmla="*/ 903 w 608"/>
                <a:gd name="T59" fmla="*/ 5 h 69"/>
                <a:gd name="T60" fmla="*/ 843 w 608"/>
                <a:gd name="T61" fmla="*/ 5 h 69"/>
                <a:gd name="T62" fmla="*/ 784 w 608"/>
                <a:gd name="T63" fmla="*/ 5 h 69"/>
                <a:gd name="T64" fmla="*/ 722 w 608"/>
                <a:gd name="T65" fmla="*/ 5 h 69"/>
                <a:gd name="T66" fmla="*/ 665 w 608"/>
                <a:gd name="T67" fmla="*/ 5 h 69"/>
                <a:gd name="T68" fmla="*/ 603 w 608"/>
                <a:gd name="T69" fmla="*/ 5 h 69"/>
                <a:gd name="T70" fmla="*/ 550 w 608"/>
                <a:gd name="T71" fmla="*/ 5 h 69"/>
                <a:gd name="T72" fmla="*/ 489 w 608"/>
                <a:gd name="T73" fmla="*/ 5 h 69"/>
                <a:gd name="T74" fmla="*/ 455 w 608"/>
                <a:gd name="T75" fmla="*/ 5 h 69"/>
                <a:gd name="T76" fmla="*/ 423 w 608"/>
                <a:gd name="T77" fmla="*/ 5 h 69"/>
                <a:gd name="T78" fmla="*/ 352 w 608"/>
                <a:gd name="T79" fmla="*/ 5 h 69"/>
                <a:gd name="T80" fmla="*/ 275 w 608"/>
                <a:gd name="T81" fmla="*/ 5 h 69"/>
                <a:gd name="T82" fmla="*/ 206 w 608"/>
                <a:gd name="T83" fmla="*/ 5 h 69"/>
                <a:gd name="T84" fmla="*/ 142 w 608"/>
                <a:gd name="T85" fmla="*/ 6 h 69"/>
                <a:gd name="T86" fmla="*/ 81 w 608"/>
                <a:gd name="T87" fmla="*/ 6 h 69"/>
                <a:gd name="T88" fmla="*/ 49 w 608"/>
                <a:gd name="T89" fmla="*/ 6 h 69"/>
                <a:gd name="T90" fmla="*/ 0 w 608"/>
                <a:gd name="T91" fmla="*/ 6 h 69"/>
                <a:gd name="T92" fmla="*/ 0 w 608"/>
                <a:gd name="T93" fmla="*/ 5 h 6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08"/>
                <a:gd name="T142" fmla="*/ 0 h 69"/>
                <a:gd name="T143" fmla="*/ 608 w 608"/>
                <a:gd name="T144" fmla="*/ 69 h 6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08" h="69">
                  <a:moveTo>
                    <a:pt x="0" y="40"/>
                  </a:moveTo>
                  <a:lnTo>
                    <a:pt x="13" y="37"/>
                  </a:lnTo>
                  <a:lnTo>
                    <a:pt x="27" y="37"/>
                  </a:lnTo>
                  <a:lnTo>
                    <a:pt x="41" y="37"/>
                  </a:lnTo>
                  <a:lnTo>
                    <a:pt x="59" y="37"/>
                  </a:lnTo>
                  <a:lnTo>
                    <a:pt x="68" y="37"/>
                  </a:lnTo>
                  <a:lnTo>
                    <a:pt x="87" y="37"/>
                  </a:lnTo>
                  <a:lnTo>
                    <a:pt x="100" y="37"/>
                  </a:lnTo>
                  <a:lnTo>
                    <a:pt x="119" y="37"/>
                  </a:lnTo>
                  <a:lnTo>
                    <a:pt x="128" y="35"/>
                  </a:lnTo>
                  <a:lnTo>
                    <a:pt x="141" y="35"/>
                  </a:lnTo>
                  <a:lnTo>
                    <a:pt x="155" y="35"/>
                  </a:lnTo>
                  <a:lnTo>
                    <a:pt x="169" y="35"/>
                  </a:lnTo>
                  <a:lnTo>
                    <a:pt x="182" y="35"/>
                  </a:lnTo>
                  <a:lnTo>
                    <a:pt x="201" y="35"/>
                  </a:lnTo>
                  <a:lnTo>
                    <a:pt x="210" y="35"/>
                  </a:lnTo>
                  <a:lnTo>
                    <a:pt x="224" y="35"/>
                  </a:lnTo>
                  <a:lnTo>
                    <a:pt x="237" y="32"/>
                  </a:lnTo>
                  <a:lnTo>
                    <a:pt x="251" y="32"/>
                  </a:lnTo>
                  <a:lnTo>
                    <a:pt x="260" y="29"/>
                  </a:lnTo>
                  <a:lnTo>
                    <a:pt x="278" y="29"/>
                  </a:lnTo>
                  <a:lnTo>
                    <a:pt x="292" y="29"/>
                  </a:lnTo>
                  <a:lnTo>
                    <a:pt x="301" y="26"/>
                  </a:lnTo>
                  <a:lnTo>
                    <a:pt x="315" y="26"/>
                  </a:lnTo>
                  <a:lnTo>
                    <a:pt x="329" y="26"/>
                  </a:lnTo>
                  <a:lnTo>
                    <a:pt x="338" y="26"/>
                  </a:lnTo>
                  <a:lnTo>
                    <a:pt x="352" y="23"/>
                  </a:lnTo>
                  <a:lnTo>
                    <a:pt x="361" y="23"/>
                  </a:lnTo>
                  <a:lnTo>
                    <a:pt x="374" y="23"/>
                  </a:lnTo>
                  <a:lnTo>
                    <a:pt x="388" y="20"/>
                  </a:lnTo>
                  <a:lnTo>
                    <a:pt x="397" y="20"/>
                  </a:lnTo>
                  <a:lnTo>
                    <a:pt x="411" y="20"/>
                  </a:lnTo>
                  <a:lnTo>
                    <a:pt x="425" y="20"/>
                  </a:lnTo>
                  <a:lnTo>
                    <a:pt x="443" y="17"/>
                  </a:lnTo>
                  <a:lnTo>
                    <a:pt x="461" y="17"/>
                  </a:lnTo>
                  <a:lnTo>
                    <a:pt x="480" y="12"/>
                  </a:lnTo>
                  <a:lnTo>
                    <a:pt x="498" y="12"/>
                  </a:lnTo>
                  <a:lnTo>
                    <a:pt x="516" y="12"/>
                  </a:lnTo>
                  <a:lnTo>
                    <a:pt x="530" y="9"/>
                  </a:lnTo>
                  <a:lnTo>
                    <a:pt x="544" y="6"/>
                  </a:lnTo>
                  <a:lnTo>
                    <a:pt x="557" y="6"/>
                  </a:lnTo>
                  <a:lnTo>
                    <a:pt x="566" y="3"/>
                  </a:lnTo>
                  <a:lnTo>
                    <a:pt x="580" y="0"/>
                  </a:lnTo>
                  <a:lnTo>
                    <a:pt x="585" y="0"/>
                  </a:lnTo>
                  <a:lnTo>
                    <a:pt x="594" y="0"/>
                  </a:lnTo>
                  <a:lnTo>
                    <a:pt x="603" y="0"/>
                  </a:lnTo>
                  <a:lnTo>
                    <a:pt x="608" y="0"/>
                  </a:lnTo>
                  <a:lnTo>
                    <a:pt x="608" y="29"/>
                  </a:lnTo>
                  <a:lnTo>
                    <a:pt x="603" y="29"/>
                  </a:lnTo>
                  <a:lnTo>
                    <a:pt x="598" y="29"/>
                  </a:lnTo>
                  <a:lnTo>
                    <a:pt x="585" y="29"/>
                  </a:lnTo>
                  <a:lnTo>
                    <a:pt x="580" y="32"/>
                  </a:lnTo>
                  <a:lnTo>
                    <a:pt x="571" y="32"/>
                  </a:lnTo>
                  <a:lnTo>
                    <a:pt x="562" y="35"/>
                  </a:lnTo>
                  <a:lnTo>
                    <a:pt x="548" y="35"/>
                  </a:lnTo>
                  <a:lnTo>
                    <a:pt x="534" y="35"/>
                  </a:lnTo>
                  <a:lnTo>
                    <a:pt x="525" y="35"/>
                  </a:lnTo>
                  <a:lnTo>
                    <a:pt x="512" y="37"/>
                  </a:lnTo>
                  <a:lnTo>
                    <a:pt x="498" y="37"/>
                  </a:lnTo>
                  <a:lnTo>
                    <a:pt x="480" y="37"/>
                  </a:lnTo>
                  <a:lnTo>
                    <a:pt x="466" y="40"/>
                  </a:lnTo>
                  <a:lnTo>
                    <a:pt x="448" y="40"/>
                  </a:lnTo>
                  <a:lnTo>
                    <a:pt x="434" y="40"/>
                  </a:lnTo>
                  <a:lnTo>
                    <a:pt x="416" y="43"/>
                  </a:lnTo>
                  <a:lnTo>
                    <a:pt x="402" y="43"/>
                  </a:lnTo>
                  <a:lnTo>
                    <a:pt x="384" y="46"/>
                  </a:lnTo>
                  <a:lnTo>
                    <a:pt x="370" y="49"/>
                  </a:lnTo>
                  <a:lnTo>
                    <a:pt x="352" y="49"/>
                  </a:lnTo>
                  <a:lnTo>
                    <a:pt x="333" y="49"/>
                  </a:lnTo>
                  <a:lnTo>
                    <a:pt x="320" y="54"/>
                  </a:lnTo>
                  <a:lnTo>
                    <a:pt x="301" y="54"/>
                  </a:lnTo>
                  <a:lnTo>
                    <a:pt x="292" y="54"/>
                  </a:lnTo>
                  <a:lnTo>
                    <a:pt x="278" y="54"/>
                  </a:lnTo>
                  <a:lnTo>
                    <a:pt x="260" y="54"/>
                  </a:lnTo>
                  <a:lnTo>
                    <a:pt x="251" y="57"/>
                  </a:lnTo>
                  <a:lnTo>
                    <a:pt x="242" y="57"/>
                  </a:lnTo>
                  <a:lnTo>
                    <a:pt x="228" y="60"/>
                  </a:lnTo>
                  <a:lnTo>
                    <a:pt x="224" y="60"/>
                  </a:lnTo>
                  <a:lnTo>
                    <a:pt x="201" y="60"/>
                  </a:lnTo>
                  <a:lnTo>
                    <a:pt x="187" y="63"/>
                  </a:lnTo>
                  <a:lnTo>
                    <a:pt x="164" y="63"/>
                  </a:lnTo>
                  <a:lnTo>
                    <a:pt x="146" y="63"/>
                  </a:lnTo>
                  <a:lnTo>
                    <a:pt x="128" y="63"/>
                  </a:lnTo>
                  <a:lnTo>
                    <a:pt x="109" y="63"/>
                  </a:lnTo>
                  <a:lnTo>
                    <a:pt x="91" y="66"/>
                  </a:lnTo>
                  <a:lnTo>
                    <a:pt x="77" y="69"/>
                  </a:lnTo>
                  <a:lnTo>
                    <a:pt x="59" y="69"/>
                  </a:lnTo>
                  <a:lnTo>
                    <a:pt x="45" y="69"/>
                  </a:lnTo>
                  <a:lnTo>
                    <a:pt x="32" y="69"/>
                  </a:lnTo>
                  <a:lnTo>
                    <a:pt x="23" y="69"/>
                  </a:lnTo>
                  <a:lnTo>
                    <a:pt x="0" y="69"/>
                  </a:lnTo>
                  <a:lnTo>
                    <a:pt x="0" y="4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27" name="Freeform 217"/>
            <p:cNvSpPr>
              <a:spLocks/>
            </p:cNvSpPr>
            <p:nvPr>
              <p:custDataLst>
                <p:tags r:id="rId126"/>
              </p:custDataLst>
            </p:nvPr>
          </p:nvSpPr>
          <p:spPr bwMode="gray">
            <a:xfrm>
              <a:off x="2328" y="1914"/>
              <a:ext cx="193" cy="794"/>
            </a:xfrm>
            <a:custGeom>
              <a:avLst/>
              <a:gdLst>
                <a:gd name="T0" fmla="*/ 0 w 188"/>
                <a:gd name="T1" fmla="*/ 82 h 869"/>
                <a:gd name="T2" fmla="*/ 45 w 188"/>
                <a:gd name="T3" fmla="*/ 84 h 869"/>
                <a:gd name="T4" fmla="*/ 69 w 188"/>
                <a:gd name="T5" fmla="*/ 84 h 869"/>
                <a:gd name="T6" fmla="*/ 127 w 188"/>
                <a:gd name="T7" fmla="*/ 84 h 869"/>
                <a:gd name="T8" fmla="*/ 162 w 188"/>
                <a:gd name="T9" fmla="*/ 84 h 869"/>
                <a:gd name="T10" fmla="*/ 207 w 188"/>
                <a:gd name="T11" fmla="*/ 84 h 869"/>
                <a:gd name="T12" fmla="*/ 253 w 188"/>
                <a:gd name="T13" fmla="*/ 82 h 869"/>
                <a:gd name="T14" fmla="*/ 253 w 188"/>
                <a:gd name="T15" fmla="*/ 81 h 869"/>
                <a:gd name="T16" fmla="*/ 253 w 188"/>
                <a:gd name="T17" fmla="*/ 80 h 869"/>
                <a:gd name="T18" fmla="*/ 264 w 188"/>
                <a:gd name="T19" fmla="*/ 78 h 869"/>
                <a:gd name="T20" fmla="*/ 264 w 188"/>
                <a:gd name="T21" fmla="*/ 77 h 869"/>
                <a:gd name="T22" fmla="*/ 264 w 188"/>
                <a:gd name="T23" fmla="*/ 75 h 869"/>
                <a:gd name="T24" fmla="*/ 271 w 188"/>
                <a:gd name="T25" fmla="*/ 72 h 869"/>
                <a:gd name="T26" fmla="*/ 271 w 188"/>
                <a:gd name="T27" fmla="*/ 70 h 869"/>
                <a:gd name="T28" fmla="*/ 271 w 188"/>
                <a:gd name="T29" fmla="*/ 68 h 869"/>
                <a:gd name="T30" fmla="*/ 281 w 188"/>
                <a:gd name="T31" fmla="*/ 64 h 869"/>
                <a:gd name="T32" fmla="*/ 281 w 188"/>
                <a:gd name="T33" fmla="*/ 63 h 869"/>
                <a:gd name="T34" fmla="*/ 290 w 188"/>
                <a:gd name="T35" fmla="*/ 58 h 869"/>
                <a:gd name="T36" fmla="*/ 290 w 188"/>
                <a:gd name="T37" fmla="*/ 56 h 869"/>
                <a:gd name="T38" fmla="*/ 290 w 188"/>
                <a:gd name="T39" fmla="*/ 53 h 869"/>
                <a:gd name="T40" fmla="*/ 290 w 188"/>
                <a:gd name="T41" fmla="*/ 48 h 869"/>
                <a:gd name="T42" fmla="*/ 308 w 188"/>
                <a:gd name="T43" fmla="*/ 46 h 869"/>
                <a:gd name="T44" fmla="*/ 308 w 188"/>
                <a:gd name="T45" fmla="*/ 43 h 869"/>
                <a:gd name="T46" fmla="*/ 316 w 188"/>
                <a:gd name="T47" fmla="*/ 39 h 869"/>
                <a:gd name="T48" fmla="*/ 316 w 188"/>
                <a:gd name="T49" fmla="*/ 37 h 869"/>
                <a:gd name="T50" fmla="*/ 316 w 188"/>
                <a:gd name="T51" fmla="*/ 34 h 869"/>
                <a:gd name="T52" fmla="*/ 325 w 188"/>
                <a:gd name="T53" fmla="*/ 30 h 869"/>
                <a:gd name="T54" fmla="*/ 325 w 188"/>
                <a:gd name="T55" fmla="*/ 26 h 869"/>
                <a:gd name="T56" fmla="*/ 334 w 188"/>
                <a:gd name="T57" fmla="*/ 24 h 869"/>
                <a:gd name="T58" fmla="*/ 334 w 188"/>
                <a:gd name="T59" fmla="*/ 22 h 869"/>
                <a:gd name="T60" fmla="*/ 334 w 188"/>
                <a:gd name="T61" fmla="*/ 18 h 869"/>
                <a:gd name="T62" fmla="*/ 345 w 188"/>
                <a:gd name="T63" fmla="*/ 16 h 869"/>
                <a:gd name="T64" fmla="*/ 345 w 188"/>
                <a:gd name="T65" fmla="*/ 14 h 869"/>
                <a:gd name="T66" fmla="*/ 354 w 188"/>
                <a:gd name="T67" fmla="*/ 13 h 869"/>
                <a:gd name="T68" fmla="*/ 361 w 188"/>
                <a:gd name="T69" fmla="*/ 11 h 869"/>
                <a:gd name="T70" fmla="*/ 361 w 188"/>
                <a:gd name="T71" fmla="*/ 10 h 869"/>
                <a:gd name="T72" fmla="*/ 371 w 188"/>
                <a:gd name="T73" fmla="*/ 9 h 869"/>
                <a:gd name="T74" fmla="*/ 371 w 188"/>
                <a:gd name="T75" fmla="*/ 6 h 869"/>
                <a:gd name="T76" fmla="*/ 345 w 188"/>
                <a:gd name="T77" fmla="*/ 5 h 869"/>
                <a:gd name="T78" fmla="*/ 298 w 188"/>
                <a:gd name="T79" fmla="*/ 5 h 869"/>
                <a:gd name="T80" fmla="*/ 253 w 188"/>
                <a:gd name="T81" fmla="*/ 5 h 869"/>
                <a:gd name="T82" fmla="*/ 200 w 188"/>
                <a:gd name="T83" fmla="*/ 5 h 869"/>
                <a:gd name="T84" fmla="*/ 153 w 188"/>
                <a:gd name="T85" fmla="*/ 5 h 869"/>
                <a:gd name="T86" fmla="*/ 110 w 188"/>
                <a:gd name="T87" fmla="*/ 0 h 86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8"/>
                <a:gd name="T133" fmla="*/ 0 h 869"/>
                <a:gd name="T134" fmla="*/ 188 w 188"/>
                <a:gd name="T135" fmla="*/ 869 h 86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8" h="869">
                  <a:moveTo>
                    <a:pt x="55" y="0"/>
                  </a:moveTo>
                  <a:lnTo>
                    <a:pt x="0" y="860"/>
                  </a:lnTo>
                  <a:lnTo>
                    <a:pt x="9" y="860"/>
                  </a:lnTo>
                  <a:lnTo>
                    <a:pt x="19" y="863"/>
                  </a:lnTo>
                  <a:lnTo>
                    <a:pt x="28" y="863"/>
                  </a:lnTo>
                  <a:lnTo>
                    <a:pt x="37" y="866"/>
                  </a:lnTo>
                  <a:lnTo>
                    <a:pt x="51" y="866"/>
                  </a:lnTo>
                  <a:lnTo>
                    <a:pt x="64" y="869"/>
                  </a:lnTo>
                  <a:lnTo>
                    <a:pt x="69" y="869"/>
                  </a:lnTo>
                  <a:lnTo>
                    <a:pt x="83" y="869"/>
                  </a:lnTo>
                  <a:lnTo>
                    <a:pt x="92" y="869"/>
                  </a:lnTo>
                  <a:lnTo>
                    <a:pt x="105" y="869"/>
                  </a:lnTo>
                  <a:lnTo>
                    <a:pt x="119" y="866"/>
                  </a:lnTo>
                  <a:lnTo>
                    <a:pt x="128" y="860"/>
                  </a:lnTo>
                  <a:lnTo>
                    <a:pt x="128" y="857"/>
                  </a:lnTo>
                  <a:lnTo>
                    <a:pt x="128" y="849"/>
                  </a:lnTo>
                  <a:lnTo>
                    <a:pt x="128" y="843"/>
                  </a:lnTo>
                  <a:lnTo>
                    <a:pt x="128" y="838"/>
                  </a:lnTo>
                  <a:lnTo>
                    <a:pt x="128" y="829"/>
                  </a:lnTo>
                  <a:lnTo>
                    <a:pt x="133" y="823"/>
                  </a:lnTo>
                  <a:lnTo>
                    <a:pt x="133" y="812"/>
                  </a:lnTo>
                  <a:lnTo>
                    <a:pt x="133" y="803"/>
                  </a:lnTo>
                  <a:lnTo>
                    <a:pt x="133" y="795"/>
                  </a:lnTo>
                  <a:lnTo>
                    <a:pt x="133" y="786"/>
                  </a:lnTo>
                  <a:lnTo>
                    <a:pt x="133" y="775"/>
                  </a:lnTo>
                  <a:lnTo>
                    <a:pt x="137" y="761"/>
                  </a:lnTo>
                  <a:lnTo>
                    <a:pt x="137" y="749"/>
                  </a:lnTo>
                  <a:lnTo>
                    <a:pt x="137" y="738"/>
                  </a:lnTo>
                  <a:lnTo>
                    <a:pt x="137" y="724"/>
                  </a:lnTo>
                  <a:lnTo>
                    <a:pt x="137" y="709"/>
                  </a:lnTo>
                  <a:lnTo>
                    <a:pt x="137" y="695"/>
                  </a:lnTo>
                  <a:lnTo>
                    <a:pt x="142" y="678"/>
                  </a:lnTo>
                  <a:lnTo>
                    <a:pt x="142" y="664"/>
                  </a:lnTo>
                  <a:lnTo>
                    <a:pt x="142" y="650"/>
                  </a:lnTo>
                  <a:lnTo>
                    <a:pt x="142" y="635"/>
                  </a:lnTo>
                  <a:lnTo>
                    <a:pt x="147" y="618"/>
                  </a:lnTo>
                  <a:lnTo>
                    <a:pt x="147" y="601"/>
                  </a:lnTo>
                  <a:lnTo>
                    <a:pt x="147" y="584"/>
                  </a:lnTo>
                  <a:lnTo>
                    <a:pt x="147" y="567"/>
                  </a:lnTo>
                  <a:lnTo>
                    <a:pt x="147" y="550"/>
                  </a:lnTo>
                  <a:lnTo>
                    <a:pt x="147" y="533"/>
                  </a:lnTo>
                  <a:lnTo>
                    <a:pt x="147" y="519"/>
                  </a:lnTo>
                  <a:lnTo>
                    <a:pt x="151" y="499"/>
                  </a:lnTo>
                  <a:lnTo>
                    <a:pt x="156" y="482"/>
                  </a:lnTo>
                  <a:lnTo>
                    <a:pt x="156" y="464"/>
                  </a:lnTo>
                  <a:lnTo>
                    <a:pt x="156" y="447"/>
                  </a:lnTo>
                  <a:lnTo>
                    <a:pt x="156" y="430"/>
                  </a:lnTo>
                  <a:lnTo>
                    <a:pt x="160" y="410"/>
                  </a:lnTo>
                  <a:lnTo>
                    <a:pt x="160" y="396"/>
                  </a:lnTo>
                  <a:lnTo>
                    <a:pt x="160" y="376"/>
                  </a:lnTo>
                  <a:lnTo>
                    <a:pt x="160" y="362"/>
                  </a:lnTo>
                  <a:lnTo>
                    <a:pt x="160" y="345"/>
                  </a:lnTo>
                  <a:lnTo>
                    <a:pt x="160" y="328"/>
                  </a:lnTo>
                  <a:lnTo>
                    <a:pt x="165" y="311"/>
                  </a:lnTo>
                  <a:lnTo>
                    <a:pt x="165" y="294"/>
                  </a:lnTo>
                  <a:lnTo>
                    <a:pt x="165" y="282"/>
                  </a:lnTo>
                  <a:lnTo>
                    <a:pt x="165" y="265"/>
                  </a:lnTo>
                  <a:lnTo>
                    <a:pt x="169" y="251"/>
                  </a:lnTo>
                  <a:lnTo>
                    <a:pt x="169" y="237"/>
                  </a:lnTo>
                  <a:lnTo>
                    <a:pt x="169" y="222"/>
                  </a:lnTo>
                  <a:lnTo>
                    <a:pt x="169" y="208"/>
                  </a:lnTo>
                  <a:lnTo>
                    <a:pt x="169" y="194"/>
                  </a:lnTo>
                  <a:lnTo>
                    <a:pt x="174" y="183"/>
                  </a:lnTo>
                  <a:lnTo>
                    <a:pt x="174" y="171"/>
                  </a:lnTo>
                  <a:lnTo>
                    <a:pt x="174" y="160"/>
                  </a:lnTo>
                  <a:lnTo>
                    <a:pt x="174" y="148"/>
                  </a:lnTo>
                  <a:lnTo>
                    <a:pt x="179" y="140"/>
                  </a:lnTo>
                  <a:lnTo>
                    <a:pt x="179" y="131"/>
                  </a:lnTo>
                  <a:lnTo>
                    <a:pt x="179" y="123"/>
                  </a:lnTo>
                  <a:lnTo>
                    <a:pt x="183" y="114"/>
                  </a:lnTo>
                  <a:lnTo>
                    <a:pt x="183" y="106"/>
                  </a:lnTo>
                  <a:lnTo>
                    <a:pt x="183" y="103"/>
                  </a:lnTo>
                  <a:lnTo>
                    <a:pt x="183" y="91"/>
                  </a:lnTo>
                  <a:lnTo>
                    <a:pt x="188" y="89"/>
                  </a:lnTo>
                  <a:lnTo>
                    <a:pt x="188" y="77"/>
                  </a:lnTo>
                  <a:lnTo>
                    <a:pt x="188" y="69"/>
                  </a:lnTo>
                  <a:lnTo>
                    <a:pt x="179" y="60"/>
                  </a:lnTo>
                  <a:lnTo>
                    <a:pt x="174" y="54"/>
                  </a:lnTo>
                  <a:lnTo>
                    <a:pt x="160" y="46"/>
                  </a:lnTo>
                  <a:lnTo>
                    <a:pt x="151" y="40"/>
                  </a:lnTo>
                  <a:lnTo>
                    <a:pt x="137" y="35"/>
                  </a:lnTo>
                  <a:lnTo>
                    <a:pt x="128" y="29"/>
                  </a:lnTo>
                  <a:lnTo>
                    <a:pt x="115" y="20"/>
                  </a:lnTo>
                  <a:lnTo>
                    <a:pt x="101" y="15"/>
                  </a:lnTo>
                  <a:lnTo>
                    <a:pt x="87" y="12"/>
                  </a:lnTo>
                  <a:lnTo>
                    <a:pt x="78" y="9"/>
                  </a:lnTo>
                  <a:lnTo>
                    <a:pt x="60" y="3"/>
                  </a:lnTo>
                  <a:lnTo>
                    <a:pt x="55"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28" name="Freeform 218"/>
            <p:cNvSpPr>
              <a:spLocks/>
            </p:cNvSpPr>
            <p:nvPr>
              <p:custDataLst>
                <p:tags r:id="rId127"/>
              </p:custDataLst>
            </p:nvPr>
          </p:nvSpPr>
          <p:spPr bwMode="gray">
            <a:xfrm>
              <a:off x="3443" y="1961"/>
              <a:ext cx="188" cy="716"/>
            </a:xfrm>
            <a:custGeom>
              <a:avLst/>
              <a:gdLst>
                <a:gd name="T0" fmla="*/ 276 w 183"/>
                <a:gd name="T1" fmla="*/ 5 h 783"/>
                <a:gd name="T2" fmla="*/ 285 w 183"/>
                <a:gd name="T3" fmla="*/ 5 h 783"/>
                <a:gd name="T4" fmla="*/ 304 w 183"/>
                <a:gd name="T5" fmla="*/ 6 h 783"/>
                <a:gd name="T6" fmla="*/ 304 w 183"/>
                <a:gd name="T7" fmla="*/ 11 h 783"/>
                <a:gd name="T8" fmla="*/ 322 w 183"/>
                <a:gd name="T9" fmla="*/ 15 h 783"/>
                <a:gd name="T10" fmla="*/ 334 w 183"/>
                <a:gd name="T11" fmla="*/ 18 h 783"/>
                <a:gd name="T12" fmla="*/ 342 w 183"/>
                <a:gd name="T13" fmla="*/ 24 h 783"/>
                <a:gd name="T14" fmla="*/ 342 w 183"/>
                <a:gd name="T15" fmla="*/ 28 h 783"/>
                <a:gd name="T16" fmla="*/ 351 w 183"/>
                <a:gd name="T17" fmla="*/ 34 h 783"/>
                <a:gd name="T18" fmla="*/ 359 w 183"/>
                <a:gd name="T19" fmla="*/ 37 h 783"/>
                <a:gd name="T20" fmla="*/ 369 w 183"/>
                <a:gd name="T21" fmla="*/ 44 h 783"/>
                <a:gd name="T22" fmla="*/ 369 w 183"/>
                <a:gd name="T23" fmla="*/ 48 h 783"/>
                <a:gd name="T24" fmla="*/ 369 w 183"/>
                <a:gd name="T25" fmla="*/ 53 h 783"/>
                <a:gd name="T26" fmla="*/ 369 w 183"/>
                <a:gd name="T27" fmla="*/ 57 h 783"/>
                <a:gd name="T28" fmla="*/ 369 w 183"/>
                <a:gd name="T29" fmla="*/ 61 h 783"/>
                <a:gd name="T30" fmla="*/ 369 w 183"/>
                <a:gd name="T31" fmla="*/ 65 h 783"/>
                <a:gd name="T32" fmla="*/ 369 w 183"/>
                <a:gd name="T33" fmla="*/ 69 h 783"/>
                <a:gd name="T34" fmla="*/ 369 w 183"/>
                <a:gd name="T35" fmla="*/ 71 h 783"/>
                <a:gd name="T36" fmla="*/ 369 w 183"/>
                <a:gd name="T37" fmla="*/ 73 h 783"/>
                <a:gd name="T38" fmla="*/ 359 w 183"/>
                <a:gd name="T39" fmla="*/ 76 h 783"/>
                <a:gd name="T40" fmla="*/ 351 w 183"/>
                <a:gd name="T41" fmla="*/ 77 h 783"/>
                <a:gd name="T42" fmla="*/ 259 w 183"/>
                <a:gd name="T43" fmla="*/ 76 h 783"/>
                <a:gd name="T44" fmla="*/ 155 w 183"/>
                <a:gd name="T45" fmla="*/ 76 h 783"/>
                <a:gd name="T46" fmla="*/ 128 w 183"/>
                <a:gd name="T47" fmla="*/ 76 h 783"/>
                <a:gd name="T48" fmla="*/ 128 w 183"/>
                <a:gd name="T49" fmla="*/ 74 h 783"/>
                <a:gd name="T50" fmla="*/ 128 w 183"/>
                <a:gd name="T51" fmla="*/ 71 h 783"/>
                <a:gd name="T52" fmla="*/ 128 w 183"/>
                <a:gd name="T53" fmla="*/ 69 h 783"/>
                <a:gd name="T54" fmla="*/ 120 w 183"/>
                <a:gd name="T55" fmla="*/ 66 h 783"/>
                <a:gd name="T56" fmla="*/ 120 w 183"/>
                <a:gd name="T57" fmla="*/ 63 h 783"/>
                <a:gd name="T58" fmla="*/ 120 w 183"/>
                <a:gd name="T59" fmla="*/ 59 h 783"/>
                <a:gd name="T60" fmla="*/ 114 w 183"/>
                <a:gd name="T61" fmla="*/ 56 h 783"/>
                <a:gd name="T62" fmla="*/ 99 w 183"/>
                <a:gd name="T63" fmla="*/ 52 h 783"/>
                <a:gd name="T64" fmla="*/ 99 w 183"/>
                <a:gd name="T65" fmla="*/ 48 h 783"/>
                <a:gd name="T66" fmla="*/ 99 w 183"/>
                <a:gd name="T67" fmla="*/ 44 h 783"/>
                <a:gd name="T68" fmla="*/ 89 w 183"/>
                <a:gd name="T69" fmla="*/ 40 h 783"/>
                <a:gd name="T70" fmla="*/ 89 w 183"/>
                <a:gd name="T71" fmla="*/ 36 h 783"/>
                <a:gd name="T72" fmla="*/ 89 w 183"/>
                <a:gd name="T73" fmla="*/ 31 h 783"/>
                <a:gd name="T74" fmla="*/ 89 w 183"/>
                <a:gd name="T75" fmla="*/ 28 h 783"/>
                <a:gd name="T76" fmla="*/ 89 w 183"/>
                <a:gd name="T77" fmla="*/ 25 h 783"/>
                <a:gd name="T78" fmla="*/ 89 w 183"/>
                <a:gd name="T79" fmla="*/ 22 h 783"/>
                <a:gd name="T80" fmla="*/ 89 w 183"/>
                <a:gd name="T81" fmla="*/ 20 h 783"/>
                <a:gd name="T82" fmla="*/ 89 w 183"/>
                <a:gd name="T83" fmla="*/ 16 h 783"/>
                <a:gd name="T84" fmla="*/ 89 w 183"/>
                <a:gd name="T85" fmla="*/ 15 h 783"/>
                <a:gd name="T86" fmla="*/ 79 w 183"/>
                <a:gd name="T87" fmla="*/ 13 h 783"/>
                <a:gd name="T88" fmla="*/ 71 w 183"/>
                <a:gd name="T89" fmla="*/ 10 h 783"/>
                <a:gd name="T90" fmla="*/ 53 w 183"/>
                <a:gd name="T91" fmla="*/ 6 h 783"/>
                <a:gd name="T92" fmla="*/ 14 w 183"/>
                <a:gd name="T93" fmla="*/ 5 h 783"/>
                <a:gd name="T94" fmla="*/ 0 w 183"/>
                <a:gd name="T95" fmla="*/ 5 h 783"/>
                <a:gd name="T96" fmla="*/ 269 w 183"/>
                <a:gd name="T97" fmla="*/ 0 h 7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3"/>
                <a:gd name="T148" fmla="*/ 0 h 783"/>
                <a:gd name="T149" fmla="*/ 183 w 183"/>
                <a:gd name="T150" fmla="*/ 783 h 78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3" h="783">
                  <a:moveTo>
                    <a:pt x="133" y="0"/>
                  </a:moveTo>
                  <a:lnTo>
                    <a:pt x="133" y="5"/>
                  </a:lnTo>
                  <a:lnTo>
                    <a:pt x="137" y="11"/>
                  </a:lnTo>
                  <a:lnTo>
                    <a:pt x="137" y="20"/>
                  </a:lnTo>
                  <a:lnTo>
                    <a:pt x="142" y="28"/>
                  </a:lnTo>
                  <a:lnTo>
                    <a:pt x="142" y="39"/>
                  </a:lnTo>
                  <a:lnTo>
                    <a:pt x="146" y="48"/>
                  </a:lnTo>
                  <a:lnTo>
                    <a:pt x="146" y="59"/>
                  </a:lnTo>
                  <a:lnTo>
                    <a:pt x="151" y="71"/>
                  </a:lnTo>
                  <a:lnTo>
                    <a:pt x="151" y="82"/>
                  </a:lnTo>
                  <a:lnTo>
                    <a:pt x="151" y="94"/>
                  </a:lnTo>
                  <a:lnTo>
                    <a:pt x="151" y="108"/>
                  </a:lnTo>
                  <a:lnTo>
                    <a:pt x="155" y="122"/>
                  </a:lnTo>
                  <a:lnTo>
                    <a:pt x="155" y="136"/>
                  </a:lnTo>
                  <a:lnTo>
                    <a:pt x="160" y="151"/>
                  </a:lnTo>
                  <a:lnTo>
                    <a:pt x="160" y="165"/>
                  </a:lnTo>
                  <a:lnTo>
                    <a:pt x="165" y="179"/>
                  </a:lnTo>
                  <a:lnTo>
                    <a:pt x="165" y="193"/>
                  </a:lnTo>
                  <a:lnTo>
                    <a:pt x="165" y="207"/>
                  </a:lnTo>
                  <a:lnTo>
                    <a:pt x="169" y="225"/>
                  </a:lnTo>
                  <a:lnTo>
                    <a:pt x="169" y="242"/>
                  </a:lnTo>
                  <a:lnTo>
                    <a:pt x="169" y="256"/>
                  </a:lnTo>
                  <a:lnTo>
                    <a:pt x="169" y="273"/>
                  </a:lnTo>
                  <a:lnTo>
                    <a:pt x="169" y="290"/>
                  </a:lnTo>
                  <a:lnTo>
                    <a:pt x="174" y="307"/>
                  </a:lnTo>
                  <a:lnTo>
                    <a:pt x="174" y="324"/>
                  </a:lnTo>
                  <a:lnTo>
                    <a:pt x="174" y="338"/>
                  </a:lnTo>
                  <a:lnTo>
                    <a:pt x="174" y="356"/>
                  </a:lnTo>
                  <a:lnTo>
                    <a:pt x="178" y="373"/>
                  </a:lnTo>
                  <a:lnTo>
                    <a:pt x="178" y="390"/>
                  </a:lnTo>
                  <a:lnTo>
                    <a:pt x="178" y="407"/>
                  </a:lnTo>
                  <a:lnTo>
                    <a:pt x="183" y="424"/>
                  </a:lnTo>
                  <a:lnTo>
                    <a:pt x="183" y="444"/>
                  </a:lnTo>
                  <a:lnTo>
                    <a:pt x="183" y="458"/>
                  </a:lnTo>
                  <a:lnTo>
                    <a:pt x="183" y="475"/>
                  </a:lnTo>
                  <a:lnTo>
                    <a:pt x="183" y="489"/>
                  </a:lnTo>
                  <a:lnTo>
                    <a:pt x="183" y="509"/>
                  </a:lnTo>
                  <a:lnTo>
                    <a:pt x="183" y="521"/>
                  </a:lnTo>
                  <a:lnTo>
                    <a:pt x="183" y="538"/>
                  </a:lnTo>
                  <a:lnTo>
                    <a:pt x="183" y="555"/>
                  </a:lnTo>
                  <a:lnTo>
                    <a:pt x="183" y="569"/>
                  </a:lnTo>
                  <a:lnTo>
                    <a:pt x="183" y="583"/>
                  </a:lnTo>
                  <a:lnTo>
                    <a:pt x="183" y="598"/>
                  </a:lnTo>
                  <a:lnTo>
                    <a:pt x="183" y="612"/>
                  </a:lnTo>
                  <a:lnTo>
                    <a:pt x="183" y="626"/>
                  </a:lnTo>
                  <a:lnTo>
                    <a:pt x="183" y="637"/>
                  </a:lnTo>
                  <a:lnTo>
                    <a:pt x="183" y="655"/>
                  </a:lnTo>
                  <a:lnTo>
                    <a:pt x="183" y="666"/>
                  </a:lnTo>
                  <a:lnTo>
                    <a:pt x="183" y="680"/>
                  </a:lnTo>
                  <a:lnTo>
                    <a:pt x="183" y="689"/>
                  </a:lnTo>
                  <a:lnTo>
                    <a:pt x="183" y="700"/>
                  </a:lnTo>
                  <a:lnTo>
                    <a:pt x="183" y="709"/>
                  </a:lnTo>
                  <a:lnTo>
                    <a:pt x="183" y="720"/>
                  </a:lnTo>
                  <a:lnTo>
                    <a:pt x="183" y="729"/>
                  </a:lnTo>
                  <a:lnTo>
                    <a:pt x="183" y="737"/>
                  </a:lnTo>
                  <a:lnTo>
                    <a:pt x="183" y="746"/>
                  </a:lnTo>
                  <a:lnTo>
                    <a:pt x="183" y="751"/>
                  </a:lnTo>
                  <a:lnTo>
                    <a:pt x="178" y="760"/>
                  </a:lnTo>
                  <a:lnTo>
                    <a:pt x="178" y="766"/>
                  </a:lnTo>
                  <a:lnTo>
                    <a:pt x="178" y="771"/>
                  </a:lnTo>
                  <a:lnTo>
                    <a:pt x="178" y="774"/>
                  </a:lnTo>
                  <a:lnTo>
                    <a:pt x="174" y="780"/>
                  </a:lnTo>
                  <a:lnTo>
                    <a:pt x="174" y="783"/>
                  </a:lnTo>
                  <a:lnTo>
                    <a:pt x="165" y="780"/>
                  </a:lnTo>
                  <a:lnTo>
                    <a:pt x="151" y="780"/>
                  </a:lnTo>
                  <a:lnTo>
                    <a:pt x="128" y="780"/>
                  </a:lnTo>
                  <a:lnTo>
                    <a:pt x="110" y="780"/>
                  </a:lnTo>
                  <a:lnTo>
                    <a:pt x="96" y="777"/>
                  </a:lnTo>
                  <a:lnTo>
                    <a:pt x="78" y="777"/>
                  </a:lnTo>
                  <a:lnTo>
                    <a:pt x="69" y="777"/>
                  </a:lnTo>
                  <a:lnTo>
                    <a:pt x="64" y="777"/>
                  </a:lnTo>
                  <a:lnTo>
                    <a:pt x="64" y="771"/>
                  </a:lnTo>
                  <a:lnTo>
                    <a:pt x="64" y="763"/>
                  </a:lnTo>
                  <a:lnTo>
                    <a:pt x="64" y="754"/>
                  </a:lnTo>
                  <a:lnTo>
                    <a:pt x="64" y="749"/>
                  </a:lnTo>
                  <a:lnTo>
                    <a:pt x="64" y="740"/>
                  </a:lnTo>
                  <a:lnTo>
                    <a:pt x="64" y="734"/>
                  </a:lnTo>
                  <a:lnTo>
                    <a:pt x="64" y="726"/>
                  </a:lnTo>
                  <a:lnTo>
                    <a:pt x="64" y="714"/>
                  </a:lnTo>
                  <a:lnTo>
                    <a:pt x="64" y="709"/>
                  </a:lnTo>
                  <a:lnTo>
                    <a:pt x="64" y="700"/>
                  </a:lnTo>
                  <a:lnTo>
                    <a:pt x="64" y="692"/>
                  </a:lnTo>
                  <a:lnTo>
                    <a:pt x="59" y="680"/>
                  </a:lnTo>
                  <a:lnTo>
                    <a:pt x="59" y="669"/>
                  </a:lnTo>
                  <a:lnTo>
                    <a:pt x="59" y="657"/>
                  </a:lnTo>
                  <a:lnTo>
                    <a:pt x="59" y="646"/>
                  </a:lnTo>
                  <a:lnTo>
                    <a:pt x="59" y="632"/>
                  </a:lnTo>
                  <a:lnTo>
                    <a:pt x="59" y="620"/>
                  </a:lnTo>
                  <a:lnTo>
                    <a:pt x="59" y="609"/>
                  </a:lnTo>
                  <a:lnTo>
                    <a:pt x="59" y="598"/>
                  </a:lnTo>
                  <a:lnTo>
                    <a:pt x="55" y="583"/>
                  </a:lnTo>
                  <a:lnTo>
                    <a:pt x="55" y="572"/>
                  </a:lnTo>
                  <a:lnTo>
                    <a:pt x="50" y="558"/>
                  </a:lnTo>
                  <a:lnTo>
                    <a:pt x="50" y="543"/>
                  </a:lnTo>
                  <a:lnTo>
                    <a:pt x="50" y="529"/>
                  </a:lnTo>
                  <a:lnTo>
                    <a:pt x="50" y="521"/>
                  </a:lnTo>
                  <a:lnTo>
                    <a:pt x="50" y="506"/>
                  </a:lnTo>
                  <a:lnTo>
                    <a:pt x="50" y="492"/>
                  </a:lnTo>
                  <a:lnTo>
                    <a:pt x="50" y="478"/>
                  </a:lnTo>
                  <a:lnTo>
                    <a:pt x="50" y="464"/>
                  </a:lnTo>
                  <a:lnTo>
                    <a:pt x="50" y="450"/>
                  </a:lnTo>
                  <a:lnTo>
                    <a:pt x="50" y="435"/>
                  </a:lnTo>
                  <a:lnTo>
                    <a:pt x="46" y="421"/>
                  </a:lnTo>
                  <a:lnTo>
                    <a:pt x="46" y="407"/>
                  </a:lnTo>
                  <a:lnTo>
                    <a:pt x="46" y="393"/>
                  </a:lnTo>
                  <a:lnTo>
                    <a:pt x="46" y="381"/>
                  </a:lnTo>
                  <a:lnTo>
                    <a:pt x="46" y="367"/>
                  </a:lnTo>
                  <a:lnTo>
                    <a:pt x="46" y="353"/>
                  </a:lnTo>
                  <a:lnTo>
                    <a:pt x="46" y="338"/>
                  </a:lnTo>
                  <a:lnTo>
                    <a:pt x="46" y="327"/>
                  </a:lnTo>
                  <a:lnTo>
                    <a:pt x="46" y="313"/>
                  </a:lnTo>
                  <a:lnTo>
                    <a:pt x="46" y="301"/>
                  </a:lnTo>
                  <a:lnTo>
                    <a:pt x="46" y="290"/>
                  </a:lnTo>
                  <a:lnTo>
                    <a:pt x="46" y="279"/>
                  </a:lnTo>
                  <a:lnTo>
                    <a:pt x="46" y="267"/>
                  </a:lnTo>
                  <a:lnTo>
                    <a:pt x="46" y="256"/>
                  </a:lnTo>
                  <a:lnTo>
                    <a:pt x="46" y="244"/>
                  </a:lnTo>
                  <a:lnTo>
                    <a:pt x="46" y="233"/>
                  </a:lnTo>
                  <a:lnTo>
                    <a:pt x="46" y="225"/>
                  </a:lnTo>
                  <a:lnTo>
                    <a:pt x="46" y="213"/>
                  </a:lnTo>
                  <a:lnTo>
                    <a:pt x="46" y="207"/>
                  </a:lnTo>
                  <a:lnTo>
                    <a:pt x="46" y="199"/>
                  </a:lnTo>
                  <a:lnTo>
                    <a:pt x="46" y="188"/>
                  </a:lnTo>
                  <a:lnTo>
                    <a:pt x="46" y="182"/>
                  </a:lnTo>
                  <a:lnTo>
                    <a:pt x="46" y="176"/>
                  </a:lnTo>
                  <a:lnTo>
                    <a:pt x="46" y="170"/>
                  </a:lnTo>
                  <a:lnTo>
                    <a:pt x="46" y="159"/>
                  </a:lnTo>
                  <a:lnTo>
                    <a:pt x="46" y="153"/>
                  </a:lnTo>
                  <a:lnTo>
                    <a:pt x="41" y="145"/>
                  </a:lnTo>
                  <a:lnTo>
                    <a:pt x="41" y="136"/>
                  </a:lnTo>
                  <a:lnTo>
                    <a:pt x="41" y="131"/>
                  </a:lnTo>
                  <a:lnTo>
                    <a:pt x="41" y="125"/>
                  </a:lnTo>
                  <a:lnTo>
                    <a:pt x="41" y="113"/>
                  </a:lnTo>
                  <a:lnTo>
                    <a:pt x="37" y="102"/>
                  </a:lnTo>
                  <a:lnTo>
                    <a:pt x="32" y="91"/>
                  </a:lnTo>
                  <a:lnTo>
                    <a:pt x="27" y="79"/>
                  </a:lnTo>
                  <a:lnTo>
                    <a:pt x="27" y="71"/>
                  </a:lnTo>
                  <a:lnTo>
                    <a:pt x="23" y="62"/>
                  </a:lnTo>
                  <a:lnTo>
                    <a:pt x="18" y="54"/>
                  </a:lnTo>
                  <a:lnTo>
                    <a:pt x="14" y="48"/>
                  </a:lnTo>
                  <a:lnTo>
                    <a:pt x="9" y="39"/>
                  </a:lnTo>
                  <a:lnTo>
                    <a:pt x="5" y="37"/>
                  </a:lnTo>
                  <a:lnTo>
                    <a:pt x="0" y="31"/>
                  </a:lnTo>
                  <a:lnTo>
                    <a:pt x="0" y="28"/>
                  </a:lnTo>
                  <a:lnTo>
                    <a:pt x="133"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29" name="Freeform 219"/>
            <p:cNvSpPr>
              <a:spLocks/>
            </p:cNvSpPr>
            <p:nvPr>
              <p:custDataLst>
                <p:tags r:id="rId128"/>
              </p:custDataLst>
            </p:nvPr>
          </p:nvSpPr>
          <p:spPr bwMode="gray">
            <a:xfrm>
              <a:off x="1495" y="2448"/>
              <a:ext cx="168" cy="93"/>
            </a:xfrm>
            <a:custGeom>
              <a:avLst/>
              <a:gdLst>
                <a:gd name="T0" fmla="*/ 58 w 164"/>
                <a:gd name="T1" fmla="*/ 3 h 103"/>
                <a:gd name="T2" fmla="*/ 49 w 164"/>
                <a:gd name="T3" fmla="*/ 5 h 103"/>
                <a:gd name="T4" fmla="*/ 14 w 164"/>
                <a:gd name="T5" fmla="*/ 5 h 103"/>
                <a:gd name="T6" fmla="*/ 9 w 164"/>
                <a:gd name="T7" fmla="*/ 5 h 103"/>
                <a:gd name="T8" fmla="*/ 4 w 164"/>
                <a:gd name="T9" fmla="*/ 5 h 103"/>
                <a:gd name="T10" fmla="*/ 0 w 164"/>
                <a:gd name="T11" fmla="*/ 5 h 103"/>
                <a:gd name="T12" fmla="*/ 0 w 164"/>
                <a:gd name="T13" fmla="*/ 5 h 103"/>
                <a:gd name="T14" fmla="*/ 0 w 164"/>
                <a:gd name="T15" fmla="*/ 5 h 103"/>
                <a:gd name="T16" fmla="*/ 4 w 164"/>
                <a:gd name="T17" fmla="*/ 5 h 103"/>
                <a:gd name="T18" fmla="*/ 4 w 164"/>
                <a:gd name="T19" fmla="*/ 5 h 103"/>
                <a:gd name="T20" fmla="*/ 14 w 164"/>
                <a:gd name="T21" fmla="*/ 6 h 103"/>
                <a:gd name="T22" fmla="*/ 49 w 164"/>
                <a:gd name="T23" fmla="*/ 6 h 103"/>
                <a:gd name="T24" fmla="*/ 58 w 164"/>
                <a:gd name="T25" fmla="*/ 7 h 103"/>
                <a:gd name="T26" fmla="*/ 82 w 164"/>
                <a:gd name="T27" fmla="*/ 7 h 103"/>
                <a:gd name="T28" fmla="*/ 110 w 164"/>
                <a:gd name="T29" fmla="*/ 7 h 103"/>
                <a:gd name="T30" fmla="*/ 136 w 164"/>
                <a:gd name="T31" fmla="*/ 7 h 103"/>
                <a:gd name="T32" fmla="*/ 169 w 164"/>
                <a:gd name="T33" fmla="*/ 8 h 103"/>
                <a:gd name="T34" fmla="*/ 198 w 164"/>
                <a:gd name="T35" fmla="*/ 7 h 103"/>
                <a:gd name="T36" fmla="*/ 213 w 164"/>
                <a:gd name="T37" fmla="*/ 7 h 103"/>
                <a:gd name="T38" fmla="*/ 228 w 164"/>
                <a:gd name="T39" fmla="*/ 7 h 103"/>
                <a:gd name="T40" fmla="*/ 256 w 164"/>
                <a:gd name="T41" fmla="*/ 7 h 103"/>
                <a:gd name="T42" fmla="*/ 283 w 164"/>
                <a:gd name="T43" fmla="*/ 6 h 103"/>
                <a:gd name="T44" fmla="*/ 290 w 164"/>
                <a:gd name="T45" fmla="*/ 5 h 103"/>
                <a:gd name="T46" fmla="*/ 298 w 164"/>
                <a:gd name="T47" fmla="*/ 5 h 103"/>
                <a:gd name="T48" fmla="*/ 305 w 164"/>
                <a:gd name="T49" fmla="*/ 5 h 103"/>
                <a:gd name="T50" fmla="*/ 298 w 164"/>
                <a:gd name="T51" fmla="*/ 5 h 103"/>
                <a:gd name="T52" fmla="*/ 298 w 164"/>
                <a:gd name="T53" fmla="*/ 5 h 103"/>
                <a:gd name="T54" fmla="*/ 290 w 164"/>
                <a:gd name="T55" fmla="*/ 5 h 103"/>
                <a:gd name="T56" fmla="*/ 283 w 164"/>
                <a:gd name="T57" fmla="*/ 5 h 103"/>
                <a:gd name="T58" fmla="*/ 256 w 164"/>
                <a:gd name="T59" fmla="*/ 5 h 103"/>
                <a:gd name="T60" fmla="*/ 221 w 164"/>
                <a:gd name="T61" fmla="*/ 5 h 103"/>
                <a:gd name="T62" fmla="*/ 206 w 164"/>
                <a:gd name="T63" fmla="*/ 5 h 103"/>
                <a:gd name="T64" fmla="*/ 186 w 164"/>
                <a:gd name="T65" fmla="*/ 3 h 103"/>
                <a:gd name="T66" fmla="*/ 169 w 164"/>
                <a:gd name="T67" fmla="*/ 3 h 103"/>
                <a:gd name="T68" fmla="*/ 150 w 164"/>
                <a:gd name="T69" fmla="*/ 3 h 103"/>
                <a:gd name="T70" fmla="*/ 110 w 164"/>
                <a:gd name="T71" fmla="*/ 0 h 103"/>
                <a:gd name="T72" fmla="*/ 82 w 164"/>
                <a:gd name="T73" fmla="*/ 0 h 103"/>
                <a:gd name="T74" fmla="*/ 62 w 164"/>
                <a:gd name="T75" fmla="*/ 0 h 103"/>
                <a:gd name="T76" fmla="*/ 58 w 164"/>
                <a:gd name="T77" fmla="*/ 3 h 103"/>
                <a:gd name="T78" fmla="*/ 58 w 164"/>
                <a:gd name="T79" fmla="*/ 3 h 10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4"/>
                <a:gd name="T121" fmla="*/ 0 h 103"/>
                <a:gd name="T122" fmla="*/ 164 w 164"/>
                <a:gd name="T123" fmla="*/ 103 h 10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4" h="103">
                  <a:moveTo>
                    <a:pt x="32" y="3"/>
                  </a:moveTo>
                  <a:lnTo>
                    <a:pt x="23" y="11"/>
                  </a:lnTo>
                  <a:lnTo>
                    <a:pt x="14" y="23"/>
                  </a:lnTo>
                  <a:lnTo>
                    <a:pt x="9" y="31"/>
                  </a:lnTo>
                  <a:lnTo>
                    <a:pt x="4" y="40"/>
                  </a:lnTo>
                  <a:lnTo>
                    <a:pt x="0" y="46"/>
                  </a:lnTo>
                  <a:lnTo>
                    <a:pt x="0" y="51"/>
                  </a:lnTo>
                  <a:lnTo>
                    <a:pt x="0" y="57"/>
                  </a:lnTo>
                  <a:lnTo>
                    <a:pt x="4" y="66"/>
                  </a:lnTo>
                  <a:lnTo>
                    <a:pt x="4" y="74"/>
                  </a:lnTo>
                  <a:lnTo>
                    <a:pt x="14" y="86"/>
                  </a:lnTo>
                  <a:lnTo>
                    <a:pt x="23" y="91"/>
                  </a:lnTo>
                  <a:lnTo>
                    <a:pt x="32" y="97"/>
                  </a:lnTo>
                  <a:lnTo>
                    <a:pt x="46" y="100"/>
                  </a:lnTo>
                  <a:lnTo>
                    <a:pt x="59" y="100"/>
                  </a:lnTo>
                  <a:lnTo>
                    <a:pt x="73" y="100"/>
                  </a:lnTo>
                  <a:lnTo>
                    <a:pt x="91" y="103"/>
                  </a:lnTo>
                  <a:lnTo>
                    <a:pt x="105" y="100"/>
                  </a:lnTo>
                  <a:lnTo>
                    <a:pt x="114" y="100"/>
                  </a:lnTo>
                  <a:lnTo>
                    <a:pt x="123" y="94"/>
                  </a:lnTo>
                  <a:lnTo>
                    <a:pt x="137" y="94"/>
                  </a:lnTo>
                  <a:lnTo>
                    <a:pt x="151" y="86"/>
                  </a:lnTo>
                  <a:lnTo>
                    <a:pt x="155" y="74"/>
                  </a:lnTo>
                  <a:lnTo>
                    <a:pt x="160" y="66"/>
                  </a:lnTo>
                  <a:lnTo>
                    <a:pt x="164" y="57"/>
                  </a:lnTo>
                  <a:lnTo>
                    <a:pt x="160" y="46"/>
                  </a:lnTo>
                  <a:lnTo>
                    <a:pt x="160" y="34"/>
                  </a:lnTo>
                  <a:lnTo>
                    <a:pt x="155" y="26"/>
                  </a:lnTo>
                  <a:lnTo>
                    <a:pt x="151" y="20"/>
                  </a:lnTo>
                  <a:lnTo>
                    <a:pt x="137" y="9"/>
                  </a:lnTo>
                  <a:lnTo>
                    <a:pt x="119" y="9"/>
                  </a:lnTo>
                  <a:lnTo>
                    <a:pt x="110" y="6"/>
                  </a:lnTo>
                  <a:lnTo>
                    <a:pt x="100" y="3"/>
                  </a:lnTo>
                  <a:lnTo>
                    <a:pt x="91" y="3"/>
                  </a:lnTo>
                  <a:lnTo>
                    <a:pt x="82" y="3"/>
                  </a:lnTo>
                  <a:lnTo>
                    <a:pt x="59" y="0"/>
                  </a:lnTo>
                  <a:lnTo>
                    <a:pt x="46" y="0"/>
                  </a:lnTo>
                  <a:lnTo>
                    <a:pt x="36" y="0"/>
                  </a:lnTo>
                  <a:lnTo>
                    <a:pt x="32" y="3"/>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30" name="Freeform 220"/>
            <p:cNvSpPr>
              <a:spLocks/>
            </p:cNvSpPr>
            <p:nvPr>
              <p:custDataLst>
                <p:tags r:id="rId129"/>
              </p:custDataLst>
            </p:nvPr>
          </p:nvSpPr>
          <p:spPr bwMode="gray">
            <a:xfrm>
              <a:off x="1382" y="1589"/>
              <a:ext cx="1064" cy="63"/>
            </a:xfrm>
            <a:custGeom>
              <a:avLst/>
              <a:gdLst>
                <a:gd name="T0" fmla="*/ 164 w 1038"/>
                <a:gd name="T1" fmla="*/ 5 h 69"/>
                <a:gd name="T2" fmla="*/ 271 w 1038"/>
                <a:gd name="T3" fmla="*/ 5 h 69"/>
                <a:gd name="T4" fmla="*/ 381 w 1038"/>
                <a:gd name="T5" fmla="*/ 5 h 69"/>
                <a:gd name="T6" fmla="*/ 497 w 1038"/>
                <a:gd name="T7" fmla="*/ 5 h 69"/>
                <a:gd name="T8" fmla="*/ 617 w 1038"/>
                <a:gd name="T9" fmla="*/ 5 h 69"/>
                <a:gd name="T10" fmla="*/ 739 w 1038"/>
                <a:gd name="T11" fmla="*/ 5 h 69"/>
                <a:gd name="T12" fmla="*/ 864 w 1038"/>
                <a:gd name="T13" fmla="*/ 5 h 69"/>
                <a:gd name="T14" fmla="*/ 983 w 1038"/>
                <a:gd name="T15" fmla="*/ 5 h 69"/>
                <a:gd name="T16" fmla="*/ 1106 w 1038"/>
                <a:gd name="T17" fmla="*/ 5 h 69"/>
                <a:gd name="T18" fmla="*/ 1219 w 1038"/>
                <a:gd name="T19" fmla="*/ 5 h 69"/>
                <a:gd name="T20" fmla="*/ 1340 w 1038"/>
                <a:gd name="T21" fmla="*/ 5 h 69"/>
                <a:gd name="T22" fmla="*/ 1433 w 1038"/>
                <a:gd name="T23" fmla="*/ 5 h 69"/>
                <a:gd name="T24" fmla="*/ 1539 w 1038"/>
                <a:gd name="T25" fmla="*/ 5 h 69"/>
                <a:gd name="T26" fmla="*/ 1635 w 1038"/>
                <a:gd name="T27" fmla="*/ 5 h 69"/>
                <a:gd name="T28" fmla="*/ 1722 w 1038"/>
                <a:gd name="T29" fmla="*/ 5 h 69"/>
                <a:gd name="T30" fmla="*/ 1794 w 1038"/>
                <a:gd name="T31" fmla="*/ 5 h 69"/>
                <a:gd name="T32" fmla="*/ 1851 w 1038"/>
                <a:gd name="T33" fmla="*/ 5 h 69"/>
                <a:gd name="T34" fmla="*/ 1926 w 1038"/>
                <a:gd name="T35" fmla="*/ 5 h 69"/>
                <a:gd name="T36" fmla="*/ 1977 w 1038"/>
                <a:gd name="T37" fmla="*/ 5 h 69"/>
                <a:gd name="T38" fmla="*/ 1954 w 1038"/>
                <a:gd name="T39" fmla="*/ 5 h 69"/>
                <a:gd name="T40" fmla="*/ 1888 w 1038"/>
                <a:gd name="T41" fmla="*/ 5 h 69"/>
                <a:gd name="T42" fmla="*/ 1809 w 1038"/>
                <a:gd name="T43" fmla="*/ 5 h 69"/>
                <a:gd name="T44" fmla="*/ 1695 w 1038"/>
                <a:gd name="T45" fmla="*/ 5 h 69"/>
                <a:gd name="T46" fmla="*/ 1618 w 1038"/>
                <a:gd name="T47" fmla="*/ 5 h 69"/>
                <a:gd name="T48" fmla="*/ 1556 w 1038"/>
                <a:gd name="T49" fmla="*/ 5 h 69"/>
                <a:gd name="T50" fmla="*/ 1488 w 1038"/>
                <a:gd name="T51" fmla="*/ 5 h 69"/>
                <a:gd name="T52" fmla="*/ 1419 w 1038"/>
                <a:gd name="T53" fmla="*/ 5 h 69"/>
                <a:gd name="T54" fmla="*/ 1350 w 1038"/>
                <a:gd name="T55" fmla="*/ 5 h 69"/>
                <a:gd name="T56" fmla="*/ 1267 w 1038"/>
                <a:gd name="T57" fmla="*/ 6 h 69"/>
                <a:gd name="T58" fmla="*/ 1200 w 1038"/>
                <a:gd name="T59" fmla="*/ 6 h 69"/>
                <a:gd name="T60" fmla="*/ 1132 w 1038"/>
                <a:gd name="T61" fmla="*/ 6 h 69"/>
                <a:gd name="T62" fmla="*/ 1067 w 1038"/>
                <a:gd name="T63" fmla="*/ 6 h 69"/>
                <a:gd name="T64" fmla="*/ 1002 w 1038"/>
                <a:gd name="T65" fmla="*/ 6 h 69"/>
                <a:gd name="T66" fmla="*/ 933 w 1038"/>
                <a:gd name="T67" fmla="*/ 6 h 69"/>
                <a:gd name="T68" fmla="*/ 869 w 1038"/>
                <a:gd name="T69" fmla="*/ 5 h 69"/>
                <a:gd name="T70" fmla="*/ 774 w 1038"/>
                <a:gd name="T71" fmla="*/ 5 h 69"/>
                <a:gd name="T72" fmla="*/ 713 w 1038"/>
                <a:gd name="T73" fmla="*/ 5 h 69"/>
                <a:gd name="T74" fmla="*/ 617 w 1038"/>
                <a:gd name="T75" fmla="*/ 5 h 69"/>
                <a:gd name="T76" fmla="*/ 514 w 1038"/>
                <a:gd name="T77" fmla="*/ 5 h 69"/>
                <a:gd name="T78" fmla="*/ 410 w 1038"/>
                <a:gd name="T79" fmla="*/ 5 h 69"/>
                <a:gd name="T80" fmla="*/ 313 w 1038"/>
                <a:gd name="T81" fmla="*/ 5 h 69"/>
                <a:gd name="T82" fmla="*/ 234 w 1038"/>
                <a:gd name="T83" fmla="*/ 5 h 69"/>
                <a:gd name="T84" fmla="*/ 154 w 1038"/>
                <a:gd name="T85" fmla="*/ 5 h 69"/>
                <a:gd name="T86" fmla="*/ 92 w 1038"/>
                <a:gd name="T87" fmla="*/ 5 h 69"/>
                <a:gd name="T88" fmla="*/ 18 w 1038"/>
                <a:gd name="T89" fmla="*/ 5 h 69"/>
                <a:gd name="T90" fmla="*/ 103 w 1038"/>
                <a:gd name="T91" fmla="*/ 0 h 6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38"/>
                <a:gd name="T139" fmla="*/ 0 h 69"/>
                <a:gd name="T140" fmla="*/ 1038 w 1038"/>
                <a:gd name="T141" fmla="*/ 69 h 6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38" h="69">
                  <a:moveTo>
                    <a:pt x="55" y="0"/>
                  </a:moveTo>
                  <a:lnTo>
                    <a:pt x="69" y="3"/>
                  </a:lnTo>
                  <a:lnTo>
                    <a:pt x="87" y="6"/>
                  </a:lnTo>
                  <a:lnTo>
                    <a:pt x="105" y="6"/>
                  </a:lnTo>
                  <a:lnTo>
                    <a:pt x="124" y="9"/>
                  </a:lnTo>
                  <a:lnTo>
                    <a:pt x="142" y="9"/>
                  </a:lnTo>
                  <a:lnTo>
                    <a:pt x="160" y="12"/>
                  </a:lnTo>
                  <a:lnTo>
                    <a:pt x="178" y="15"/>
                  </a:lnTo>
                  <a:lnTo>
                    <a:pt x="201" y="15"/>
                  </a:lnTo>
                  <a:lnTo>
                    <a:pt x="220" y="15"/>
                  </a:lnTo>
                  <a:lnTo>
                    <a:pt x="242" y="17"/>
                  </a:lnTo>
                  <a:lnTo>
                    <a:pt x="261" y="17"/>
                  </a:lnTo>
                  <a:lnTo>
                    <a:pt x="284" y="20"/>
                  </a:lnTo>
                  <a:lnTo>
                    <a:pt x="302" y="20"/>
                  </a:lnTo>
                  <a:lnTo>
                    <a:pt x="325" y="23"/>
                  </a:lnTo>
                  <a:lnTo>
                    <a:pt x="348" y="23"/>
                  </a:lnTo>
                  <a:lnTo>
                    <a:pt x="370" y="26"/>
                  </a:lnTo>
                  <a:lnTo>
                    <a:pt x="389" y="26"/>
                  </a:lnTo>
                  <a:lnTo>
                    <a:pt x="407" y="26"/>
                  </a:lnTo>
                  <a:lnTo>
                    <a:pt x="430" y="26"/>
                  </a:lnTo>
                  <a:lnTo>
                    <a:pt x="453" y="29"/>
                  </a:lnTo>
                  <a:lnTo>
                    <a:pt x="471" y="32"/>
                  </a:lnTo>
                  <a:lnTo>
                    <a:pt x="494" y="32"/>
                  </a:lnTo>
                  <a:lnTo>
                    <a:pt x="517" y="35"/>
                  </a:lnTo>
                  <a:lnTo>
                    <a:pt x="539" y="35"/>
                  </a:lnTo>
                  <a:lnTo>
                    <a:pt x="558" y="35"/>
                  </a:lnTo>
                  <a:lnTo>
                    <a:pt x="581" y="35"/>
                  </a:lnTo>
                  <a:lnTo>
                    <a:pt x="599" y="37"/>
                  </a:lnTo>
                  <a:lnTo>
                    <a:pt x="622" y="37"/>
                  </a:lnTo>
                  <a:lnTo>
                    <a:pt x="640" y="37"/>
                  </a:lnTo>
                  <a:lnTo>
                    <a:pt x="658" y="37"/>
                  </a:lnTo>
                  <a:lnTo>
                    <a:pt x="681" y="40"/>
                  </a:lnTo>
                  <a:lnTo>
                    <a:pt x="704" y="43"/>
                  </a:lnTo>
                  <a:lnTo>
                    <a:pt x="718" y="43"/>
                  </a:lnTo>
                  <a:lnTo>
                    <a:pt x="736" y="43"/>
                  </a:lnTo>
                  <a:lnTo>
                    <a:pt x="754" y="43"/>
                  </a:lnTo>
                  <a:lnTo>
                    <a:pt x="773" y="43"/>
                  </a:lnTo>
                  <a:lnTo>
                    <a:pt x="791" y="43"/>
                  </a:lnTo>
                  <a:lnTo>
                    <a:pt x="809" y="43"/>
                  </a:lnTo>
                  <a:lnTo>
                    <a:pt x="827" y="43"/>
                  </a:lnTo>
                  <a:lnTo>
                    <a:pt x="846" y="46"/>
                  </a:lnTo>
                  <a:lnTo>
                    <a:pt x="859" y="46"/>
                  </a:lnTo>
                  <a:lnTo>
                    <a:pt x="873" y="46"/>
                  </a:lnTo>
                  <a:lnTo>
                    <a:pt x="887" y="46"/>
                  </a:lnTo>
                  <a:lnTo>
                    <a:pt x="905" y="49"/>
                  </a:lnTo>
                  <a:lnTo>
                    <a:pt x="914" y="49"/>
                  </a:lnTo>
                  <a:lnTo>
                    <a:pt x="928" y="49"/>
                  </a:lnTo>
                  <a:lnTo>
                    <a:pt x="942" y="49"/>
                  </a:lnTo>
                  <a:lnTo>
                    <a:pt x="955" y="49"/>
                  </a:lnTo>
                  <a:lnTo>
                    <a:pt x="964" y="49"/>
                  </a:lnTo>
                  <a:lnTo>
                    <a:pt x="974" y="49"/>
                  </a:lnTo>
                  <a:lnTo>
                    <a:pt x="987" y="49"/>
                  </a:lnTo>
                  <a:lnTo>
                    <a:pt x="992" y="49"/>
                  </a:lnTo>
                  <a:lnTo>
                    <a:pt x="1010" y="49"/>
                  </a:lnTo>
                  <a:lnTo>
                    <a:pt x="1028" y="52"/>
                  </a:lnTo>
                  <a:lnTo>
                    <a:pt x="1033" y="52"/>
                  </a:lnTo>
                  <a:lnTo>
                    <a:pt x="1038" y="54"/>
                  </a:lnTo>
                  <a:lnTo>
                    <a:pt x="1033" y="54"/>
                  </a:lnTo>
                  <a:lnTo>
                    <a:pt x="1028" y="54"/>
                  </a:lnTo>
                  <a:lnTo>
                    <a:pt x="1015" y="54"/>
                  </a:lnTo>
                  <a:lnTo>
                    <a:pt x="1006" y="54"/>
                  </a:lnTo>
                  <a:lnTo>
                    <a:pt x="992" y="54"/>
                  </a:lnTo>
                  <a:lnTo>
                    <a:pt x="978" y="54"/>
                  </a:lnTo>
                  <a:lnTo>
                    <a:pt x="964" y="57"/>
                  </a:lnTo>
                  <a:lnTo>
                    <a:pt x="951" y="57"/>
                  </a:lnTo>
                  <a:lnTo>
                    <a:pt x="932" y="57"/>
                  </a:lnTo>
                  <a:lnTo>
                    <a:pt x="914" y="60"/>
                  </a:lnTo>
                  <a:lnTo>
                    <a:pt x="891" y="60"/>
                  </a:lnTo>
                  <a:lnTo>
                    <a:pt x="873" y="60"/>
                  </a:lnTo>
                  <a:lnTo>
                    <a:pt x="864" y="60"/>
                  </a:lnTo>
                  <a:lnTo>
                    <a:pt x="850" y="60"/>
                  </a:lnTo>
                  <a:lnTo>
                    <a:pt x="837" y="60"/>
                  </a:lnTo>
                  <a:lnTo>
                    <a:pt x="827" y="60"/>
                  </a:lnTo>
                  <a:lnTo>
                    <a:pt x="818" y="60"/>
                  </a:lnTo>
                  <a:lnTo>
                    <a:pt x="805" y="63"/>
                  </a:lnTo>
                  <a:lnTo>
                    <a:pt x="795" y="63"/>
                  </a:lnTo>
                  <a:lnTo>
                    <a:pt x="782" y="66"/>
                  </a:lnTo>
                  <a:lnTo>
                    <a:pt x="773" y="66"/>
                  </a:lnTo>
                  <a:lnTo>
                    <a:pt x="759" y="66"/>
                  </a:lnTo>
                  <a:lnTo>
                    <a:pt x="745" y="66"/>
                  </a:lnTo>
                  <a:lnTo>
                    <a:pt x="736" y="66"/>
                  </a:lnTo>
                  <a:lnTo>
                    <a:pt x="722" y="66"/>
                  </a:lnTo>
                  <a:lnTo>
                    <a:pt x="709" y="66"/>
                  </a:lnTo>
                  <a:lnTo>
                    <a:pt x="695" y="66"/>
                  </a:lnTo>
                  <a:lnTo>
                    <a:pt x="686" y="69"/>
                  </a:lnTo>
                  <a:lnTo>
                    <a:pt x="667" y="69"/>
                  </a:lnTo>
                  <a:lnTo>
                    <a:pt x="658" y="69"/>
                  </a:lnTo>
                  <a:lnTo>
                    <a:pt x="649" y="69"/>
                  </a:lnTo>
                  <a:lnTo>
                    <a:pt x="631" y="69"/>
                  </a:lnTo>
                  <a:lnTo>
                    <a:pt x="622" y="69"/>
                  </a:lnTo>
                  <a:lnTo>
                    <a:pt x="613" y="69"/>
                  </a:lnTo>
                  <a:lnTo>
                    <a:pt x="594" y="69"/>
                  </a:lnTo>
                  <a:lnTo>
                    <a:pt x="585" y="69"/>
                  </a:lnTo>
                  <a:lnTo>
                    <a:pt x="571" y="69"/>
                  </a:lnTo>
                  <a:lnTo>
                    <a:pt x="562" y="69"/>
                  </a:lnTo>
                  <a:lnTo>
                    <a:pt x="544" y="69"/>
                  </a:lnTo>
                  <a:lnTo>
                    <a:pt x="535" y="69"/>
                  </a:lnTo>
                  <a:lnTo>
                    <a:pt x="526" y="69"/>
                  </a:lnTo>
                  <a:lnTo>
                    <a:pt x="512" y="69"/>
                  </a:lnTo>
                  <a:lnTo>
                    <a:pt x="503" y="69"/>
                  </a:lnTo>
                  <a:lnTo>
                    <a:pt x="489" y="69"/>
                  </a:lnTo>
                  <a:lnTo>
                    <a:pt x="480" y="66"/>
                  </a:lnTo>
                  <a:lnTo>
                    <a:pt x="471" y="66"/>
                  </a:lnTo>
                  <a:lnTo>
                    <a:pt x="457" y="66"/>
                  </a:lnTo>
                  <a:lnTo>
                    <a:pt x="443" y="66"/>
                  </a:lnTo>
                  <a:lnTo>
                    <a:pt x="425" y="66"/>
                  </a:lnTo>
                  <a:lnTo>
                    <a:pt x="407" y="66"/>
                  </a:lnTo>
                  <a:lnTo>
                    <a:pt x="393" y="63"/>
                  </a:lnTo>
                  <a:lnTo>
                    <a:pt x="384" y="60"/>
                  </a:lnTo>
                  <a:lnTo>
                    <a:pt x="375" y="60"/>
                  </a:lnTo>
                  <a:lnTo>
                    <a:pt x="366" y="60"/>
                  </a:lnTo>
                  <a:lnTo>
                    <a:pt x="343" y="60"/>
                  </a:lnTo>
                  <a:lnTo>
                    <a:pt x="325" y="60"/>
                  </a:lnTo>
                  <a:lnTo>
                    <a:pt x="302" y="57"/>
                  </a:lnTo>
                  <a:lnTo>
                    <a:pt x="288" y="57"/>
                  </a:lnTo>
                  <a:lnTo>
                    <a:pt x="270" y="54"/>
                  </a:lnTo>
                  <a:lnTo>
                    <a:pt x="252" y="54"/>
                  </a:lnTo>
                  <a:lnTo>
                    <a:pt x="233" y="52"/>
                  </a:lnTo>
                  <a:lnTo>
                    <a:pt x="215" y="49"/>
                  </a:lnTo>
                  <a:lnTo>
                    <a:pt x="197" y="49"/>
                  </a:lnTo>
                  <a:lnTo>
                    <a:pt x="183" y="49"/>
                  </a:lnTo>
                  <a:lnTo>
                    <a:pt x="165" y="46"/>
                  </a:lnTo>
                  <a:lnTo>
                    <a:pt x="151" y="46"/>
                  </a:lnTo>
                  <a:lnTo>
                    <a:pt x="137" y="43"/>
                  </a:lnTo>
                  <a:lnTo>
                    <a:pt x="124" y="43"/>
                  </a:lnTo>
                  <a:lnTo>
                    <a:pt x="110" y="40"/>
                  </a:lnTo>
                  <a:lnTo>
                    <a:pt x="96" y="37"/>
                  </a:lnTo>
                  <a:lnTo>
                    <a:pt x="82" y="37"/>
                  </a:lnTo>
                  <a:lnTo>
                    <a:pt x="73" y="37"/>
                  </a:lnTo>
                  <a:lnTo>
                    <a:pt x="64" y="35"/>
                  </a:lnTo>
                  <a:lnTo>
                    <a:pt x="50" y="35"/>
                  </a:lnTo>
                  <a:lnTo>
                    <a:pt x="41" y="35"/>
                  </a:lnTo>
                  <a:lnTo>
                    <a:pt x="37" y="35"/>
                  </a:lnTo>
                  <a:lnTo>
                    <a:pt x="18" y="32"/>
                  </a:lnTo>
                  <a:lnTo>
                    <a:pt x="14" y="29"/>
                  </a:lnTo>
                  <a:lnTo>
                    <a:pt x="0" y="29"/>
                  </a:lnTo>
                  <a:lnTo>
                    <a:pt x="55" y="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31" name="Freeform 221"/>
            <p:cNvSpPr>
              <a:spLocks/>
            </p:cNvSpPr>
            <p:nvPr>
              <p:custDataLst>
                <p:tags r:id="rId130"/>
              </p:custDataLst>
            </p:nvPr>
          </p:nvSpPr>
          <p:spPr bwMode="gray">
            <a:xfrm>
              <a:off x="2900" y="1545"/>
              <a:ext cx="1387" cy="114"/>
            </a:xfrm>
            <a:custGeom>
              <a:avLst/>
              <a:gdLst>
                <a:gd name="T0" fmla="*/ 453 w 1353"/>
                <a:gd name="T1" fmla="*/ 11 h 125"/>
                <a:gd name="T2" fmla="*/ 595 w 1353"/>
                <a:gd name="T3" fmla="*/ 10 h 125"/>
                <a:gd name="T4" fmla="*/ 741 w 1353"/>
                <a:gd name="T5" fmla="*/ 10 h 125"/>
                <a:gd name="T6" fmla="*/ 869 w 1353"/>
                <a:gd name="T7" fmla="*/ 9 h 125"/>
                <a:gd name="T8" fmla="*/ 1021 w 1353"/>
                <a:gd name="T9" fmla="*/ 9 h 125"/>
                <a:gd name="T10" fmla="*/ 1167 w 1353"/>
                <a:gd name="T11" fmla="*/ 8 h 125"/>
                <a:gd name="T12" fmla="*/ 1309 w 1353"/>
                <a:gd name="T13" fmla="*/ 7 h 125"/>
                <a:gd name="T14" fmla="*/ 1449 w 1353"/>
                <a:gd name="T15" fmla="*/ 6 h 125"/>
                <a:gd name="T16" fmla="*/ 1577 w 1353"/>
                <a:gd name="T17" fmla="*/ 5 h 125"/>
                <a:gd name="T18" fmla="*/ 1716 w 1353"/>
                <a:gd name="T19" fmla="*/ 5 h 125"/>
                <a:gd name="T20" fmla="*/ 1838 w 1353"/>
                <a:gd name="T21" fmla="*/ 5 h 125"/>
                <a:gd name="T22" fmla="*/ 1950 w 1353"/>
                <a:gd name="T23" fmla="*/ 5 h 125"/>
                <a:gd name="T24" fmla="*/ 2052 w 1353"/>
                <a:gd name="T25" fmla="*/ 5 h 125"/>
                <a:gd name="T26" fmla="*/ 2157 w 1353"/>
                <a:gd name="T27" fmla="*/ 5 h 125"/>
                <a:gd name="T28" fmla="*/ 2262 w 1353"/>
                <a:gd name="T29" fmla="*/ 5 h 125"/>
                <a:gd name="T30" fmla="*/ 2347 w 1353"/>
                <a:gd name="T31" fmla="*/ 5 h 125"/>
                <a:gd name="T32" fmla="*/ 2415 w 1353"/>
                <a:gd name="T33" fmla="*/ 5 h 125"/>
                <a:gd name="T34" fmla="*/ 2491 w 1353"/>
                <a:gd name="T35" fmla="*/ 5 h 125"/>
                <a:gd name="T36" fmla="*/ 2568 w 1353"/>
                <a:gd name="T37" fmla="*/ 0 h 125"/>
                <a:gd name="T38" fmla="*/ 2585 w 1353"/>
                <a:gd name="T39" fmla="*/ 5 h 125"/>
                <a:gd name="T40" fmla="*/ 2529 w 1353"/>
                <a:gd name="T41" fmla="*/ 5 h 125"/>
                <a:gd name="T42" fmla="*/ 2447 w 1353"/>
                <a:gd name="T43" fmla="*/ 5 h 125"/>
                <a:gd name="T44" fmla="*/ 2354 w 1353"/>
                <a:gd name="T45" fmla="*/ 5 h 125"/>
                <a:gd name="T46" fmla="*/ 2294 w 1353"/>
                <a:gd name="T47" fmla="*/ 5 h 125"/>
                <a:gd name="T48" fmla="*/ 2221 w 1353"/>
                <a:gd name="T49" fmla="*/ 5 h 125"/>
                <a:gd name="T50" fmla="*/ 2150 w 1353"/>
                <a:gd name="T51" fmla="*/ 5 h 125"/>
                <a:gd name="T52" fmla="*/ 2076 w 1353"/>
                <a:gd name="T53" fmla="*/ 5 h 125"/>
                <a:gd name="T54" fmla="*/ 1986 w 1353"/>
                <a:gd name="T55" fmla="*/ 6 h 125"/>
                <a:gd name="T56" fmla="*/ 1905 w 1353"/>
                <a:gd name="T57" fmla="*/ 7 h 125"/>
                <a:gd name="T58" fmla="*/ 1827 w 1353"/>
                <a:gd name="T59" fmla="*/ 7 h 125"/>
                <a:gd name="T60" fmla="*/ 1716 w 1353"/>
                <a:gd name="T61" fmla="*/ 8 h 125"/>
                <a:gd name="T62" fmla="*/ 1637 w 1353"/>
                <a:gd name="T63" fmla="*/ 8 h 125"/>
                <a:gd name="T64" fmla="*/ 1534 w 1353"/>
                <a:gd name="T65" fmla="*/ 9 h 125"/>
                <a:gd name="T66" fmla="*/ 1437 w 1353"/>
                <a:gd name="T67" fmla="*/ 10 h 125"/>
                <a:gd name="T68" fmla="*/ 1344 w 1353"/>
                <a:gd name="T69" fmla="*/ 10 h 125"/>
                <a:gd name="T70" fmla="*/ 1247 w 1353"/>
                <a:gd name="T71" fmla="*/ 10 h 125"/>
                <a:gd name="T72" fmla="*/ 1149 w 1353"/>
                <a:gd name="T73" fmla="*/ 11 h 125"/>
                <a:gd name="T74" fmla="*/ 1060 w 1353"/>
                <a:gd name="T75" fmla="*/ 11 h 125"/>
                <a:gd name="T76" fmla="*/ 958 w 1353"/>
                <a:gd name="T77" fmla="*/ 11 h 125"/>
                <a:gd name="T78" fmla="*/ 869 w 1353"/>
                <a:gd name="T79" fmla="*/ 12 h 125"/>
                <a:gd name="T80" fmla="*/ 792 w 1353"/>
                <a:gd name="T81" fmla="*/ 12 h 125"/>
                <a:gd name="T82" fmla="*/ 708 w 1353"/>
                <a:gd name="T83" fmla="*/ 12 h 125"/>
                <a:gd name="T84" fmla="*/ 617 w 1353"/>
                <a:gd name="T85" fmla="*/ 12 h 125"/>
                <a:gd name="T86" fmla="*/ 547 w 1353"/>
                <a:gd name="T87" fmla="*/ 12 h 125"/>
                <a:gd name="T88" fmla="*/ 477 w 1353"/>
                <a:gd name="T89" fmla="*/ 12 h 125"/>
                <a:gd name="T90" fmla="*/ 410 w 1353"/>
                <a:gd name="T91" fmla="*/ 12 h 125"/>
                <a:gd name="T92" fmla="*/ 321 w 1353"/>
                <a:gd name="T93" fmla="*/ 12 h 125"/>
                <a:gd name="T94" fmla="*/ 216 w 1353"/>
                <a:gd name="T95" fmla="*/ 12 h 125"/>
                <a:gd name="T96" fmla="*/ 130 w 1353"/>
                <a:gd name="T97" fmla="*/ 12 h 125"/>
                <a:gd name="T98" fmla="*/ 58 w 1353"/>
                <a:gd name="T99" fmla="*/ 12 h 125"/>
                <a:gd name="T100" fmla="*/ 0 w 1353"/>
                <a:gd name="T101" fmla="*/ 12 h 125"/>
                <a:gd name="T102" fmla="*/ 49 w 1353"/>
                <a:gd name="T103" fmla="*/ 12 h 125"/>
                <a:gd name="T104" fmla="*/ 115 w 1353"/>
                <a:gd name="T105" fmla="*/ 12 h 125"/>
                <a:gd name="T106" fmla="*/ 216 w 1353"/>
                <a:gd name="T107" fmla="*/ 12 h 125"/>
                <a:gd name="T108" fmla="*/ 287 w 1353"/>
                <a:gd name="T109" fmla="*/ 11 h 125"/>
                <a:gd name="T110" fmla="*/ 350 w 1353"/>
                <a:gd name="T111" fmla="*/ 11 h 125"/>
                <a:gd name="T112" fmla="*/ 357 w 1353"/>
                <a:gd name="T113" fmla="*/ 11 h 1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353"/>
                <a:gd name="T172" fmla="*/ 0 h 125"/>
                <a:gd name="T173" fmla="*/ 1353 w 1353"/>
                <a:gd name="T174" fmla="*/ 125 h 12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353" h="125">
                  <a:moveTo>
                    <a:pt x="187" y="108"/>
                  </a:moveTo>
                  <a:lnTo>
                    <a:pt x="210" y="108"/>
                  </a:lnTo>
                  <a:lnTo>
                    <a:pt x="238" y="108"/>
                  </a:lnTo>
                  <a:lnTo>
                    <a:pt x="260" y="105"/>
                  </a:lnTo>
                  <a:lnTo>
                    <a:pt x="283" y="105"/>
                  </a:lnTo>
                  <a:lnTo>
                    <a:pt x="311" y="102"/>
                  </a:lnTo>
                  <a:lnTo>
                    <a:pt x="334" y="102"/>
                  </a:lnTo>
                  <a:lnTo>
                    <a:pt x="361" y="102"/>
                  </a:lnTo>
                  <a:lnTo>
                    <a:pt x="388" y="100"/>
                  </a:lnTo>
                  <a:lnTo>
                    <a:pt x="407" y="97"/>
                  </a:lnTo>
                  <a:lnTo>
                    <a:pt x="434" y="97"/>
                  </a:lnTo>
                  <a:lnTo>
                    <a:pt x="457" y="94"/>
                  </a:lnTo>
                  <a:lnTo>
                    <a:pt x="484" y="94"/>
                  </a:lnTo>
                  <a:lnTo>
                    <a:pt x="512" y="91"/>
                  </a:lnTo>
                  <a:lnTo>
                    <a:pt x="535" y="91"/>
                  </a:lnTo>
                  <a:lnTo>
                    <a:pt x="562" y="85"/>
                  </a:lnTo>
                  <a:lnTo>
                    <a:pt x="589" y="85"/>
                  </a:lnTo>
                  <a:lnTo>
                    <a:pt x="612" y="83"/>
                  </a:lnTo>
                  <a:lnTo>
                    <a:pt x="635" y="83"/>
                  </a:lnTo>
                  <a:lnTo>
                    <a:pt x="658" y="77"/>
                  </a:lnTo>
                  <a:lnTo>
                    <a:pt x="685" y="74"/>
                  </a:lnTo>
                  <a:lnTo>
                    <a:pt x="708" y="74"/>
                  </a:lnTo>
                  <a:lnTo>
                    <a:pt x="736" y="71"/>
                  </a:lnTo>
                  <a:lnTo>
                    <a:pt x="759" y="68"/>
                  </a:lnTo>
                  <a:lnTo>
                    <a:pt x="781" y="68"/>
                  </a:lnTo>
                  <a:lnTo>
                    <a:pt x="804" y="65"/>
                  </a:lnTo>
                  <a:lnTo>
                    <a:pt x="827" y="63"/>
                  </a:lnTo>
                  <a:lnTo>
                    <a:pt x="850" y="60"/>
                  </a:lnTo>
                  <a:lnTo>
                    <a:pt x="877" y="60"/>
                  </a:lnTo>
                  <a:lnTo>
                    <a:pt x="900" y="54"/>
                  </a:lnTo>
                  <a:lnTo>
                    <a:pt x="919" y="54"/>
                  </a:lnTo>
                  <a:lnTo>
                    <a:pt x="941" y="51"/>
                  </a:lnTo>
                  <a:lnTo>
                    <a:pt x="964" y="48"/>
                  </a:lnTo>
                  <a:lnTo>
                    <a:pt x="982" y="46"/>
                  </a:lnTo>
                  <a:lnTo>
                    <a:pt x="1005" y="43"/>
                  </a:lnTo>
                  <a:lnTo>
                    <a:pt x="1024" y="43"/>
                  </a:lnTo>
                  <a:lnTo>
                    <a:pt x="1042" y="40"/>
                  </a:lnTo>
                  <a:lnTo>
                    <a:pt x="1060" y="34"/>
                  </a:lnTo>
                  <a:lnTo>
                    <a:pt x="1078" y="34"/>
                  </a:lnTo>
                  <a:lnTo>
                    <a:pt x="1101" y="31"/>
                  </a:lnTo>
                  <a:lnTo>
                    <a:pt x="1120" y="31"/>
                  </a:lnTo>
                  <a:lnTo>
                    <a:pt x="1133" y="26"/>
                  </a:lnTo>
                  <a:lnTo>
                    <a:pt x="1152" y="26"/>
                  </a:lnTo>
                  <a:lnTo>
                    <a:pt x="1170" y="23"/>
                  </a:lnTo>
                  <a:lnTo>
                    <a:pt x="1188" y="23"/>
                  </a:lnTo>
                  <a:lnTo>
                    <a:pt x="1202" y="20"/>
                  </a:lnTo>
                  <a:lnTo>
                    <a:pt x="1216" y="20"/>
                  </a:lnTo>
                  <a:lnTo>
                    <a:pt x="1229" y="14"/>
                  </a:lnTo>
                  <a:lnTo>
                    <a:pt x="1243" y="14"/>
                  </a:lnTo>
                  <a:lnTo>
                    <a:pt x="1257" y="11"/>
                  </a:lnTo>
                  <a:lnTo>
                    <a:pt x="1266" y="11"/>
                  </a:lnTo>
                  <a:lnTo>
                    <a:pt x="1280" y="9"/>
                  </a:lnTo>
                  <a:lnTo>
                    <a:pt x="1289" y="9"/>
                  </a:lnTo>
                  <a:lnTo>
                    <a:pt x="1307" y="6"/>
                  </a:lnTo>
                  <a:lnTo>
                    <a:pt x="1325" y="6"/>
                  </a:lnTo>
                  <a:lnTo>
                    <a:pt x="1334" y="0"/>
                  </a:lnTo>
                  <a:lnTo>
                    <a:pt x="1348" y="0"/>
                  </a:lnTo>
                  <a:lnTo>
                    <a:pt x="1353" y="0"/>
                  </a:lnTo>
                  <a:lnTo>
                    <a:pt x="1353" y="37"/>
                  </a:lnTo>
                  <a:lnTo>
                    <a:pt x="1348" y="37"/>
                  </a:lnTo>
                  <a:lnTo>
                    <a:pt x="1334" y="40"/>
                  </a:lnTo>
                  <a:lnTo>
                    <a:pt x="1325" y="40"/>
                  </a:lnTo>
                  <a:lnTo>
                    <a:pt x="1316" y="43"/>
                  </a:lnTo>
                  <a:lnTo>
                    <a:pt x="1298" y="43"/>
                  </a:lnTo>
                  <a:lnTo>
                    <a:pt x="1284" y="46"/>
                  </a:lnTo>
                  <a:lnTo>
                    <a:pt x="1266" y="46"/>
                  </a:lnTo>
                  <a:lnTo>
                    <a:pt x="1243" y="48"/>
                  </a:lnTo>
                  <a:lnTo>
                    <a:pt x="1234" y="48"/>
                  </a:lnTo>
                  <a:lnTo>
                    <a:pt x="1225" y="48"/>
                  </a:lnTo>
                  <a:lnTo>
                    <a:pt x="1211" y="51"/>
                  </a:lnTo>
                  <a:lnTo>
                    <a:pt x="1202" y="54"/>
                  </a:lnTo>
                  <a:lnTo>
                    <a:pt x="1188" y="54"/>
                  </a:lnTo>
                  <a:lnTo>
                    <a:pt x="1179" y="54"/>
                  </a:lnTo>
                  <a:lnTo>
                    <a:pt x="1165" y="54"/>
                  </a:lnTo>
                  <a:lnTo>
                    <a:pt x="1152" y="57"/>
                  </a:lnTo>
                  <a:lnTo>
                    <a:pt x="1138" y="60"/>
                  </a:lnTo>
                  <a:lnTo>
                    <a:pt x="1129" y="63"/>
                  </a:lnTo>
                  <a:lnTo>
                    <a:pt x="1115" y="63"/>
                  </a:lnTo>
                  <a:lnTo>
                    <a:pt x="1101" y="65"/>
                  </a:lnTo>
                  <a:lnTo>
                    <a:pt x="1088" y="65"/>
                  </a:lnTo>
                  <a:lnTo>
                    <a:pt x="1074" y="68"/>
                  </a:lnTo>
                  <a:lnTo>
                    <a:pt x="1060" y="68"/>
                  </a:lnTo>
                  <a:lnTo>
                    <a:pt x="1042" y="68"/>
                  </a:lnTo>
                  <a:lnTo>
                    <a:pt x="1024" y="71"/>
                  </a:lnTo>
                  <a:lnTo>
                    <a:pt x="1010" y="71"/>
                  </a:lnTo>
                  <a:lnTo>
                    <a:pt x="1001" y="74"/>
                  </a:lnTo>
                  <a:lnTo>
                    <a:pt x="982" y="74"/>
                  </a:lnTo>
                  <a:lnTo>
                    <a:pt x="969" y="74"/>
                  </a:lnTo>
                  <a:lnTo>
                    <a:pt x="955" y="77"/>
                  </a:lnTo>
                  <a:lnTo>
                    <a:pt x="937" y="80"/>
                  </a:lnTo>
                  <a:lnTo>
                    <a:pt x="919" y="83"/>
                  </a:lnTo>
                  <a:lnTo>
                    <a:pt x="900" y="83"/>
                  </a:lnTo>
                  <a:lnTo>
                    <a:pt x="887" y="83"/>
                  </a:lnTo>
                  <a:lnTo>
                    <a:pt x="868" y="85"/>
                  </a:lnTo>
                  <a:lnTo>
                    <a:pt x="859" y="85"/>
                  </a:lnTo>
                  <a:lnTo>
                    <a:pt x="841" y="85"/>
                  </a:lnTo>
                  <a:lnTo>
                    <a:pt x="823" y="91"/>
                  </a:lnTo>
                  <a:lnTo>
                    <a:pt x="804" y="91"/>
                  </a:lnTo>
                  <a:lnTo>
                    <a:pt x="791" y="94"/>
                  </a:lnTo>
                  <a:lnTo>
                    <a:pt x="772" y="94"/>
                  </a:lnTo>
                  <a:lnTo>
                    <a:pt x="754" y="97"/>
                  </a:lnTo>
                  <a:lnTo>
                    <a:pt x="736" y="97"/>
                  </a:lnTo>
                  <a:lnTo>
                    <a:pt x="722" y="97"/>
                  </a:lnTo>
                  <a:lnTo>
                    <a:pt x="704" y="97"/>
                  </a:lnTo>
                  <a:lnTo>
                    <a:pt x="690" y="102"/>
                  </a:lnTo>
                  <a:lnTo>
                    <a:pt x="672" y="102"/>
                  </a:lnTo>
                  <a:lnTo>
                    <a:pt x="653" y="102"/>
                  </a:lnTo>
                  <a:lnTo>
                    <a:pt x="635" y="105"/>
                  </a:lnTo>
                  <a:lnTo>
                    <a:pt x="621" y="105"/>
                  </a:lnTo>
                  <a:lnTo>
                    <a:pt x="603" y="108"/>
                  </a:lnTo>
                  <a:lnTo>
                    <a:pt x="589" y="108"/>
                  </a:lnTo>
                  <a:lnTo>
                    <a:pt x="571" y="108"/>
                  </a:lnTo>
                  <a:lnTo>
                    <a:pt x="557" y="108"/>
                  </a:lnTo>
                  <a:lnTo>
                    <a:pt x="539" y="111"/>
                  </a:lnTo>
                  <a:lnTo>
                    <a:pt x="521" y="114"/>
                  </a:lnTo>
                  <a:lnTo>
                    <a:pt x="503" y="114"/>
                  </a:lnTo>
                  <a:lnTo>
                    <a:pt x="493" y="114"/>
                  </a:lnTo>
                  <a:lnTo>
                    <a:pt x="475" y="117"/>
                  </a:lnTo>
                  <a:lnTo>
                    <a:pt x="457" y="117"/>
                  </a:lnTo>
                  <a:lnTo>
                    <a:pt x="443" y="117"/>
                  </a:lnTo>
                  <a:lnTo>
                    <a:pt x="425" y="117"/>
                  </a:lnTo>
                  <a:lnTo>
                    <a:pt x="416" y="117"/>
                  </a:lnTo>
                  <a:lnTo>
                    <a:pt x="398" y="117"/>
                  </a:lnTo>
                  <a:lnTo>
                    <a:pt x="384" y="117"/>
                  </a:lnTo>
                  <a:lnTo>
                    <a:pt x="370" y="117"/>
                  </a:lnTo>
                  <a:lnTo>
                    <a:pt x="352" y="120"/>
                  </a:lnTo>
                  <a:lnTo>
                    <a:pt x="343" y="120"/>
                  </a:lnTo>
                  <a:lnTo>
                    <a:pt x="324" y="120"/>
                  </a:lnTo>
                  <a:lnTo>
                    <a:pt x="315" y="120"/>
                  </a:lnTo>
                  <a:lnTo>
                    <a:pt x="297" y="120"/>
                  </a:lnTo>
                  <a:lnTo>
                    <a:pt x="288" y="122"/>
                  </a:lnTo>
                  <a:lnTo>
                    <a:pt x="274" y="122"/>
                  </a:lnTo>
                  <a:lnTo>
                    <a:pt x="260" y="122"/>
                  </a:lnTo>
                  <a:lnTo>
                    <a:pt x="251" y="122"/>
                  </a:lnTo>
                  <a:lnTo>
                    <a:pt x="238" y="125"/>
                  </a:lnTo>
                  <a:lnTo>
                    <a:pt x="224" y="125"/>
                  </a:lnTo>
                  <a:lnTo>
                    <a:pt x="215" y="125"/>
                  </a:lnTo>
                  <a:lnTo>
                    <a:pt x="201" y="125"/>
                  </a:lnTo>
                  <a:lnTo>
                    <a:pt x="192" y="125"/>
                  </a:lnTo>
                  <a:lnTo>
                    <a:pt x="169" y="125"/>
                  </a:lnTo>
                  <a:lnTo>
                    <a:pt x="151" y="125"/>
                  </a:lnTo>
                  <a:lnTo>
                    <a:pt x="132" y="125"/>
                  </a:lnTo>
                  <a:lnTo>
                    <a:pt x="114" y="125"/>
                  </a:lnTo>
                  <a:lnTo>
                    <a:pt x="96" y="125"/>
                  </a:lnTo>
                  <a:lnTo>
                    <a:pt x="78" y="125"/>
                  </a:lnTo>
                  <a:lnTo>
                    <a:pt x="68" y="125"/>
                  </a:lnTo>
                  <a:lnTo>
                    <a:pt x="55" y="125"/>
                  </a:lnTo>
                  <a:lnTo>
                    <a:pt x="46" y="125"/>
                  </a:lnTo>
                  <a:lnTo>
                    <a:pt x="32" y="125"/>
                  </a:lnTo>
                  <a:lnTo>
                    <a:pt x="14" y="125"/>
                  </a:lnTo>
                  <a:lnTo>
                    <a:pt x="9" y="125"/>
                  </a:lnTo>
                  <a:lnTo>
                    <a:pt x="0" y="125"/>
                  </a:lnTo>
                  <a:lnTo>
                    <a:pt x="9" y="125"/>
                  </a:lnTo>
                  <a:lnTo>
                    <a:pt x="23" y="125"/>
                  </a:lnTo>
                  <a:lnTo>
                    <a:pt x="32" y="125"/>
                  </a:lnTo>
                  <a:lnTo>
                    <a:pt x="46" y="122"/>
                  </a:lnTo>
                  <a:lnTo>
                    <a:pt x="59" y="120"/>
                  </a:lnTo>
                  <a:lnTo>
                    <a:pt x="78" y="120"/>
                  </a:lnTo>
                  <a:lnTo>
                    <a:pt x="96" y="117"/>
                  </a:lnTo>
                  <a:lnTo>
                    <a:pt x="114" y="117"/>
                  </a:lnTo>
                  <a:lnTo>
                    <a:pt x="123" y="117"/>
                  </a:lnTo>
                  <a:lnTo>
                    <a:pt x="137" y="114"/>
                  </a:lnTo>
                  <a:lnTo>
                    <a:pt x="151" y="111"/>
                  </a:lnTo>
                  <a:lnTo>
                    <a:pt x="164" y="111"/>
                  </a:lnTo>
                  <a:lnTo>
                    <a:pt x="174" y="108"/>
                  </a:lnTo>
                  <a:lnTo>
                    <a:pt x="183" y="108"/>
                  </a:lnTo>
                  <a:lnTo>
                    <a:pt x="187" y="108"/>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32" name="Freeform 222"/>
            <p:cNvSpPr>
              <a:spLocks/>
            </p:cNvSpPr>
            <p:nvPr>
              <p:custDataLst>
                <p:tags r:id="rId131"/>
              </p:custDataLst>
            </p:nvPr>
          </p:nvSpPr>
          <p:spPr bwMode="gray">
            <a:xfrm>
              <a:off x="1265" y="1784"/>
              <a:ext cx="1077" cy="162"/>
            </a:xfrm>
            <a:custGeom>
              <a:avLst/>
              <a:gdLst>
                <a:gd name="T0" fmla="*/ 9 w 1051"/>
                <a:gd name="T1" fmla="*/ 9 h 177"/>
                <a:gd name="T2" fmla="*/ 63 w 1051"/>
                <a:gd name="T3" fmla="*/ 7 h 177"/>
                <a:gd name="T4" fmla="*/ 129 w 1051"/>
                <a:gd name="T5" fmla="*/ 6 h 177"/>
                <a:gd name="T6" fmla="*/ 170 w 1051"/>
                <a:gd name="T7" fmla="*/ 5 h 177"/>
                <a:gd name="T8" fmla="*/ 208 w 1051"/>
                <a:gd name="T9" fmla="*/ 5 h 177"/>
                <a:gd name="T10" fmla="*/ 248 w 1051"/>
                <a:gd name="T11" fmla="*/ 5 h 177"/>
                <a:gd name="T12" fmla="*/ 301 w 1051"/>
                <a:gd name="T13" fmla="*/ 5 h 177"/>
                <a:gd name="T14" fmla="*/ 337 w 1051"/>
                <a:gd name="T15" fmla="*/ 5 h 177"/>
                <a:gd name="T16" fmla="*/ 395 w 1051"/>
                <a:gd name="T17" fmla="*/ 5 h 177"/>
                <a:gd name="T18" fmla="*/ 455 w 1051"/>
                <a:gd name="T19" fmla="*/ 3 h 177"/>
                <a:gd name="T20" fmla="*/ 501 w 1051"/>
                <a:gd name="T21" fmla="*/ 0 h 177"/>
                <a:gd name="T22" fmla="*/ 974 w 1051"/>
                <a:gd name="T23" fmla="*/ 14 h 177"/>
                <a:gd name="T24" fmla="*/ 991 w 1051"/>
                <a:gd name="T25" fmla="*/ 14 h 177"/>
                <a:gd name="T26" fmla="*/ 1050 w 1051"/>
                <a:gd name="T27" fmla="*/ 13 h 177"/>
                <a:gd name="T28" fmla="*/ 1089 w 1051"/>
                <a:gd name="T29" fmla="*/ 12 h 177"/>
                <a:gd name="T30" fmla="*/ 1141 w 1051"/>
                <a:gd name="T31" fmla="*/ 11 h 177"/>
                <a:gd name="T32" fmla="*/ 1179 w 1051"/>
                <a:gd name="T33" fmla="*/ 10 h 177"/>
                <a:gd name="T34" fmla="*/ 1242 w 1051"/>
                <a:gd name="T35" fmla="*/ 8 h 177"/>
                <a:gd name="T36" fmla="*/ 1289 w 1051"/>
                <a:gd name="T37" fmla="*/ 6 h 177"/>
                <a:gd name="T38" fmla="*/ 1336 w 1051"/>
                <a:gd name="T39" fmla="*/ 5 h 177"/>
                <a:gd name="T40" fmla="*/ 1372 w 1051"/>
                <a:gd name="T41" fmla="*/ 5 h 177"/>
                <a:gd name="T42" fmla="*/ 1425 w 1051"/>
                <a:gd name="T43" fmla="*/ 5 h 177"/>
                <a:gd name="T44" fmla="*/ 1467 w 1051"/>
                <a:gd name="T45" fmla="*/ 5 h 177"/>
                <a:gd name="T46" fmla="*/ 1502 w 1051"/>
                <a:gd name="T47" fmla="*/ 5 h 177"/>
                <a:gd name="T48" fmla="*/ 1542 w 1051"/>
                <a:gd name="T49" fmla="*/ 5 h 177"/>
                <a:gd name="T50" fmla="*/ 1571 w 1051"/>
                <a:gd name="T51" fmla="*/ 5 h 177"/>
                <a:gd name="T52" fmla="*/ 1631 w 1051"/>
                <a:gd name="T53" fmla="*/ 5 h 177"/>
                <a:gd name="T54" fmla="*/ 1698 w 1051"/>
                <a:gd name="T55" fmla="*/ 7 h 177"/>
                <a:gd name="T56" fmla="*/ 1734 w 1051"/>
                <a:gd name="T57" fmla="*/ 9 h 177"/>
                <a:gd name="T58" fmla="*/ 1776 w 1051"/>
                <a:gd name="T59" fmla="*/ 11 h 177"/>
                <a:gd name="T60" fmla="*/ 1858 w 1051"/>
                <a:gd name="T61" fmla="*/ 13 h 177"/>
                <a:gd name="T62" fmla="*/ 1920 w 1051"/>
                <a:gd name="T63" fmla="*/ 15 h 177"/>
                <a:gd name="T64" fmla="*/ 1958 w 1051"/>
                <a:gd name="T65" fmla="*/ 16 h 177"/>
                <a:gd name="T66" fmla="*/ 1983 w 1051"/>
                <a:gd name="T67" fmla="*/ 16 h 177"/>
                <a:gd name="T68" fmla="*/ 1495 w 1051"/>
                <a:gd name="T69" fmla="*/ 6 h 177"/>
                <a:gd name="T70" fmla="*/ 474 w 1051"/>
                <a:gd name="T71" fmla="*/ 5 h 177"/>
                <a:gd name="T72" fmla="*/ 0 w 1051"/>
                <a:gd name="T73" fmla="*/ 10 h 1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51"/>
                <a:gd name="T112" fmla="*/ 0 h 177"/>
                <a:gd name="T113" fmla="*/ 1051 w 1051"/>
                <a:gd name="T114" fmla="*/ 177 h 17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51" h="177">
                  <a:moveTo>
                    <a:pt x="0" y="91"/>
                  </a:moveTo>
                  <a:lnTo>
                    <a:pt x="9" y="85"/>
                  </a:lnTo>
                  <a:lnTo>
                    <a:pt x="23" y="80"/>
                  </a:lnTo>
                  <a:lnTo>
                    <a:pt x="36" y="74"/>
                  </a:lnTo>
                  <a:lnTo>
                    <a:pt x="55" y="68"/>
                  </a:lnTo>
                  <a:lnTo>
                    <a:pt x="68" y="63"/>
                  </a:lnTo>
                  <a:lnTo>
                    <a:pt x="73" y="60"/>
                  </a:lnTo>
                  <a:lnTo>
                    <a:pt x="91" y="54"/>
                  </a:lnTo>
                  <a:lnTo>
                    <a:pt x="96" y="51"/>
                  </a:lnTo>
                  <a:lnTo>
                    <a:pt x="110" y="48"/>
                  </a:lnTo>
                  <a:lnTo>
                    <a:pt x="123" y="46"/>
                  </a:lnTo>
                  <a:lnTo>
                    <a:pt x="132" y="40"/>
                  </a:lnTo>
                  <a:lnTo>
                    <a:pt x="146" y="37"/>
                  </a:lnTo>
                  <a:lnTo>
                    <a:pt x="160" y="34"/>
                  </a:lnTo>
                  <a:lnTo>
                    <a:pt x="169" y="28"/>
                  </a:lnTo>
                  <a:lnTo>
                    <a:pt x="178" y="26"/>
                  </a:lnTo>
                  <a:lnTo>
                    <a:pt x="192" y="23"/>
                  </a:lnTo>
                  <a:lnTo>
                    <a:pt x="210" y="14"/>
                  </a:lnTo>
                  <a:lnTo>
                    <a:pt x="228" y="8"/>
                  </a:lnTo>
                  <a:lnTo>
                    <a:pt x="242" y="3"/>
                  </a:lnTo>
                  <a:lnTo>
                    <a:pt x="256" y="3"/>
                  </a:lnTo>
                  <a:lnTo>
                    <a:pt x="265" y="0"/>
                  </a:lnTo>
                  <a:lnTo>
                    <a:pt x="516" y="139"/>
                  </a:lnTo>
                  <a:lnTo>
                    <a:pt x="516" y="137"/>
                  </a:lnTo>
                  <a:lnTo>
                    <a:pt x="525" y="134"/>
                  </a:lnTo>
                  <a:lnTo>
                    <a:pt x="539" y="125"/>
                  </a:lnTo>
                  <a:lnTo>
                    <a:pt x="557" y="120"/>
                  </a:lnTo>
                  <a:lnTo>
                    <a:pt x="567" y="114"/>
                  </a:lnTo>
                  <a:lnTo>
                    <a:pt x="576" y="111"/>
                  </a:lnTo>
                  <a:lnTo>
                    <a:pt x="585" y="105"/>
                  </a:lnTo>
                  <a:lnTo>
                    <a:pt x="603" y="100"/>
                  </a:lnTo>
                  <a:lnTo>
                    <a:pt x="612" y="94"/>
                  </a:lnTo>
                  <a:lnTo>
                    <a:pt x="626" y="91"/>
                  </a:lnTo>
                  <a:lnTo>
                    <a:pt x="640" y="85"/>
                  </a:lnTo>
                  <a:lnTo>
                    <a:pt x="658" y="80"/>
                  </a:lnTo>
                  <a:lnTo>
                    <a:pt x="663" y="71"/>
                  </a:lnTo>
                  <a:lnTo>
                    <a:pt x="681" y="68"/>
                  </a:lnTo>
                  <a:lnTo>
                    <a:pt x="695" y="63"/>
                  </a:lnTo>
                  <a:lnTo>
                    <a:pt x="708" y="60"/>
                  </a:lnTo>
                  <a:lnTo>
                    <a:pt x="717" y="51"/>
                  </a:lnTo>
                  <a:lnTo>
                    <a:pt x="727" y="48"/>
                  </a:lnTo>
                  <a:lnTo>
                    <a:pt x="745" y="46"/>
                  </a:lnTo>
                  <a:lnTo>
                    <a:pt x="754" y="40"/>
                  </a:lnTo>
                  <a:lnTo>
                    <a:pt x="763" y="37"/>
                  </a:lnTo>
                  <a:lnTo>
                    <a:pt x="777" y="34"/>
                  </a:lnTo>
                  <a:lnTo>
                    <a:pt x="781" y="28"/>
                  </a:lnTo>
                  <a:lnTo>
                    <a:pt x="795" y="28"/>
                  </a:lnTo>
                  <a:lnTo>
                    <a:pt x="804" y="26"/>
                  </a:lnTo>
                  <a:lnTo>
                    <a:pt x="818" y="26"/>
                  </a:lnTo>
                  <a:lnTo>
                    <a:pt x="818" y="28"/>
                  </a:lnTo>
                  <a:lnTo>
                    <a:pt x="832" y="34"/>
                  </a:lnTo>
                  <a:lnTo>
                    <a:pt x="845" y="40"/>
                  </a:lnTo>
                  <a:lnTo>
                    <a:pt x="864" y="51"/>
                  </a:lnTo>
                  <a:lnTo>
                    <a:pt x="877" y="60"/>
                  </a:lnTo>
                  <a:lnTo>
                    <a:pt x="900" y="71"/>
                  </a:lnTo>
                  <a:lnTo>
                    <a:pt x="909" y="80"/>
                  </a:lnTo>
                  <a:lnTo>
                    <a:pt x="919" y="85"/>
                  </a:lnTo>
                  <a:lnTo>
                    <a:pt x="932" y="91"/>
                  </a:lnTo>
                  <a:lnTo>
                    <a:pt x="941" y="100"/>
                  </a:lnTo>
                  <a:lnTo>
                    <a:pt x="964" y="111"/>
                  </a:lnTo>
                  <a:lnTo>
                    <a:pt x="983" y="122"/>
                  </a:lnTo>
                  <a:lnTo>
                    <a:pt x="1001" y="134"/>
                  </a:lnTo>
                  <a:lnTo>
                    <a:pt x="1019" y="142"/>
                  </a:lnTo>
                  <a:lnTo>
                    <a:pt x="1028" y="151"/>
                  </a:lnTo>
                  <a:lnTo>
                    <a:pt x="1037" y="157"/>
                  </a:lnTo>
                  <a:lnTo>
                    <a:pt x="1051" y="162"/>
                  </a:lnTo>
                  <a:lnTo>
                    <a:pt x="992" y="171"/>
                  </a:lnTo>
                  <a:lnTo>
                    <a:pt x="791" y="63"/>
                  </a:lnTo>
                  <a:lnTo>
                    <a:pt x="489" y="177"/>
                  </a:lnTo>
                  <a:lnTo>
                    <a:pt x="251" y="40"/>
                  </a:lnTo>
                  <a:lnTo>
                    <a:pt x="0" y="91"/>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33" name="Freeform 223"/>
            <p:cNvSpPr>
              <a:spLocks/>
            </p:cNvSpPr>
            <p:nvPr>
              <p:custDataLst>
                <p:tags r:id="rId132"/>
              </p:custDataLst>
            </p:nvPr>
          </p:nvSpPr>
          <p:spPr bwMode="gray">
            <a:xfrm>
              <a:off x="3448" y="1776"/>
              <a:ext cx="890" cy="193"/>
            </a:xfrm>
            <a:custGeom>
              <a:avLst/>
              <a:gdLst>
                <a:gd name="T0" fmla="*/ 13 w 868"/>
                <a:gd name="T1" fmla="*/ 14 h 211"/>
                <a:gd name="T2" fmla="*/ 74 w 868"/>
                <a:gd name="T3" fmla="*/ 12 h 211"/>
                <a:gd name="T4" fmla="*/ 124 w 868"/>
                <a:gd name="T5" fmla="*/ 10 h 211"/>
                <a:gd name="T6" fmla="*/ 173 w 868"/>
                <a:gd name="T7" fmla="*/ 7 h 211"/>
                <a:gd name="T8" fmla="*/ 209 w 868"/>
                <a:gd name="T9" fmla="*/ 5 h 211"/>
                <a:gd name="T10" fmla="*/ 251 w 868"/>
                <a:gd name="T11" fmla="*/ 5 h 211"/>
                <a:gd name="T12" fmla="*/ 305 w 868"/>
                <a:gd name="T13" fmla="*/ 5 h 211"/>
                <a:gd name="T14" fmla="*/ 342 w 868"/>
                <a:gd name="T15" fmla="*/ 5 h 211"/>
                <a:gd name="T16" fmla="*/ 385 w 868"/>
                <a:gd name="T17" fmla="*/ 5 h 211"/>
                <a:gd name="T18" fmla="*/ 448 w 868"/>
                <a:gd name="T19" fmla="*/ 5 h 211"/>
                <a:gd name="T20" fmla="*/ 509 w 868"/>
                <a:gd name="T21" fmla="*/ 8 h 211"/>
                <a:gd name="T22" fmla="*/ 585 w 868"/>
                <a:gd name="T23" fmla="*/ 11 h 211"/>
                <a:gd name="T24" fmla="*/ 656 w 868"/>
                <a:gd name="T25" fmla="*/ 13 h 211"/>
                <a:gd name="T26" fmla="*/ 697 w 868"/>
                <a:gd name="T27" fmla="*/ 15 h 211"/>
                <a:gd name="T28" fmla="*/ 743 w 868"/>
                <a:gd name="T29" fmla="*/ 15 h 211"/>
                <a:gd name="T30" fmla="*/ 752 w 868"/>
                <a:gd name="T31" fmla="*/ 15 h 211"/>
                <a:gd name="T32" fmla="*/ 779 w 868"/>
                <a:gd name="T33" fmla="*/ 13 h 211"/>
                <a:gd name="T34" fmla="*/ 832 w 868"/>
                <a:gd name="T35" fmla="*/ 11 h 211"/>
                <a:gd name="T36" fmla="*/ 876 w 868"/>
                <a:gd name="T37" fmla="*/ 9 h 211"/>
                <a:gd name="T38" fmla="*/ 903 w 868"/>
                <a:gd name="T39" fmla="*/ 7 h 211"/>
                <a:gd name="T40" fmla="*/ 937 w 868"/>
                <a:gd name="T41" fmla="*/ 5 h 211"/>
                <a:gd name="T42" fmla="*/ 954 w 868"/>
                <a:gd name="T43" fmla="*/ 5 h 211"/>
                <a:gd name="T44" fmla="*/ 1005 w 868"/>
                <a:gd name="T45" fmla="*/ 5 h 211"/>
                <a:gd name="T46" fmla="*/ 1050 w 868"/>
                <a:gd name="T47" fmla="*/ 5 h 211"/>
                <a:gd name="T48" fmla="*/ 1083 w 868"/>
                <a:gd name="T49" fmla="*/ 0 h 211"/>
                <a:gd name="T50" fmla="*/ 1110 w 868"/>
                <a:gd name="T51" fmla="*/ 3 h 211"/>
                <a:gd name="T52" fmla="*/ 1147 w 868"/>
                <a:gd name="T53" fmla="*/ 5 h 211"/>
                <a:gd name="T54" fmla="*/ 1190 w 868"/>
                <a:gd name="T55" fmla="*/ 5 h 211"/>
                <a:gd name="T56" fmla="*/ 1224 w 868"/>
                <a:gd name="T57" fmla="*/ 5 h 211"/>
                <a:gd name="T58" fmla="*/ 1280 w 868"/>
                <a:gd name="T59" fmla="*/ 5 h 211"/>
                <a:gd name="T60" fmla="*/ 1321 w 868"/>
                <a:gd name="T61" fmla="*/ 5 h 211"/>
                <a:gd name="T62" fmla="*/ 1367 w 868"/>
                <a:gd name="T63" fmla="*/ 5 h 211"/>
                <a:gd name="T64" fmla="*/ 1426 w 868"/>
                <a:gd name="T65" fmla="*/ 7 h 211"/>
                <a:gd name="T66" fmla="*/ 1469 w 868"/>
                <a:gd name="T67" fmla="*/ 9 h 211"/>
                <a:gd name="T68" fmla="*/ 1515 w 868"/>
                <a:gd name="T69" fmla="*/ 10 h 211"/>
                <a:gd name="T70" fmla="*/ 1561 w 868"/>
                <a:gd name="T71" fmla="*/ 12 h 211"/>
                <a:gd name="T72" fmla="*/ 1612 w 868"/>
                <a:gd name="T73" fmla="*/ 13 h 211"/>
                <a:gd name="T74" fmla="*/ 1654 w 868"/>
                <a:gd name="T75" fmla="*/ 14 h 211"/>
                <a:gd name="T76" fmla="*/ 1447 w 868"/>
                <a:gd name="T77" fmla="*/ 15 h 211"/>
                <a:gd name="T78" fmla="*/ 1110 w 868"/>
                <a:gd name="T79" fmla="*/ 5 h 211"/>
                <a:gd name="T80" fmla="*/ 1083 w 868"/>
                <a:gd name="T81" fmla="*/ 5 h 211"/>
                <a:gd name="T82" fmla="*/ 1069 w 868"/>
                <a:gd name="T83" fmla="*/ 7 h 211"/>
                <a:gd name="T84" fmla="*/ 1043 w 868"/>
                <a:gd name="T85" fmla="*/ 9 h 211"/>
                <a:gd name="T86" fmla="*/ 1005 w 868"/>
                <a:gd name="T87" fmla="*/ 11 h 211"/>
                <a:gd name="T88" fmla="*/ 963 w 868"/>
                <a:gd name="T89" fmla="*/ 12 h 211"/>
                <a:gd name="T90" fmla="*/ 928 w 868"/>
                <a:gd name="T91" fmla="*/ 14 h 211"/>
                <a:gd name="T92" fmla="*/ 893 w 868"/>
                <a:gd name="T93" fmla="*/ 15 h 211"/>
                <a:gd name="T94" fmla="*/ 849 w 868"/>
                <a:gd name="T95" fmla="*/ 16 h 211"/>
                <a:gd name="T96" fmla="*/ 804 w 868"/>
                <a:gd name="T97" fmla="*/ 17 h 211"/>
                <a:gd name="T98" fmla="*/ 770 w 868"/>
                <a:gd name="T99" fmla="*/ 19 h 211"/>
                <a:gd name="T100" fmla="*/ 734 w 868"/>
                <a:gd name="T101" fmla="*/ 21 h 211"/>
                <a:gd name="T102" fmla="*/ 697 w 868"/>
                <a:gd name="T103" fmla="*/ 21 h 211"/>
                <a:gd name="T104" fmla="*/ 680 w 868"/>
                <a:gd name="T105" fmla="*/ 19 h 211"/>
                <a:gd name="T106" fmla="*/ 639 w 868"/>
                <a:gd name="T107" fmla="*/ 17 h 211"/>
                <a:gd name="T108" fmla="*/ 585 w 868"/>
                <a:gd name="T109" fmla="*/ 16 h 211"/>
                <a:gd name="T110" fmla="*/ 509 w 868"/>
                <a:gd name="T111" fmla="*/ 14 h 211"/>
                <a:gd name="T112" fmla="*/ 483 w 868"/>
                <a:gd name="T113" fmla="*/ 13 h 211"/>
                <a:gd name="T114" fmla="*/ 448 w 868"/>
                <a:gd name="T115" fmla="*/ 12 h 211"/>
                <a:gd name="T116" fmla="*/ 385 w 868"/>
                <a:gd name="T117" fmla="*/ 9 h 211"/>
                <a:gd name="T118" fmla="*/ 349 w 868"/>
                <a:gd name="T119" fmla="*/ 7 h 211"/>
                <a:gd name="T120" fmla="*/ 0 w 868"/>
                <a:gd name="T121" fmla="*/ 14 h 21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68"/>
                <a:gd name="T184" fmla="*/ 0 h 211"/>
                <a:gd name="T185" fmla="*/ 868 w 868"/>
                <a:gd name="T186" fmla="*/ 211 h 21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68" h="211">
                  <a:moveTo>
                    <a:pt x="0" y="140"/>
                  </a:moveTo>
                  <a:lnTo>
                    <a:pt x="13" y="131"/>
                  </a:lnTo>
                  <a:lnTo>
                    <a:pt x="27" y="123"/>
                  </a:lnTo>
                  <a:lnTo>
                    <a:pt x="41" y="111"/>
                  </a:lnTo>
                  <a:lnTo>
                    <a:pt x="54" y="103"/>
                  </a:lnTo>
                  <a:lnTo>
                    <a:pt x="64" y="92"/>
                  </a:lnTo>
                  <a:lnTo>
                    <a:pt x="77" y="83"/>
                  </a:lnTo>
                  <a:lnTo>
                    <a:pt x="91" y="74"/>
                  </a:lnTo>
                  <a:lnTo>
                    <a:pt x="105" y="66"/>
                  </a:lnTo>
                  <a:lnTo>
                    <a:pt x="109" y="57"/>
                  </a:lnTo>
                  <a:lnTo>
                    <a:pt x="123" y="49"/>
                  </a:lnTo>
                  <a:lnTo>
                    <a:pt x="132" y="43"/>
                  </a:lnTo>
                  <a:lnTo>
                    <a:pt x="146" y="37"/>
                  </a:lnTo>
                  <a:lnTo>
                    <a:pt x="160" y="29"/>
                  </a:lnTo>
                  <a:lnTo>
                    <a:pt x="173" y="26"/>
                  </a:lnTo>
                  <a:lnTo>
                    <a:pt x="178" y="29"/>
                  </a:lnTo>
                  <a:lnTo>
                    <a:pt x="187" y="35"/>
                  </a:lnTo>
                  <a:lnTo>
                    <a:pt x="201" y="37"/>
                  </a:lnTo>
                  <a:lnTo>
                    <a:pt x="214" y="49"/>
                  </a:lnTo>
                  <a:lnTo>
                    <a:pt x="233" y="57"/>
                  </a:lnTo>
                  <a:lnTo>
                    <a:pt x="251" y="69"/>
                  </a:lnTo>
                  <a:lnTo>
                    <a:pt x="265" y="80"/>
                  </a:lnTo>
                  <a:lnTo>
                    <a:pt x="288" y="94"/>
                  </a:lnTo>
                  <a:lnTo>
                    <a:pt x="306" y="103"/>
                  </a:lnTo>
                  <a:lnTo>
                    <a:pt x="324" y="114"/>
                  </a:lnTo>
                  <a:lnTo>
                    <a:pt x="342" y="126"/>
                  </a:lnTo>
                  <a:lnTo>
                    <a:pt x="356" y="134"/>
                  </a:lnTo>
                  <a:lnTo>
                    <a:pt x="365" y="143"/>
                  </a:lnTo>
                  <a:lnTo>
                    <a:pt x="379" y="146"/>
                  </a:lnTo>
                  <a:lnTo>
                    <a:pt x="388" y="148"/>
                  </a:lnTo>
                  <a:lnTo>
                    <a:pt x="393" y="148"/>
                  </a:lnTo>
                  <a:lnTo>
                    <a:pt x="393" y="143"/>
                  </a:lnTo>
                  <a:lnTo>
                    <a:pt x="402" y="134"/>
                  </a:lnTo>
                  <a:lnTo>
                    <a:pt x="406" y="126"/>
                  </a:lnTo>
                  <a:lnTo>
                    <a:pt x="420" y="114"/>
                  </a:lnTo>
                  <a:lnTo>
                    <a:pt x="434" y="103"/>
                  </a:lnTo>
                  <a:lnTo>
                    <a:pt x="447" y="92"/>
                  </a:lnTo>
                  <a:lnTo>
                    <a:pt x="457" y="86"/>
                  </a:lnTo>
                  <a:lnTo>
                    <a:pt x="466" y="80"/>
                  </a:lnTo>
                  <a:lnTo>
                    <a:pt x="470" y="72"/>
                  </a:lnTo>
                  <a:lnTo>
                    <a:pt x="479" y="69"/>
                  </a:lnTo>
                  <a:lnTo>
                    <a:pt x="489" y="60"/>
                  </a:lnTo>
                  <a:lnTo>
                    <a:pt x="493" y="55"/>
                  </a:lnTo>
                  <a:lnTo>
                    <a:pt x="498" y="46"/>
                  </a:lnTo>
                  <a:lnTo>
                    <a:pt x="507" y="40"/>
                  </a:lnTo>
                  <a:lnTo>
                    <a:pt x="525" y="29"/>
                  </a:lnTo>
                  <a:lnTo>
                    <a:pt x="539" y="20"/>
                  </a:lnTo>
                  <a:lnTo>
                    <a:pt x="548" y="12"/>
                  </a:lnTo>
                  <a:lnTo>
                    <a:pt x="562" y="3"/>
                  </a:lnTo>
                  <a:lnTo>
                    <a:pt x="566" y="0"/>
                  </a:lnTo>
                  <a:lnTo>
                    <a:pt x="580" y="0"/>
                  </a:lnTo>
                  <a:lnTo>
                    <a:pt x="580" y="3"/>
                  </a:lnTo>
                  <a:lnTo>
                    <a:pt x="594" y="6"/>
                  </a:lnTo>
                  <a:lnTo>
                    <a:pt x="598" y="9"/>
                  </a:lnTo>
                  <a:lnTo>
                    <a:pt x="612" y="12"/>
                  </a:lnTo>
                  <a:lnTo>
                    <a:pt x="621" y="17"/>
                  </a:lnTo>
                  <a:lnTo>
                    <a:pt x="630" y="23"/>
                  </a:lnTo>
                  <a:lnTo>
                    <a:pt x="639" y="26"/>
                  </a:lnTo>
                  <a:lnTo>
                    <a:pt x="653" y="32"/>
                  </a:lnTo>
                  <a:lnTo>
                    <a:pt x="667" y="37"/>
                  </a:lnTo>
                  <a:lnTo>
                    <a:pt x="676" y="43"/>
                  </a:lnTo>
                  <a:lnTo>
                    <a:pt x="690" y="49"/>
                  </a:lnTo>
                  <a:lnTo>
                    <a:pt x="703" y="57"/>
                  </a:lnTo>
                  <a:lnTo>
                    <a:pt x="713" y="60"/>
                  </a:lnTo>
                  <a:lnTo>
                    <a:pt x="731" y="69"/>
                  </a:lnTo>
                  <a:lnTo>
                    <a:pt x="745" y="74"/>
                  </a:lnTo>
                  <a:lnTo>
                    <a:pt x="754" y="80"/>
                  </a:lnTo>
                  <a:lnTo>
                    <a:pt x="767" y="86"/>
                  </a:lnTo>
                  <a:lnTo>
                    <a:pt x="781" y="92"/>
                  </a:lnTo>
                  <a:lnTo>
                    <a:pt x="790" y="97"/>
                  </a:lnTo>
                  <a:lnTo>
                    <a:pt x="799" y="103"/>
                  </a:lnTo>
                  <a:lnTo>
                    <a:pt x="813" y="109"/>
                  </a:lnTo>
                  <a:lnTo>
                    <a:pt x="822" y="114"/>
                  </a:lnTo>
                  <a:lnTo>
                    <a:pt x="841" y="123"/>
                  </a:lnTo>
                  <a:lnTo>
                    <a:pt x="854" y="131"/>
                  </a:lnTo>
                  <a:lnTo>
                    <a:pt x="863" y="134"/>
                  </a:lnTo>
                  <a:lnTo>
                    <a:pt x="868" y="134"/>
                  </a:lnTo>
                  <a:lnTo>
                    <a:pt x="754" y="143"/>
                  </a:lnTo>
                  <a:lnTo>
                    <a:pt x="585" y="52"/>
                  </a:lnTo>
                  <a:lnTo>
                    <a:pt x="580" y="55"/>
                  </a:lnTo>
                  <a:lnTo>
                    <a:pt x="575" y="57"/>
                  </a:lnTo>
                  <a:lnTo>
                    <a:pt x="566" y="60"/>
                  </a:lnTo>
                  <a:lnTo>
                    <a:pt x="562" y="69"/>
                  </a:lnTo>
                  <a:lnTo>
                    <a:pt x="557" y="72"/>
                  </a:lnTo>
                  <a:lnTo>
                    <a:pt x="548" y="80"/>
                  </a:lnTo>
                  <a:lnTo>
                    <a:pt x="543" y="86"/>
                  </a:lnTo>
                  <a:lnTo>
                    <a:pt x="530" y="92"/>
                  </a:lnTo>
                  <a:lnTo>
                    <a:pt x="525" y="100"/>
                  </a:lnTo>
                  <a:lnTo>
                    <a:pt x="511" y="109"/>
                  </a:lnTo>
                  <a:lnTo>
                    <a:pt x="502" y="114"/>
                  </a:lnTo>
                  <a:lnTo>
                    <a:pt x="489" y="123"/>
                  </a:lnTo>
                  <a:lnTo>
                    <a:pt x="484" y="131"/>
                  </a:lnTo>
                  <a:lnTo>
                    <a:pt x="475" y="137"/>
                  </a:lnTo>
                  <a:lnTo>
                    <a:pt x="466" y="146"/>
                  </a:lnTo>
                  <a:lnTo>
                    <a:pt x="452" y="154"/>
                  </a:lnTo>
                  <a:lnTo>
                    <a:pt x="443" y="160"/>
                  </a:lnTo>
                  <a:lnTo>
                    <a:pt x="434" y="168"/>
                  </a:lnTo>
                  <a:lnTo>
                    <a:pt x="420" y="174"/>
                  </a:lnTo>
                  <a:lnTo>
                    <a:pt x="415" y="183"/>
                  </a:lnTo>
                  <a:lnTo>
                    <a:pt x="402" y="186"/>
                  </a:lnTo>
                  <a:lnTo>
                    <a:pt x="402" y="194"/>
                  </a:lnTo>
                  <a:lnTo>
                    <a:pt x="384" y="205"/>
                  </a:lnTo>
                  <a:lnTo>
                    <a:pt x="374" y="208"/>
                  </a:lnTo>
                  <a:lnTo>
                    <a:pt x="365" y="211"/>
                  </a:lnTo>
                  <a:lnTo>
                    <a:pt x="365" y="205"/>
                  </a:lnTo>
                  <a:lnTo>
                    <a:pt x="356" y="197"/>
                  </a:lnTo>
                  <a:lnTo>
                    <a:pt x="347" y="191"/>
                  </a:lnTo>
                  <a:lnTo>
                    <a:pt x="333" y="180"/>
                  </a:lnTo>
                  <a:lnTo>
                    <a:pt x="320" y="168"/>
                  </a:lnTo>
                  <a:lnTo>
                    <a:pt x="306" y="157"/>
                  </a:lnTo>
                  <a:lnTo>
                    <a:pt x="288" y="143"/>
                  </a:lnTo>
                  <a:lnTo>
                    <a:pt x="265" y="134"/>
                  </a:lnTo>
                  <a:lnTo>
                    <a:pt x="256" y="126"/>
                  </a:lnTo>
                  <a:lnTo>
                    <a:pt x="251" y="120"/>
                  </a:lnTo>
                  <a:lnTo>
                    <a:pt x="237" y="114"/>
                  </a:lnTo>
                  <a:lnTo>
                    <a:pt x="233" y="109"/>
                  </a:lnTo>
                  <a:lnTo>
                    <a:pt x="214" y="97"/>
                  </a:lnTo>
                  <a:lnTo>
                    <a:pt x="201" y="89"/>
                  </a:lnTo>
                  <a:lnTo>
                    <a:pt x="187" y="80"/>
                  </a:lnTo>
                  <a:lnTo>
                    <a:pt x="182" y="74"/>
                  </a:lnTo>
                  <a:lnTo>
                    <a:pt x="173" y="69"/>
                  </a:lnTo>
                  <a:lnTo>
                    <a:pt x="0" y="140"/>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234" name="Freeform 224"/>
            <p:cNvSpPr>
              <a:spLocks/>
            </p:cNvSpPr>
            <p:nvPr>
              <p:custDataLst>
                <p:tags r:id="rId133"/>
              </p:custDataLst>
            </p:nvPr>
          </p:nvSpPr>
          <p:spPr bwMode="gray">
            <a:xfrm>
              <a:off x="2468" y="1772"/>
              <a:ext cx="980" cy="129"/>
            </a:xfrm>
            <a:custGeom>
              <a:avLst/>
              <a:gdLst>
                <a:gd name="T0" fmla="*/ 66 w 956"/>
                <a:gd name="T1" fmla="*/ 8 h 142"/>
                <a:gd name="T2" fmla="*/ 131 w 956"/>
                <a:gd name="T3" fmla="*/ 6 h 142"/>
                <a:gd name="T4" fmla="*/ 195 w 956"/>
                <a:gd name="T5" fmla="*/ 5 h 142"/>
                <a:gd name="T6" fmla="*/ 252 w 956"/>
                <a:gd name="T7" fmla="*/ 5 h 142"/>
                <a:gd name="T8" fmla="*/ 323 w 956"/>
                <a:gd name="T9" fmla="*/ 5 h 142"/>
                <a:gd name="T10" fmla="*/ 401 w 956"/>
                <a:gd name="T11" fmla="*/ 5 h 142"/>
                <a:gd name="T12" fmla="*/ 471 w 956"/>
                <a:gd name="T13" fmla="*/ 5 h 142"/>
                <a:gd name="T14" fmla="*/ 547 w 956"/>
                <a:gd name="T15" fmla="*/ 5 h 142"/>
                <a:gd name="T16" fmla="*/ 635 w 956"/>
                <a:gd name="T17" fmla="*/ 5 h 142"/>
                <a:gd name="T18" fmla="*/ 713 w 956"/>
                <a:gd name="T19" fmla="*/ 5 h 142"/>
                <a:gd name="T20" fmla="*/ 804 w 956"/>
                <a:gd name="T21" fmla="*/ 5 h 142"/>
                <a:gd name="T22" fmla="*/ 883 w 956"/>
                <a:gd name="T23" fmla="*/ 3 h 142"/>
                <a:gd name="T24" fmla="*/ 953 w 956"/>
                <a:gd name="T25" fmla="*/ 3 h 142"/>
                <a:gd name="T26" fmla="*/ 1035 w 956"/>
                <a:gd name="T27" fmla="*/ 0 h 142"/>
                <a:gd name="T28" fmla="*/ 1113 w 956"/>
                <a:gd name="T29" fmla="*/ 0 h 142"/>
                <a:gd name="T30" fmla="*/ 1187 w 956"/>
                <a:gd name="T31" fmla="*/ 3 h 142"/>
                <a:gd name="T32" fmla="*/ 1248 w 956"/>
                <a:gd name="T33" fmla="*/ 3 h 142"/>
                <a:gd name="T34" fmla="*/ 1316 w 956"/>
                <a:gd name="T35" fmla="*/ 5 h 142"/>
                <a:gd name="T36" fmla="*/ 1399 w 956"/>
                <a:gd name="T37" fmla="*/ 5 h 142"/>
                <a:gd name="T38" fmla="*/ 1470 w 956"/>
                <a:gd name="T39" fmla="*/ 5 h 142"/>
                <a:gd name="T40" fmla="*/ 1541 w 956"/>
                <a:gd name="T41" fmla="*/ 5 h 142"/>
                <a:gd name="T42" fmla="*/ 1614 w 956"/>
                <a:gd name="T43" fmla="*/ 5 h 142"/>
                <a:gd name="T44" fmla="*/ 1690 w 956"/>
                <a:gd name="T45" fmla="*/ 5 h 142"/>
                <a:gd name="T46" fmla="*/ 1765 w 956"/>
                <a:gd name="T47" fmla="*/ 6 h 142"/>
                <a:gd name="T48" fmla="*/ 1809 w 956"/>
                <a:gd name="T49" fmla="*/ 8 h 142"/>
                <a:gd name="T50" fmla="*/ 1809 w 956"/>
                <a:gd name="T51" fmla="*/ 8 h 142"/>
                <a:gd name="T52" fmla="*/ 1744 w 956"/>
                <a:gd name="T53" fmla="*/ 7 h 142"/>
                <a:gd name="T54" fmla="*/ 1673 w 956"/>
                <a:gd name="T55" fmla="*/ 5 h 142"/>
                <a:gd name="T56" fmla="*/ 1596 w 956"/>
                <a:gd name="T57" fmla="*/ 5 h 142"/>
                <a:gd name="T58" fmla="*/ 1505 w 956"/>
                <a:gd name="T59" fmla="*/ 5 h 142"/>
                <a:gd name="T60" fmla="*/ 1399 w 956"/>
                <a:gd name="T61" fmla="*/ 5 h 142"/>
                <a:gd name="T62" fmla="*/ 1290 w 956"/>
                <a:gd name="T63" fmla="*/ 5 h 142"/>
                <a:gd name="T64" fmla="*/ 1212 w 956"/>
                <a:gd name="T65" fmla="*/ 5 h 142"/>
                <a:gd name="T66" fmla="*/ 1152 w 956"/>
                <a:gd name="T67" fmla="*/ 5 h 142"/>
                <a:gd name="T68" fmla="*/ 1088 w 956"/>
                <a:gd name="T69" fmla="*/ 5 h 142"/>
                <a:gd name="T70" fmla="*/ 1030 w 956"/>
                <a:gd name="T71" fmla="*/ 5 h 142"/>
                <a:gd name="T72" fmla="*/ 968 w 956"/>
                <a:gd name="T73" fmla="*/ 5 h 142"/>
                <a:gd name="T74" fmla="*/ 896 w 956"/>
                <a:gd name="T75" fmla="*/ 5 h 142"/>
                <a:gd name="T76" fmla="*/ 827 w 956"/>
                <a:gd name="T77" fmla="*/ 5 h 142"/>
                <a:gd name="T78" fmla="*/ 757 w 956"/>
                <a:gd name="T79" fmla="*/ 5 h 142"/>
                <a:gd name="T80" fmla="*/ 696 w 956"/>
                <a:gd name="T81" fmla="*/ 5 h 142"/>
                <a:gd name="T82" fmla="*/ 628 w 956"/>
                <a:gd name="T83" fmla="*/ 5 h 142"/>
                <a:gd name="T84" fmla="*/ 568 w 956"/>
                <a:gd name="T85" fmla="*/ 5 h 142"/>
                <a:gd name="T86" fmla="*/ 507 w 956"/>
                <a:gd name="T87" fmla="*/ 5 h 142"/>
                <a:gd name="T88" fmla="*/ 437 w 956"/>
                <a:gd name="T89" fmla="*/ 5 h 142"/>
                <a:gd name="T90" fmla="*/ 359 w 956"/>
                <a:gd name="T91" fmla="*/ 6 h 142"/>
                <a:gd name="T92" fmla="*/ 263 w 956"/>
                <a:gd name="T93" fmla="*/ 8 h 142"/>
                <a:gd name="T94" fmla="*/ 164 w 956"/>
                <a:gd name="T95" fmla="*/ 10 h 142"/>
                <a:gd name="T96" fmla="*/ 84 w 956"/>
                <a:gd name="T97" fmla="*/ 11 h 142"/>
                <a:gd name="T98" fmla="*/ 0 w 956"/>
                <a:gd name="T99" fmla="*/ 12 h 142"/>
                <a:gd name="T100" fmla="*/ 5 w 956"/>
                <a:gd name="T101" fmla="*/ 11 h 142"/>
                <a:gd name="T102" fmla="*/ 5 w 956"/>
                <a:gd name="T103" fmla="*/ 10 h 14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56"/>
                <a:gd name="T157" fmla="*/ 0 h 142"/>
                <a:gd name="T158" fmla="*/ 956 w 956"/>
                <a:gd name="T159" fmla="*/ 142 h 14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56" h="142">
                  <a:moveTo>
                    <a:pt x="5" y="119"/>
                  </a:moveTo>
                  <a:lnTo>
                    <a:pt x="19" y="108"/>
                  </a:lnTo>
                  <a:lnTo>
                    <a:pt x="37" y="97"/>
                  </a:lnTo>
                  <a:lnTo>
                    <a:pt x="46" y="91"/>
                  </a:lnTo>
                  <a:lnTo>
                    <a:pt x="55" y="85"/>
                  </a:lnTo>
                  <a:lnTo>
                    <a:pt x="69" y="79"/>
                  </a:lnTo>
                  <a:lnTo>
                    <a:pt x="78" y="77"/>
                  </a:lnTo>
                  <a:lnTo>
                    <a:pt x="87" y="74"/>
                  </a:lnTo>
                  <a:lnTo>
                    <a:pt x="101" y="68"/>
                  </a:lnTo>
                  <a:lnTo>
                    <a:pt x="110" y="62"/>
                  </a:lnTo>
                  <a:lnTo>
                    <a:pt x="119" y="60"/>
                  </a:lnTo>
                  <a:lnTo>
                    <a:pt x="133" y="57"/>
                  </a:lnTo>
                  <a:lnTo>
                    <a:pt x="147" y="51"/>
                  </a:lnTo>
                  <a:lnTo>
                    <a:pt x="156" y="51"/>
                  </a:lnTo>
                  <a:lnTo>
                    <a:pt x="170" y="45"/>
                  </a:lnTo>
                  <a:lnTo>
                    <a:pt x="183" y="42"/>
                  </a:lnTo>
                  <a:lnTo>
                    <a:pt x="192" y="40"/>
                  </a:lnTo>
                  <a:lnTo>
                    <a:pt x="211" y="37"/>
                  </a:lnTo>
                  <a:lnTo>
                    <a:pt x="224" y="31"/>
                  </a:lnTo>
                  <a:lnTo>
                    <a:pt x="234" y="31"/>
                  </a:lnTo>
                  <a:lnTo>
                    <a:pt x="247" y="28"/>
                  </a:lnTo>
                  <a:lnTo>
                    <a:pt x="261" y="25"/>
                  </a:lnTo>
                  <a:lnTo>
                    <a:pt x="279" y="22"/>
                  </a:lnTo>
                  <a:lnTo>
                    <a:pt x="288" y="20"/>
                  </a:lnTo>
                  <a:lnTo>
                    <a:pt x="307" y="20"/>
                  </a:lnTo>
                  <a:lnTo>
                    <a:pt x="320" y="17"/>
                  </a:lnTo>
                  <a:lnTo>
                    <a:pt x="334" y="17"/>
                  </a:lnTo>
                  <a:lnTo>
                    <a:pt x="343" y="14"/>
                  </a:lnTo>
                  <a:lnTo>
                    <a:pt x="361" y="11"/>
                  </a:lnTo>
                  <a:lnTo>
                    <a:pt x="375" y="8"/>
                  </a:lnTo>
                  <a:lnTo>
                    <a:pt x="393" y="8"/>
                  </a:lnTo>
                  <a:lnTo>
                    <a:pt x="403" y="8"/>
                  </a:lnTo>
                  <a:lnTo>
                    <a:pt x="421" y="5"/>
                  </a:lnTo>
                  <a:lnTo>
                    <a:pt x="430" y="5"/>
                  </a:lnTo>
                  <a:lnTo>
                    <a:pt x="448" y="5"/>
                  </a:lnTo>
                  <a:lnTo>
                    <a:pt x="462" y="3"/>
                  </a:lnTo>
                  <a:lnTo>
                    <a:pt x="476" y="3"/>
                  </a:lnTo>
                  <a:lnTo>
                    <a:pt x="489" y="3"/>
                  </a:lnTo>
                  <a:lnTo>
                    <a:pt x="499" y="3"/>
                  </a:lnTo>
                  <a:lnTo>
                    <a:pt x="517" y="0"/>
                  </a:lnTo>
                  <a:lnTo>
                    <a:pt x="531" y="0"/>
                  </a:lnTo>
                  <a:lnTo>
                    <a:pt x="544" y="0"/>
                  </a:lnTo>
                  <a:lnTo>
                    <a:pt x="553" y="0"/>
                  </a:lnTo>
                  <a:lnTo>
                    <a:pt x="567" y="0"/>
                  </a:lnTo>
                  <a:lnTo>
                    <a:pt x="585" y="0"/>
                  </a:lnTo>
                  <a:lnTo>
                    <a:pt x="595" y="0"/>
                  </a:lnTo>
                  <a:lnTo>
                    <a:pt x="608" y="3"/>
                  </a:lnTo>
                  <a:lnTo>
                    <a:pt x="622" y="3"/>
                  </a:lnTo>
                  <a:lnTo>
                    <a:pt x="631" y="3"/>
                  </a:lnTo>
                  <a:lnTo>
                    <a:pt x="645" y="3"/>
                  </a:lnTo>
                  <a:lnTo>
                    <a:pt x="654" y="3"/>
                  </a:lnTo>
                  <a:lnTo>
                    <a:pt x="668" y="3"/>
                  </a:lnTo>
                  <a:lnTo>
                    <a:pt x="677" y="3"/>
                  </a:lnTo>
                  <a:lnTo>
                    <a:pt x="691" y="5"/>
                  </a:lnTo>
                  <a:lnTo>
                    <a:pt x="700" y="5"/>
                  </a:lnTo>
                  <a:lnTo>
                    <a:pt x="718" y="8"/>
                  </a:lnTo>
                  <a:lnTo>
                    <a:pt x="736" y="8"/>
                  </a:lnTo>
                  <a:lnTo>
                    <a:pt x="750" y="14"/>
                  </a:lnTo>
                  <a:lnTo>
                    <a:pt x="764" y="17"/>
                  </a:lnTo>
                  <a:lnTo>
                    <a:pt x="773" y="20"/>
                  </a:lnTo>
                  <a:lnTo>
                    <a:pt x="791" y="22"/>
                  </a:lnTo>
                  <a:lnTo>
                    <a:pt x="800" y="25"/>
                  </a:lnTo>
                  <a:lnTo>
                    <a:pt x="809" y="31"/>
                  </a:lnTo>
                  <a:lnTo>
                    <a:pt x="823" y="31"/>
                  </a:lnTo>
                  <a:lnTo>
                    <a:pt x="837" y="37"/>
                  </a:lnTo>
                  <a:lnTo>
                    <a:pt x="846" y="40"/>
                  </a:lnTo>
                  <a:lnTo>
                    <a:pt x="855" y="42"/>
                  </a:lnTo>
                  <a:lnTo>
                    <a:pt x="873" y="51"/>
                  </a:lnTo>
                  <a:lnTo>
                    <a:pt x="887" y="60"/>
                  </a:lnTo>
                  <a:lnTo>
                    <a:pt x="905" y="65"/>
                  </a:lnTo>
                  <a:lnTo>
                    <a:pt x="919" y="74"/>
                  </a:lnTo>
                  <a:lnTo>
                    <a:pt x="928" y="77"/>
                  </a:lnTo>
                  <a:lnTo>
                    <a:pt x="937" y="85"/>
                  </a:lnTo>
                  <a:lnTo>
                    <a:pt x="946" y="88"/>
                  </a:lnTo>
                  <a:lnTo>
                    <a:pt x="951" y="94"/>
                  </a:lnTo>
                  <a:lnTo>
                    <a:pt x="956" y="97"/>
                  </a:lnTo>
                  <a:lnTo>
                    <a:pt x="956" y="99"/>
                  </a:lnTo>
                  <a:lnTo>
                    <a:pt x="951" y="97"/>
                  </a:lnTo>
                  <a:lnTo>
                    <a:pt x="942" y="94"/>
                  </a:lnTo>
                  <a:lnTo>
                    <a:pt x="928" y="88"/>
                  </a:lnTo>
                  <a:lnTo>
                    <a:pt x="914" y="85"/>
                  </a:lnTo>
                  <a:lnTo>
                    <a:pt x="901" y="79"/>
                  </a:lnTo>
                  <a:lnTo>
                    <a:pt x="887" y="77"/>
                  </a:lnTo>
                  <a:lnTo>
                    <a:pt x="878" y="74"/>
                  </a:lnTo>
                  <a:lnTo>
                    <a:pt x="864" y="68"/>
                  </a:lnTo>
                  <a:lnTo>
                    <a:pt x="846" y="65"/>
                  </a:lnTo>
                  <a:lnTo>
                    <a:pt x="837" y="62"/>
                  </a:lnTo>
                  <a:lnTo>
                    <a:pt x="823" y="60"/>
                  </a:lnTo>
                  <a:lnTo>
                    <a:pt x="809" y="57"/>
                  </a:lnTo>
                  <a:lnTo>
                    <a:pt x="791" y="51"/>
                  </a:lnTo>
                  <a:lnTo>
                    <a:pt x="773" y="51"/>
                  </a:lnTo>
                  <a:lnTo>
                    <a:pt x="755" y="45"/>
                  </a:lnTo>
                  <a:lnTo>
                    <a:pt x="736" y="42"/>
                  </a:lnTo>
                  <a:lnTo>
                    <a:pt x="718" y="40"/>
                  </a:lnTo>
                  <a:lnTo>
                    <a:pt x="700" y="37"/>
                  </a:lnTo>
                  <a:lnTo>
                    <a:pt x="677" y="31"/>
                  </a:lnTo>
                  <a:lnTo>
                    <a:pt x="659" y="31"/>
                  </a:lnTo>
                  <a:lnTo>
                    <a:pt x="649" y="31"/>
                  </a:lnTo>
                  <a:lnTo>
                    <a:pt x="636" y="28"/>
                  </a:lnTo>
                  <a:lnTo>
                    <a:pt x="627" y="28"/>
                  </a:lnTo>
                  <a:lnTo>
                    <a:pt x="617" y="28"/>
                  </a:lnTo>
                  <a:lnTo>
                    <a:pt x="604" y="25"/>
                  </a:lnTo>
                  <a:lnTo>
                    <a:pt x="595" y="25"/>
                  </a:lnTo>
                  <a:lnTo>
                    <a:pt x="585" y="25"/>
                  </a:lnTo>
                  <a:lnTo>
                    <a:pt x="572" y="25"/>
                  </a:lnTo>
                  <a:lnTo>
                    <a:pt x="563" y="25"/>
                  </a:lnTo>
                  <a:lnTo>
                    <a:pt x="553" y="25"/>
                  </a:lnTo>
                  <a:lnTo>
                    <a:pt x="540" y="25"/>
                  </a:lnTo>
                  <a:lnTo>
                    <a:pt x="531" y="25"/>
                  </a:lnTo>
                  <a:lnTo>
                    <a:pt x="517" y="25"/>
                  </a:lnTo>
                  <a:lnTo>
                    <a:pt x="508" y="25"/>
                  </a:lnTo>
                  <a:lnTo>
                    <a:pt x="499" y="25"/>
                  </a:lnTo>
                  <a:lnTo>
                    <a:pt x="485" y="25"/>
                  </a:lnTo>
                  <a:lnTo>
                    <a:pt x="471" y="25"/>
                  </a:lnTo>
                  <a:lnTo>
                    <a:pt x="462" y="25"/>
                  </a:lnTo>
                  <a:lnTo>
                    <a:pt x="448" y="25"/>
                  </a:lnTo>
                  <a:lnTo>
                    <a:pt x="435" y="28"/>
                  </a:lnTo>
                  <a:lnTo>
                    <a:pt x="421" y="28"/>
                  </a:lnTo>
                  <a:lnTo>
                    <a:pt x="412" y="31"/>
                  </a:lnTo>
                  <a:lnTo>
                    <a:pt x="398" y="31"/>
                  </a:lnTo>
                  <a:lnTo>
                    <a:pt x="389" y="31"/>
                  </a:lnTo>
                  <a:lnTo>
                    <a:pt x="375" y="34"/>
                  </a:lnTo>
                  <a:lnTo>
                    <a:pt x="366" y="37"/>
                  </a:lnTo>
                  <a:lnTo>
                    <a:pt x="352" y="37"/>
                  </a:lnTo>
                  <a:lnTo>
                    <a:pt x="343" y="40"/>
                  </a:lnTo>
                  <a:lnTo>
                    <a:pt x="330" y="42"/>
                  </a:lnTo>
                  <a:lnTo>
                    <a:pt x="320" y="42"/>
                  </a:lnTo>
                  <a:lnTo>
                    <a:pt x="311" y="48"/>
                  </a:lnTo>
                  <a:lnTo>
                    <a:pt x="298" y="51"/>
                  </a:lnTo>
                  <a:lnTo>
                    <a:pt x="288" y="51"/>
                  </a:lnTo>
                  <a:lnTo>
                    <a:pt x="275" y="54"/>
                  </a:lnTo>
                  <a:lnTo>
                    <a:pt x="266" y="57"/>
                  </a:lnTo>
                  <a:lnTo>
                    <a:pt x="252" y="60"/>
                  </a:lnTo>
                  <a:lnTo>
                    <a:pt x="243" y="62"/>
                  </a:lnTo>
                  <a:lnTo>
                    <a:pt x="229" y="65"/>
                  </a:lnTo>
                  <a:lnTo>
                    <a:pt x="224" y="68"/>
                  </a:lnTo>
                  <a:lnTo>
                    <a:pt x="211" y="74"/>
                  </a:lnTo>
                  <a:lnTo>
                    <a:pt x="188" y="79"/>
                  </a:lnTo>
                  <a:lnTo>
                    <a:pt x="174" y="85"/>
                  </a:lnTo>
                  <a:lnTo>
                    <a:pt x="156" y="91"/>
                  </a:lnTo>
                  <a:lnTo>
                    <a:pt x="138" y="99"/>
                  </a:lnTo>
                  <a:lnTo>
                    <a:pt x="119" y="105"/>
                  </a:lnTo>
                  <a:lnTo>
                    <a:pt x="101" y="108"/>
                  </a:lnTo>
                  <a:lnTo>
                    <a:pt x="87" y="116"/>
                  </a:lnTo>
                  <a:lnTo>
                    <a:pt x="69" y="119"/>
                  </a:lnTo>
                  <a:lnTo>
                    <a:pt x="55" y="128"/>
                  </a:lnTo>
                  <a:lnTo>
                    <a:pt x="46" y="131"/>
                  </a:lnTo>
                  <a:lnTo>
                    <a:pt x="32" y="136"/>
                  </a:lnTo>
                  <a:lnTo>
                    <a:pt x="23" y="142"/>
                  </a:lnTo>
                  <a:lnTo>
                    <a:pt x="0" y="142"/>
                  </a:lnTo>
                  <a:lnTo>
                    <a:pt x="0" y="136"/>
                  </a:lnTo>
                  <a:lnTo>
                    <a:pt x="0" y="128"/>
                  </a:lnTo>
                  <a:lnTo>
                    <a:pt x="5" y="125"/>
                  </a:lnTo>
                  <a:lnTo>
                    <a:pt x="5" y="119"/>
                  </a:lnTo>
                  <a:close/>
                </a:path>
              </a:pathLst>
            </a:custGeom>
            <a:gradFill rotWithShape="1">
              <a:gsLst>
                <a:gs pos="0">
                  <a:schemeClr val="accent2"/>
                </a:gs>
                <a:gs pos="100000">
                  <a:srgbClr val="996633">
                    <a:alpha val="75000"/>
                  </a:srgbClr>
                </a:gs>
              </a:gsLst>
              <a:lin ang="5400000" scaled="1"/>
            </a:gradFill>
            <a:ln w="9525">
              <a:solidFill>
                <a:schemeClr val="accent1"/>
              </a:solidFill>
              <a:round/>
              <a:headEnd/>
              <a:tailEnd/>
            </a:ln>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grpSp>
      <p:grpSp>
        <p:nvGrpSpPr>
          <p:cNvPr id="4111" name="Group 45"/>
          <p:cNvGrpSpPr>
            <a:grpSpLocks/>
          </p:cNvGrpSpPr>
          <p:nvPr>
            <p:custDataLst>
              <p:tags r:id="rId14"/>
            </p:custDataLst>
          </p:nvPr>
        </p:nvGrpSpPr>
        <p:grpSpPr bwMode="auto">
          <a:xfrm>
            <a:off x="4726437" y="2943077"/>
            <a:ext cx="819639" cy="1017200"/>
            <a:chOff x="360" y="505"/>
            <a:chExt cx="666" cy="877"/>
          </a:xfrm>
        </p:grpSpPr>
        <p:grpSp>
          <p:nvGrpSpPr>
            <p:cNvPr id="4185" name="Group 46"/>
            <p:cNvGrpSpPr>
              <a:grpSpLocks/>
            </p:cNvGrpSpPr>
            <p:nvPr/>
          </p:nvGrpSpPr>
          <p:grpSpPr bwMode="auto">
            <a:xfrm>
              <a:off x="360" y="505"/>
              <a:ext cx="666" cy="670"/>
              <a:chOff x="341" y="1877"/>
              <a:chExt cx="666" cy="670"/>
            </a:xfrm>
          </p:grpSpPr>
          <p:grpSp>
            <p:nvGrpSpPr>
              <p:cNvPr id="4187" name="Group 47"/>
              <p:cNvGrpSpPr>
                <a:grpSpLocks/>
              </p:cNvGrpSpPr>
              <p:nvPr>
                <p:custDataLst>
                  <p:tags r:id="rId89"/>
                </p:custDataLst>
              </p:nvPr>
            </p:nvGrpSpPr>
            <p:grpSpPr bwMode="auto">
              <a:xfrm>
                <a:off x="341" y="1877"/>
                <a:ext cx="666" cy="670"/>
                <a:chOff x="2736" y="1877"/>
                <a:chExt cx="666" cy="670"/>
              </a:xfrm>
            </p:grpSpPr>
            <p:sp>
              <p:nvSpPr>
                <p:cNvPr id="4194" name="AutoShape 48"/>
                <p:cNvSpPr>
                  <a:spLocks noChangeArrowheads="1"/>
                </p:cNvSpPr>
                <p:nvPr>
                  <p:custDataLst>
                    <p:tags r:id="rId93"/>
                  </p:custDataLst>
                </p:nvPr>
              </p:nvSpPr>
              <p:spPr bwMode="gray">
                <a:xfrm>
                  <a:off x="2736" y="1877"/>
                  <a:ext cx="666" cy="191"/>
                </a:xfrm>
                <a:prstGeom prst="triangle">
                  <a:avLst>
                    <a:gd name="adj" fmla="val 50000"/>
                  </a:avLst>
                </a:prstGeom>
                <a:solidFill>
                  <a:schemeClr val="accent1"/>
                </a:solidFill>
                <a:ln w="9525">
                  <a:solidFill>
                    <a:schemeClr val="accent1"/>
                  </a:solidFill>
                  <a:miter lim="800000"/>
                  <a:headEnd/>
                  <a:tailEnd/>
                </a:ln>
              </p:spPr>
              <p:txBody>
                <a:bodyPr wrap="none" anchor="ctr"/>
                <a:lstStyle/>
                <a:p>
                  <a:pPr fontAlgn="base">
                    <a:spcBef>
                      <a:spcPct val="0"/>
                    </a:spcBef>
                    <a:spcAft>
                      <a:spcPct val="0"/>
                    </a:spcAft>
                  </a:pPr>
                  <a:endParaRPr lang="en-GB" sz="1500" b="1">
                    <a:solidFill>
                      <a:srgbClr val="000000"/>
                    </a:solidFill>
                    <a:ea typeface="ＭＳ Ｐゴシック" charset="0"/>
                    <a:cs typeface="Arial" charset="0"/>
                  </a:endParaRPr>
                </a:p>
              </p:txBody>
            </p:sp>
            <p:sp>
              <p:nvSpPr>
                <p:cNvPr id="4195" name="Rectangle 49"/>
                <p:cNvSpPr>
                  <a:spLocks noChangeArrowheads="1"/>
                </p:cNvSpPr>
                <p:nvPr>
                  <p:custDataLst>
                    <p:tags r:id="rId94"/>
                  </p:custDataLst>
                </p:nvPr>
              </p:nvSpPr>
              <p:spPr bwMode="gray">
                <a:xfrm>
                  <a:off x="2783" y="2068"/>
                  <a:ext cx="572" cy="479"/>
                </a:xfrm>
                <a:prstGeom prst="rect">
                  <a:avLst/>
                </a:prstGeom>
                <a:solidFill>
                  <a:schemeClr val="accent1"/>
                </a:solidFill>
                <a:ln w="9525">
                  <a:solidFill>
                    <a:schemeClr val="accent1"/>
                  </a:solidFill>
                  <a:miter lim="800000"/>
                  <a:headEnd/>
                  <a:tailEnd/>
                </a:ln>
              </p:spPr>
              <p:txBody>
                <a:bodyPr wrap="none" anchor="ctr"/>
                <a:lstStyle/>
                <a:p>
                  <a:pPr fontAlgn="base">
                    <a:spcBef>
                      <a:spcPct val="0"/>
                    </a:spcBef>
                    <a:spcAft>
                      <a:spcPct val="0"/>
                    </a:spcAft>
                  </a:pPr>
                  <a:endParaRPr lang="en-GB" sz="1500" b="1">
                    <a:solidFill>
                      <a:srgbClr val="000000"/>
                    </a:solidFill>
                    <a:ea typeface="ＭＳ Ｐゴシック" charset="0"/>
                    <a:cs typeface="Arial" charset="0"/>
                  </a:endParaRPr>
                </a:p>
              </p:txBody>
            </p:sp>
          </p:grpSp>
          <p:grpSp>
            <p:nvGrpSpPr>
              <p:cNvPr id="4188" name="Group 50"/>
              <p:cNvGrpSpPr>
                <a:grpSpLocks/>
              </p:cNvGrpSpPr>
              <p:nvPr>
                <p:custDataLst>
                  <p:tags r:id="rId90"/>
                </p:custDataLst>
              </p:nvPr>
            </p:nvGrpSpPr>
            <p:grpSpPr bwMode="auto">
              <a:xfrm>
                <a:off x="524" y="2157"/>
                <a:ext cx="301" cy="300"/>
                <a:chOff x="986" y="2603"/>
                <a:chExt cx="886" cy="969"/>
              </a:xfrm>
            </p:grpSpPr>
            <p:sp>
              <p:nvSpPr>
                <p:cNvPr id="4189" name="Rectangle 51"/>
                <p:cNvSpPr>
                  <a:spLocks noChangeArrowheads="1"/>
                </p:cNvSpPr>
                <p:nvPr>
                  <p:custDataLst>
                    <p:tags r:id="rId91"/>
                  </p:custDataLst>
                </p:nvPr>
              </p:nvSpPr>
              <p:spPr bwMode="gray">
                <a:xfrm>
                  <a:off x="986" y="2603"/>
                  <a:ext cx="886" cy="969"/>
                </a:xfrm>
                <a:prstGeom prst="rect">
                  <a:avLst/>
                </a:prstGeom>
                <a:solidFill>
                  <a:schemeClr val="bg2"/>
                </a:solidFill>
                <a:ln w="28575">
                  <a:solidFill>
                    <a:srgbClr val="FF0000"/>
                  </a:solidFill>
                  <a:miter lim="800000"/>
                  <a:headEnd/>
                  <a:tailEnd/>
                </a:ln>
              </p:spPr>
              <p:txBody>
                <a:bodyPr wrap="none" anchor="ctr"/>
                <a:lstStyle/>
                <a:p>
                  <a:pPr fontAlgn="base">
                    <a:spcBef>
                      <a:spcPct val="0"/>
                    </a:spcBef>
                    <a:spcAft>
                      <a:spcPct val="0"/>
                    </a:spcAft>
                  </a:pPr>
                  <a:endParaRPr lang="en-GB" sz="1500" b="1">
                    <a:solidFill>
                      <a:srgbClr val="000000"/>
                    </a:solidFill>
                    <a:ea typeface="ＭＳ Ｐゴシック" charset="0"/>
                    <a:cs typeface="Arial" charset="0"/>
                  </a:endParaRPr>
                </a:p>
              </p:txBody>
            </p:sp>
            <p:grpSp>
              <p:nvGrpSpPr>
                <p:cNvPr id="4190" name="Group 52"/>
                <p:cNvGrpSpPr>
                  <a:grpSpLocks/>
                </p:cNvGrpSpPr>
                <p:nvPr>
                  <p:custDataLst>
                    <p:tags r:id="rId92"/>
                  </p:custDataLst>
                </p:nvPr>
              </p:nvGrpSpPr>
              <p:grpSpPr bwMode="auto">
                <a:xfrm>
                  <a:off x="1054" y="2713"/>
                  <a:ext cx="750" cy="750"/>
                  <a:chOff x="1059" y="2713"/>
                  <a:chExt cx="750" cy="750"/>
                </a:xfrm>
              </p:grpSpPr>
              <p:sp>
                <p:nvSpPr>
                  <p:cNvPr id="4191" name="Rectangle 53"/>
                  <p:cNvSpPr>
                    <a:spLocks noChangeArrowheads="1"/>
                  </p:cNvSpPr>
                  <p:nvPr/>
                </p:nvSpPr>
                <p:spPr bwMode="gray">
                  <a:xfrm>
                    <a:off x="1327" y="2713"/>
                    <a:ext cx="214" cy="750"/>
                  </a:xfrm>
                  <a:prstGeom prst="rect">
                    <a:avLst/>
                  </a:prstGeom>
                  <a:solidFill>
                    <a:srgbClr val="FF0000"/>
                  </a:solidFill>
                  <a:ln w="19050">
                    <a:solidFill>
                      <a:schemeClr val="bg2"/>
                    </a:solidFill>
                    <a:miter lim="800000"/>
                    <a:headEnd/>
                    <a:tailEnd/>
                  </a:ln>
                </p:spPr>
                <p:txBody>
                  <a:bodyPr wrap="none" anchor="ctr"/>
                  <a:lstStyle/>
                  <a:p>
                    <a:pPr fontAlgn="base">
                      <a:spcBef>
                        <a:spcPct val="0"/>
                      </a:spcBef>
                      <a:spcAft>
                        <a:spcPct val="0"/>
                      </a:spcAft>
                    </a:pPr>
                    <a:endParaRPr lang="en-GB" sz="1500" b="1">
                      <a:solidFill>
                        <a:srgbClr val="000000"/>
                      </a:solidFill>
                      <a:ea typeface="ＭＳ Ｐゴシック" charset="0"/>
                      <a:cs typeface="Arial" charset="0"/>
                    </a:endParaRPr>
                  </a:p>
                </p:txBody>
              </p:sp>
              <p:sp>
                <p:nvSpPr>
                  <p:cNvPr id="4192" name="Rectangle 54"/>
                  <p:cNvSpPr>
                    <a:spLocks noChangeArrowheads="1"/>
                  </p:cNvSpPr>
                  <p:nvPr/>
                </p:nvSpPr>
                <p:spPr bwMode="gray">
                  <a:xfrm rot="5400000">
                    <a:off x="1328" y="2713"/>
                    <a:ext cx="212" cy="750"/>
                  </a:xfrm>
                  <a:prstGeom prst="rect">
                    <a:avLst/>
                  </a:prstGeom>
                  <a:solidFill>
                    <a:srgbClr val="FF0000"/>
                  </a:solidFill>
                  <a:ln w="19050">
                    <a:solidFill>
                      <a:schemeClr val="bg2"/>
                    </a:solidFill>
                    <a:miter lim="800000"/>
                    <a:headEnd/>
                    <a:tailEnd/>
                  </a:ln>
                </p:spPr>
                <p:txBody>
                  <a:bodyPr rot="10800000" vert="eaVert" wrap="none" anchor="ctr"/>
                  <a:lstStyle/>
                  <a:p>
                    <a:pPr fontAlgn="base">
                      <a:spcBef>
                        <a:spcPct val="0"/>
                      </a:spcBef>
                      <a:spcAft>
                        <a:spcPct val="0"/>
                      </a:spcAft>
                    </a:pPr>
                    <a:endParaRPr lang="en-GB" sz="1500" b="1">
                      <a:solidFill>
                        <a:srgbClr val="000000"/>
                      </a:solidFill>
                      <a:ea typeface="ＭＳ Ｐゴシック" charset="0"/>
                      <a:cs typeface="Arial" charset="0"/>
                    </a:endParaRPr>
                  </a:p>
                </p:txBody>
              </p:sp>
              <p:sp>
                <p:nvSpPr>
                  <p:cNvPr id="4193" name="Rectangle 55"/>
                  <p:cNvSpPr>
                    <a:spLocks noChangeArrowheads="1"/>
                  </p:cNvSpPr>
                  <p:nvPr/>
                </p:nvSpPr>
                <p:spPr bwMode="gray">
                  <a:xfrm>
                    <a:off x="1335" y="2956"/>
                    <a:ext cx="198" cy="264"/>
                  </a:xfrm>
                  <a:prstGeom prst="rect">
                    <a:avLst/>
                  </a:prstGeom>
                  <a:solidFill>
                    <a:srgbClr val="FF0000"/>
                  </a:solidFill>
                  <a:ln>
                    <a:noFill/>
                  </a:ln>
                  <a:extLst>
                    <a:ext uri="{91240B29-F687-4F45-9708-019B960494DF}">
                      <a14:hiddenLine xmlns:a14="http://schemas.microsoft.com/office/drawing/2010/main" w="19050">
                        <a:solidFill>
                          <a:srgbClr val="000000"/>
                        </a:solidFill>
                        <a:miter lim="800000"/>
                        <a:headEnd/>
                        <a:tailEnd/>
                      </a14:hiddenLine>
                    </a:ext>
                  </a:extLst>
                </p:spPr>
                <p:txBody>
                  <a:bodyPr wrap="none" anchor="ctr"/>
                  <a:lstStyle/>
                  <a:p>
                    <a:pPr fontAlgn="base">
                      <a:spcBef>
                        <a:spcPct val="0"/>
                      </a:spcBef>
                      <a:spcAft>
                        <a:spcPct val="0"/>
                      </a:spcAft>
                    </a:pPr>
                    <a:endParaRPr lang="en-GB" sz="1500" b="1">
                      <a:solidFill>
                        <a:srgbClr val="000000"/>
                      </a:solidFill>
                      <a:ea typeface="ＭＳ Ｐゴシック" charset="0"/>
                      <a:cs typeface="Arial" charset="0"/>
                    </a:endParaRPr>
                  </a:p>
                </p:txBody>
              </p:sp>
            </p:grpSp>
          </p:grpSp>
        </p:grpSp>
        <p:sp>
          <p:nvSpPr>
            <p:cNvPr id="4186" name="Rectangle 56"/>
            <p:cNvSpPr>
              <a:spLocks noChangeArrowheads="1"/>
            </p:cNvSpPr>
            <p:nvPr>
              <p:custDataLst>
                <p:tags r:id="rId88"/>
              </p:custDataLst>
            </p:nvPr>
          </p:nvSpPr>
          <p:spPr bwMode="gray">
            <a:xfrm>
              <a:off x="360" y="1228"/>
              <a:ext cx="666"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912556" fontAlgn="base">
                <a:spcBef>
                  <a:spcPct val="0"/>
                </a:spcBef>
                <a:spcAft>
                  <a:spcPct val="0"/>
                </a:spcAft>
                <a:buClr>
                  <a:srgbClr val="036803"/>
                </a:buClr>
              </a:pPr>
              <a:r>
                <a:rPr lang="en-GB" altLang="ja-JP" sz="1500" b="1" dirty="0">
                  <a:solidFill>
                    <a:srgbClr val="000000"/>
                  </a:solidFill>
                  <a:ea typeface="MS PGothic" pitchFamily="34" charset="-128"/>
                  <a:cs typeface="Arial" charset="0"/>
                </a:rPr>
                <a:t>Hospital</a:t>
              </a:r>
            </a:p>
          </p:txBody>
        </p:sp>
      </p:grpSp>
      <p:sp>
        <p:nvSpPr>
          <p:cNvPr id="4112" name="Rectangle 234"/>
          <p:cNvSpPr>
            <a:spLocks noChangeArrowheads="1"/>
          </p:cNvSpPr>
          <p:nvPr>
            <p:custDataLst>
              <p:tags r:id="rId15"/>
            </p:custDataLst>
          </p:nvPr>
        </p:nvSpPr>
        <p:spPr bwMode="gray">
          <a:xfrm>
            <a:off x="1504563" y="1655383"/>
            <a:ext cx="805061" cy="166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912556" fontAlgn="base">
              <a:spcBef>
                <a:spcPct val="0"/>
              </a:spcBef>
              <a:spcAft>
                <a:spcPct val="0"/>
              </a:spcAft>
              <a:buClr>
                <a:srgbClr val="036803"/>
              </a:buClr>
            </a:pPr>
            <a:r>
              <a:rPr lang="en-GB" altLang="ja-JP" sz="1500" b="1" dirty="0">
                <a:solidFill>
                  <a:srgbClr val="000000"/>
                </a:solidFill>
                <a:ea typeface="MS PGothic" pitchFamily="34" charset="-128"/>
                <a:cs typeface="Arial" charset="0"/>
              </a:rPr>
              <a:t>Client</a:t>
            </a:r>
          </a:p>
        </p:txBody>
      </p:sp>
      <p:sp>
        <p:nvSpPr>
          <p:cNvPr id="4113" name="Rectangle 234"/>
          <p:cNvSpPr>
            <a:spLocks noChangeArrowheads="1"/>
          </p:cNvSpPr>
          <p:nvPr>
            <p:custDataLst>
              <p:tags r:id="rId16"/>
            </p:custDataLst>
          </p:nvPr>
        </p:nvSpPr>
        <p:spPr bwMode="gray">
          <a:xfrm>
            <a:off x="2797206" y="1788198"/>
            <a:ext cx="1048037" cy="195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912556" fontAlgn="base">
              <a:spcBef>
                <a:spcPct val="0"/>
              </a:spcBef>
              <a:spcAft>
                <a:spcPct val="0"/>
              </a:spcAft>
              <a:buClr>
                <a:srgbClr val="036803"/>
              </a:buClr>
            </a:pPr>
            <a:r>
              <a:rPr lang="en-GB" altLang="ja-JP" sz="1500" b="1" dirty="0">
                <a:solidFill>
                  <a:srgbClr val="000000"/>
                </a:solidFill>
                <a:ea typeface="MS PGothic" pitchFamily="34" charset="-128"/>
                <a:cs typeface="Arial" charset="0"/>
              </a:rPr>
              <a:t>Midwives</a:t>
            </a:r>
          </a:p>
        </p:txBody>
      </p:sp>
      <p:sp>
        <p:nvSpPr>
          <p:cNvPr id="4114" name="Rectangle 234"/>
          <p:cNvSpPr>
            <a:spLocks noChangeArrowheads="1"/>
          </p:cNvSpPr>
          <p:nvPr>
            <p:custDataLst>
              <p:tags r:id="rId17"/>
            </p:custDataLst>
          </p:nvPr>
        </p:nvSpPr>
        <p:spPr bwMode="gray">
          <a:xfrm>
            <a:off x="1582315" y="4836570"/>
            <a:ext cx="805061" cy="168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912556" fontAlgn="base">
              <a:spcBef>
                <a:spcPct val="0"/>
              </a:spcBef>
              <a:spcAft>
                <a:spcPct val="0"/>
              </a:spcAft>
              <a:buClr>
                <a:srgbClr val="036803"/>
              </a:buClr>
            </a:pPr>
            <a:r>
              <a:rPr lang="en-GB" altLang="ja-JP" sz="1500" b="1" dirty="0">
                <a:solidFill>
                  <a:srgbClr val="000000"/>
                </a:solidFill>
                <a:ea typeface="MS PGothic" pitchFamily="34" charset="-128"/>
                <a:cs typeface="Arial" charset="0"/>
              </a:rPr>
              <a:t>Client</a:t>
            </a:r>
          </a:p>
        </p:txBody>
      </p:sp>
      <p:sp>
        <p:nvSpPr>
          <p:cNvPr id="4115" name="Line 191"/>
          <p:cNvSpPr>
            <a:spLocks noChangeShapeType="1"/>
          </p:cNvSpPr>
          <p:nvPr>
            <p:custDataLst>
              <p:tags r:id="rId18"/>
            </p:custDataLst>
          </p:nvPr>
        </p:nvSpPr>
        <p:spPr bwMode="gray">
          <a:xfrm flipV="1">
            <a:off x="5546064" y="2967373"/>
            <a:ext cx="226778" cy="131200"/>
          </a:xfrm>
          <a:prstGeom prst="line">
            <a:avLst/>
          </a:prstGeom>
          <a:noFill/>
          <a:ln w="12700">
            <a:solidFill>
              <a:schemeClr val="hlink"/>
            </a:solidFill>
            <a:prstDash val="dash"/>
            <a:round/>
            <a:headEnd/>
            <a:tailEnd type="triangle" w="med" len="med"/>
          </a:ln>
          <a:extLst>
            <a:ext uri="{909E8E84-426E-40DD-AFC4-6F175D3DCCD1}">
              <a14:hiddenFill xmlns:a14="http://schemas.microsoft.com/office/drawing/2010/main">
                <a:noFill/>
              </a14:hiddenFill>
            </a:ext>
          </a:extLst>
        </p:spPr>
        <p:txBody>
          <a:bodyPr lIns="93196" tIns="46599" rIns="93196" bIns="46599"/>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116" name="Line 192"/>
          <p:cNvSpPr>
            <a:spLocks noChangeShapeType="1"/>
          </p:cNvSpPr>
          <p:nvPr>
            <p:custDataLst>
              <p:tags r:id="rId19"/>
            </p:custDataLst>
          </p:nvPr>
        </p:nvSpPr>
        <p:spPr bwMode="gray">
          <a:xfrm flipH="1" flipV="1">
            <a:off x="4462391" y="2956046"/>
            <a:ext cx="251076" cy="152256"/>
          </a:xfrm>
          <a:prstGeom prst="line">
            <a:avLst/>
          </a:prstGeom>
          <a:noFill/>
          <a:ln w="12700">
            <a:solidFill>
              <a:schemeClr val="hlink"/>
            </a:solidFill>
            <a:prstDash val="dash"/>
            <a:round/>
            <a:headEnd/>
            <a:tailEnd type="triangle" w="med" len="med"/>
          </a:ln>
          <a:extLst>
            <a:ext uri="{909E8E84-426E-40DD-AFC4-6F175D3DCCD1}">
              <a14:hiddenFill xmlns:a14="http://schemas.microsoft.com/office/drawing/2010/main">
                <a:noFill/>
              </a14:hiddenFill>
            </a:ext>
          </a:extLst>
        </p:spPr>
        <p:txBody>
          <a:bodyPr lIns="93196" tIns="46599" rIns="93196" bIns="46599"/>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117" name="Line 193"/>
          <p:cNvSpPr>
            <a:spLocks noChangeShapeType="1"/>
          </p:cNvSpPr>
          <p:nvPr>
            <p:custDataLst>
              <p:tags r:id="rId20"/>
            </p:custDataLst>
          </p:nvPr>
        </p:nvSpPr>
        <p:spPr bwMode="gray">
          <a:xfrm>
            <a:off x="5542826" y="3749721"/>
            <a:ext cx="345026" cy="273736"/>
          </a:xfrm>
          <a:prstGeom prst="line">
            <a:avLst/>
          </a:prstGeom>
          <a:noFill/>
          <a:ln w="12700">
            <a:solidFill>
              <a:schemeClr val="hlink"/>
            </a:solidFill>
            <a:prstDash val="dash"/>
            <a:round/>
            <a:headEnd/>
            <a:tailEnd type="triangle" w="med" len="med"/>
          </a:ln>
          <a:extLst>
            <a:ext uri="{909E8E84-426E-40DD-AFC4-6F175D3DCCD1}">
              <a14:hiddenFill xmlns:a14="http://schemas.microsoft.com/office/drawing/2010/main">
                <a:noFill/>
              </a14:hiddenFill>
            </a:ext>
          </a:extLst>
        </p:spPr>
        <p:txBody>
          <a:bodyPr lIns="93196" tIns="46599" rIns="93196" bIns="46599"/>
          <a:lstStyle/>
          <a:p>
            <a:pPr fontAlgn="base">
              <a:spcBef>
                <a:spcPct val="0"/>
              </a:spcBef>
              <a:spcAft>
                <a:spcPct val="0"/>
              </a:spcAft>
            </a:pPr>
            <a:endParaRPr lang="en-GB" sz="1500" b="1" dirty="0">
              <a:solidFill>
                <a:srgbClr val="000000"/>
              </a:solidFill>
              <a:ea typeface="ＭＳ Ｐゴシック" charset="0"/>
              <a:cs typeface="Arial" charset="0"/>
            </a:endParaRPr>
          </a:p>
        </p:txBody>
      </p:sp>
      <p:grpSp>
        <p:nvGrpSpPr>
          <p:cNvPr id="4118" name="Group 194"/>
          <p:cNvGrpSpPr>
            <a:grpSpLocks/>
          </p:cNvGrpSpPr>
          <p:nvPr>
            <p:custDataLst>
              <p:tags r:id="rId21"/>
            </p:custDataLst>
          </p:nvPr>
        </p:nvGrpSpPr>
        <p:grpSpPr bwMode="auto">
          <a:xfrm>
            <a:off x="2136300" y="1333050"/>
            <a:ext cx="1002682" cy="764520"/>
            <a:chOff x="385" y="1256"/>
            <a:chExt cx="619" cy="472"/>
          </a:xfrm>
        </p:grpSpPr>
        <p:sp>
          <p:nvSpPr>
            <p:cNvPr id="4182" name="Line 195"/>
            <p:cNvSpPr>
              <a:spLocks noChangeShapeType="1"/>
            </p:cNvSpPr>
            <p:nvPr>
              <p:custDataLst>
                <p:tags r:id="rId85"/>
              </p:custDataLst>
            </p:nvPr>
          </p:nvSpPr>
          <p:spPr bwMode="gray">
            <a:xfrm flipH="1">
              <a:off x="385" y="1256"/>
              <a:ext cx="619" cy="15"/>
            </a:xfrm>
            <a:prstGeom prst="line">
              <a:avLst/>
            </a:prstGeom>
            <a:noFill/>
            <a:ln w="12700">
              <a:solidFill>
                <a:schemeClr val="hlink"/>
              </a:solidFill>
              <a:prstDash val="dash"/>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183" name="Line 196"/>
            <p:cNvSpPr>
              <a:spLocks noChangeShapeType="1"/>
            </p:cNvSpPr>
            <p:nvPr>
              <p:custDataLst>
                <p:tags r:id="rId86"/>
              </p:custDataLst>
            </p:nvPr>
          </p:nvSpPr>
          <p:spPr bwMode="gray">
            <a:xfrm flipH="1" flipV="1">
              <a:off x="385" y="1423"/>
              <a:ext cx="204" cy="207"/>
            </a:xfrm>
            <a:prstGeom prst="line">
              <a:avLst/>
            </a:prstGeom>
            <a:noFill/>
            <a:ln w="12700">
              <a:solidFill>
                <a:schemeClr val="hlink"/>
              </a:solidFill>
              <a:prstDash val="dash"/>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184" name="Line 197"/>
            <p:cNvSpPr>
              <a:spLocks noChangeShapeType="1"/>
            </p:cNvSpPr>
            <p:nvPr>
              <p:custDataLst>
                <p:tags r:id="rId87"/>
              </p:custDataLst>
            </p:nvPr>
          </p:nvSpPr>
          <p:spPr bwMode="gray">
            <a:xfrm flipH="1" flipV="1">
              <a:off x="385" y="1340"/>
              <a:ext cx="612" cy="388"/>
            </a:xfrm>
            <a:prstGeom prst="line">
              <a:avLst/>
            </a:prstGeom>
            <a:noFill/>
            <a:ln w="12700">
              <a:solidFill>
                <a:schemeClr val="hlink"/>
              </a:solidFill>
              <a:prstDash val="dash"/>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grpSp>
      <p:sp>
        <p:nvSpPr>
          <p:cNvPr id="4119" name="Rectangle 204"/>
          <p:cNvSpPr>
            <a:spLocks noChangeArrowheads="1"/>
          </p:cNvSpPr>
          <p:nvPr>
            <p:custDataLst>
              <p:tags r:id="rId22"/>
            </p:custDataLst>
          </p:nvPr>
        </p:nvSpPr>
        <p:spPr bwMode="gray">
          <a:xfrm>
            <a:off x="4010458" y="2091093"/>
            <a:ext cx="415458" cy="235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2556" fontAlgn="base">
              <a:spcBef>
                <a:spcPct val="0"/>
              </a:spcBef>
              <a:spcAft>
                <a:spcPct val="0"/>
              </a:spcAft>
              <a:buClr>
                <a:srgbClr val="036803"/>
              </a:buClr>
            </a:pPr>
            <a:r>
              <a:rPr lang="en-GB" sz="1500" b="1" dirty="0">
                <a:solidFill>
                  <a:srgbClr val="000000"/>
                </a:solidFill>
                <a:ea typeface="ＭＳ Ｐゴシック" charset="0"/>
                <a:cs typeface="Arial" charset="0"/>
              </a:rPr>
              <a:t>PHC</a:t>
            </a:r>
          </a:p>
        </p:txBody>
      </p:sp>
      <p:sp>
        <p:nvSpPr>
          <p:cNvPr id="4120" name="Rectangle 205"/>
          <p:cNvSpPr>
            <a:spLocks noChangeArrowheads="1"/>
          </p:cNvSpPr>
          <p:nvPr>
            <p:custDataLst>
              <p:tags r:id="rId23"/>
            </p:custDataLst>
          </p:nvPr>
        </p:nvSpPr>
        <p:spPr bwMode="gray">
          <a:xfrm>
            <a:off x="5886232" y="2091093"/>
            <a:ext cx="415458" cy="235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2556" fontAlgn="base">
              <a:spcBef>
                <a:spcPct val="0"/>
              </a:spcBef>
              <a:spcAft>
                <a:spcPct val="0"/>
              </a:spcAft>
              <a:buClr>
                <a:srgbClr val="036803"/>
              </a:buClr>
            </a:pPr>
            <a:r>
              <a:rPr lang="en-GB" sz="1500" b="1" dirty="0">
                <a:solidFill>
                  <a:srgbClr val="000000"/>
                </a:solidFill>
                <a:ea typeface="ＭＳ Ｐゴシック" charset="0"/>
                <a:cs typeface="Arial" charset="0"/>
              </a:rPr>
              <a:t>PHC</a:t>
            </a:r>
          </a:p>
        </p:txBody>
      </p:sp>
      <p:sp>
        <p:nvSpPr>
          <p:cNvPr id="4121" name="Rectangle 206"/>
          <p:cNvSpPr>
            <a:spLocks noChangeArrowheads="1"/>
          </p:cNvSpPr>
          <p:nvPr>
            <p:custDataLst>
              <p:tags r:id="rId24"/>
            </p:custDataLst>
          </p:nvPr>
        </p:nvSpPr>
        <p:spPr bwMode="gray">
          <a:xfrm>
            <a:off x="5886232" y="3879290"/>
            <a:ext cx="415458" cy="235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2556" fontAlgn="base">
              <a:spcBef>
                <a:spcPct val="0"/>
              </a:spcBef>
              <a:spcAft>
                <a:spcPct val="0"/>
              </a:spcAft>
              <a:buClr>
                <a:srgbClr val="036803"/>
              </a:buClr>
            </a:pPr>
            <a:r>
              <a:rPr lang="en-GB" sz="1500" b="1" dirty="0">
                <a:solidFill>
                  <a:srgbClr val="000000"/>
                </a:solidFill>
                <a:ea typeface="ＭＳ Ｐゴシック" charset="0"/>
                <a:cs typeface="Arial" charset="0"/>
              </a:rPr>
              <a:t>PHC</a:t>
            </a:r>
          </a:p>
        </p:txBody>
      </p:sp>
      <p:sp>
        <p:nvSpPr>
          <p:cNvPr id="4122" name="Rectangle 207"/>
          <p:cNvSpPr>
            <a:spLocks noChangeArrowheads="1"/>
          </p:cNvSpPr>
          <p:nvPr>
            <p:custDataLst>
              <p:tags r:id="rId25"/>
            </p:custDataLst>
          </p:nvPr>
        </p:nvSpPr>
        <p:spPr bwMode="gray">
          <a:xfrm>
            <a:off x="3950522" y="3879290"/>
            <a:ext cx="415458" cy="235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2556" fontAlgn="base">
              <a:spcBef>
                <a:spcPct val="0"/>
              </a:spcBef>
              <a:spcAft>
                <a:spcPct val="0"/>
              </a:spcAft>
              <a:buClr>
                <a:srgbClr val="036803"/>
              </a:buClr>
            </a:pPr>
            <a:r>
              <a:rPr lang="en-GB" sz="1500" b="1" dirty="0">
                <a:solidFill>
                  <a:srgbClr val="000000"/>
                </a:solidFill>
                <a:ea typeface="ＭＳ Ｐゴシック" charset="0"/>
                <a:cs typeface="Arial" charset="0"/>
              </a:rPr>
              <a:t>PHC</a:t>
            </a:r>
          </a:p>
        </p:txBody>
      </p:sp>
      <p:sp>
        <p:nvSpPr>
          <p:cNvPr id="4123" name="Line 208"/>
          <p:cNvSpPr>
            <a:spLocks noChangeShapeType="1"/>
          </p:cNvSpPr>
          <p:nvPr>
            <p:custDataLst>
              <p:tags r:id="rId26"/>
            </p:custDataLst>
          </p:nvPr>
        </p:nvSpPr>
        <p:spPr bwMode="gray">
          <a:xfrm rot="10800000" flipH="1" flipV="1">
            <a:off x="4540143" y="2878298"/>
            <a:ext cx="251076" cy="152256"/>
          </a:xfrm>
          <a:prstGeom prst="line">
            <a:avLst/>
          </a:prstGeom>
          <a:noFill/>
          <a:ln w="12700">
            <a:solidFill>
              <a:schemeClr val="hlink"/>
            </a:solidFill>
            <a:prstDash val="dash"/>
            <a:round/>
            <a:headEnd/>
            <a:tailEnd type="triangle" w="med" len="med"/>
          </a:ln>
          <a:extLst>
            <a:ext uri="{909E8E84-426E-40DD-AFC4-6F175D3DCCD1}">
              <a14:hiddenFill xmlns:a14="http://schemas.microsoft.com/office/drawing/2010/main">
                <a:noFill/>
              </a14:hiddenFill>
            </a:ext>
          </a:extLst>
        </p:spPr>
        <p:txBody>
          <a:bodyPr lIns="93196" tIns="46599" rIns="93196" bIns="46599"/>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124" name="Line 209"/>
          <p:cNvSpPr>
            <a:spLocks noChangeShapeType="1"/>
          </p:cNvSpPr>
          <p:nvPr>
            <p:custDataLst>
              <p:tags r:id="rId27"/>
            </p:custDataLst>
          </p:nvPr>
        </p:nvSpPr>
        <p:spPr bwMode="gray">
          <a:xfrm rot="10800000" flipV="1">
            <a:off x="5442407" y="2896115"/>
            <a:ext cx="249455" cy="153876"/>
          </a:xfrm>
          <a:prstGeom prst="line">
            <a:avLst/>
          </a:prstGeom>
          <a:noFill/>
          <a:ln w="12700">
            <a:solidFill>
              <a:schemeClr val="hlink"/>
            </a:solidFill>
            <a:prstDash val="dash"/>
            <a:round/>
            <a:headEnd/>
            <a:tailEnd type="triangle" w="med" len="med"/>
          </a:ln>
          <a:extLst>
            <a:ext uri="{909E8E84-426E-40DD-AFC4-6F175D3DCCD1}">
              <a14:hiddenFill xmlns:a14="http://schemas.microsoft.com/office/drawing/2010/main">
                <a:noFill/>
              </a14:hiddenFill>
            </a:ext>
          </a:extLst>
        </p:spPr>
        <p:txBody>
          <a:bodyPr lIns="93196" tIns="46599" rIns="93196" bIns="46599"/>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125" name="Rectangle 210"/>
          <p:cNvSpPr>
            <a:spLocks noChangeArrowheads="1"/>
          </p:cNvSpPr>
          <p:nvPr>
            <p:custDataLst>
              <p:tags r:id="rId28"/>
            </p:custDataLst>
          </p:nvPr>
        </p:nvSpPr>
        <p:spPr bwMode="gray">
          <a:xfrm>
            <a:off x="4692420" y="2593214"/>
            <a:ext cx="884433" cy="235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912556" fontAlgn="base">
              <a:spcBef>
                <a:spcPct val="0"/>
              </a:spcBef>
              <a:spcAft>
                <a:spcPct val="0"/>
              </a:spcAft>
              <a:buClr>
                <a:srgbClr val="036803"/>
              </a:buClr>
            </a:pPr>
            <a:r>
              <a:rPr lang="en-GB" sz="1500" b="1" dirty="0">
                <a:solidFill>
                  <a:srgbClr val="000000"/>
                </a:solidFill>
                <a:ea typeface="ＭＳ Ｐゴシック" charset="0"/>
                <a:cs typeface="Arial" charset="0"/>
              </a:rPr>
              <a:t>referral</a:t>
            </a:r>
          </a:p>
        </p:txBody>
      </p:sp>
      <p:sp>
        <p:nvSpPr>
          <p:cNvPr id="4126" name="Line 212"/>
          <p:cNvSpPr>
            <a:spLocks noChangeShapeType="1"/>
          </p:cNvSpPr>
          <p:nvPr>
            <p:custDataLst>
              <p:tags r:id="rId29"/>
            </p:custDataLst>
          </p:nvPr>
        </p:nvSpPr>
        <p:spPr bwMode="gray">
          <a:xfrm rot="10800000">
            <a:off x="5542826" y="3590986"/>
            <a:ext cx="345026" cy="273736"/>
          </a:xfrm>
          <a:prstGeom prst="line">
            <a:avLst/>
          </a:prstGeom>
          <a:noFill/>
          <a:ln w="12700">
            <a:solidFill>
              <a:schemeClr val="hlink"/>
            </a:solidFill>
            <a:prstDash val="dash"/>
            <a:round/>
            <a:headEnd/>
            <a:tailEnd type="triangle" w="med" len="med"/>
          </a:ln>
          <a:extLst>
            <a:ext uri="{909E8E84-426E-40DD-AFC4-6F175D3DCCD1}">
              <a14:hiddenFill xmlns:a14="http://schemas.microsoft.com/office/drawing/2010/main">
                <a:noFill/>
              </a14:hiddenFill>
            </a:ext>
          </a:extLst>
        </p:spPr>
        <p:txBody>
          <a:bodyPr lIns="93196" tIns="46599" rIns="93196" bIns="46599"/>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127" name="Line 214"/>
          <p:cNvSpPr>
            <a:spLocks noChangeShapeType="1"/>
          </p:cNvSpPr>
          <p:nvPr>
            <p:custDataLst>
              <p:tags r:id="rId30"/>
            </p:custDataLst>
          </p:nvPr>
        </p:nvSpPr>
        <p:spPr bwMode="gray">
          <a:xfrm rot="10800000" flipH="1">
            <a:off x="4305274" y="3646047"/>
            <a:ext cx="345026" cy="273736"/>
          </a:xfrm>
          <a:prstGeom prst="line">
            <a:avLst/>
          </a:prstGeom>
          <a:noFill/>
          <a:ln w="12700">
            <a:solidFill>
              <a:schemeClr val="hlink"/>
            </a:solidFill>
            <a:prstDash val="dash"/>
            <a:round/>
            <a:headEnd/>
            <a:tailEnd type="triangle" w="med" len="med"/>
          </a:ln>
          <a:extLst>
            <a:ext uri="{909E8E84-426E-40DD-AFC4-6F175D3DCCD1}">
              <a14:hiddenFill xmlns:a14="http://schemas.microsoft.com/office/drawing/2010/main">
                <a:noFill/>
              </a14:hiddenFill>
            </a:ext>
          </a:extLst>
        </p:spPr>
        <p:txBody>
          <a:bodyPr lIns="93196" tIns="46599" rIns="93196" bIns="46599"/>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128" name="Line 216"/>
          <p:cNvSpPr>
            <a:spLocks noChangeShapeType="1"/>
          </p:cNvSpPr>
          <p:nvPr>
            <p:custDataLst>
              <p:tags r:id="rId31"/>
            </p:custDataLst>
          </p:nvPr>
        </p:nvSpPr>
        <p:spPr bwMode="gray">
          <a:xfrm rot="10800000" flipV="1">
            <a:off x="4386259" y="3749721"/>
            <a:ext cx="343406" cy="273736"/>
          </a:xfrm>
          <a:prstGeom prst="line">
            <a:avLst/>
          </a:prstGeom>
          <a:noFill/>
          <a:ln w="12700">
            <a:solidFill>
              <a:schemeClr val="hlink"/>
            </a:solidFill>
            <a:prstDash val="dash"/>
            <a:round/>
            <a:headEnd/>
            <a:tailEnd type="triangle" w="med" len="med"/>
          </a:ln>
          <a:extLst>
            <a:ext uri="{909E8E84-426E-40DD-AFC4-6F175D3DCCD1}">
              <a14:hiddenFill xmlns:a14="http://schemas.microsoft.com/office/drawing/2010/main">
                <a:noFill/>
              </a14:hiddenFill>
            </a:ext>
          </a:extLst>
        </p:spPr>
        <p:txBody>
          <a:bodyPr lIns="93196" tIns="46599" rIns="93196" bIns="46599"/>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129" name="Rectangle 217"/>
          <p:cNvSpPr>
            <a:spLocks noChangeArrowheads="1"/>
          </p:cNvSpPr>
          <p:nvPr>
            <p:custDataLst>
              <p:tags r:id="rId32"/>
            </p:custDataLst>
          </p:nvPr>
        </p:nvSpPr>
        <p:spPr bwMode="gray">
          <a:xfrm>
            <a:off x="4823856" y="1389742"/>
            <a:ext cx="469434" cy="235521"/>
          </a:xfrm>
          <a:prstGeom prst="rect">
            <a:avLst/>
          </a:prstGeom>
          <a:solidFill>
            <a:schemeClr val="bg2"/>
          </a:solidFill>
          <a:ln w="76200">
            <a:solidFill>
              <a:schemeClr val="bg1"/>
            </a:solidFill>
            <a:miter lim="800000"/>
            <a:headEnd/>
            <a:tailEnd/>
          </a:ln>
        </p:spPr>
        <p:txBody>
          <a:bodyPr wrap="none" lIns="0" tIns="0" rIns="0" bIns="0">
            <a:spAutoFit/>
          </a:bodyPr>
          <a:lstStyle/>
          <a:p>
            <a:pPr algn="ctr" defTabSz="912556" fontAlgn="base">
              <a:spcBef>
                <a:spcPct val="0"/>
              </a:spcBef>
              <a:spcAft>
                <a:spcPct val="0"/>
              </a:spcAft>
              <a:buClr>
                <a:srgbClr val="036803"/>
              </a:buClr>
            </a:pPr>
            <a:r>
              <a:rPr lang="en-GB" sz="1500" b="1" dirty="0">
                <a:solidFill>
                  <a:srgbClr val="000000"/>
                </a:solidFill>
                <a:ea typeface="ＭＳ Ｐゴシック" charset="0"/>
                <a:cs typeface="Arial" charset="0"/>
              </a:rPr>
              <a:t>WDC</a:t>
            </a:r>
          </a:p>
        </p:txBody>
      </p:sp>
      <p:sp>
        <p:nvSpPr>
          <p:cNvPr id="4130" name="Rectangle 218"/>
          <p:cNvSpPr>
            <a:spLocks noChangeArrowheads="1"/>
          </p:cNvSpPr>
          <p:nvPr>
            <p:custDataLst>
              <p:tags r:id="rId33"/>
            </p:custDataLst>
          </p:nvPr>
        </p:nvSpPr>
        <p:spPr bwMode="gray">
          <a:xfrm>
            <a:off x="4823856" y="5456922"/>
            <a:ext cx="469434" cy="235521"/>
          </a:xfrm>
          <a:prstGeom prst="rect">
            <a:avLst/>
          </a:prstGeom>
          <a:solidFill>
            <a:schemeClr val="bg2"/>
          </a:solidFill>
          <a:ln w="76200">
            <a:solidFill>
              <a:schemeClr val="bg1"/>
            </a:solidFill>
            <a:miter lim="800000"/>
            <a:headEnd/>
            <a:tailEnd/>
          </a:ln>
        </p:spPr>
        <p:txBody>
          <a:bodyPr wrap="none" lIns="0" tIns="0" rIns="0" bIns="0">
            <a:spAutoFit/>
          </a:bodyPr>
          <a:lstStyle/>
          <a:p>
            <a:pPr algn="ctr" defTabSz="912556" fontAlgn="base">
              <a:spcBef>
                <a:spcPct val="0"/>
              </a:spcBef>
              <a:spcAft>
                <a:spcPct val="0"/>
              </a:spcAft>
              <a:buClr>
                <a:srgbClr val="036803"/>
              </a:buClr>
            </a:pPr>
            <a:r>
              <a:rPr lang="en-GB" sz="1500" b="1" dirty="0">
                <a:solidFill>
                  <a:srgbClr val="000000"/>
                </a:solidFill>
                <a:ea typeface="ＭＳ Ｐゴシック" charset="0"/>
                <a:cs typeface="Arial" charset="0"/>
              </a:rPr>
              <a:t>WDC</a:t>
            </a:r>
          </a:p>
        </p:txBody>
      </p:sp>
      <p:grpSp>
        <p:nvGrpSpPr>
          <p:cNvPr id="4131" name="Group 219"/>
          <p:cNvGrpSpPr>
            <a:grpSpLocks/>
          </p:cNvGrpSpPr>
          <p:nvPr>
            <p:custDataLst>
              <p:tags r:id="rId34"/>
            </p:custDataLst>
          </p:nvPr>
        </p:nvGrpSpPr>
        <p:grpSpPr bwMode="auto">
          <a:xfrm>
            <a:off x="2214052" y="4506130"/>
            <a:ext cx="1002682" cy="764520"/>
            <a:chOff x="385" y="1256"/>
            <a:chExt cx="619" cy="472"/>
          </a:xfrm>
        </p:grpSpPr>
        <p:sp>
          <p:nvSpPr>
            <p:cNvPr id="4179" name="Line 220"/>
            <p:cNvSpPr>
              <a:spLocks noChangeShapeType="1"/>
            </p:cNvSpPr>
            <p:nvPr>
              <p:custDataLst>
                <p:tags r:id="rId82"/>
              </p:custDataLst>
            </p:nvPr>
          </p:nvSpPr>
          <p:spPr bwMode="gray">
            <a:xfrm flipH="1">
              <a:off x="385" y="1256"/>
              <a:ext cx="619" cy="15"/>
            </a:xfrm>
            <a:prstGeom prst="line">
              <a:avLst/>
            </a:prstGeom>
            <a:noFill/>
            <a:ln w="12700">
              <a:solidFill>
                <a:schemeClr val="hlink"/>
              </a:solidFill>
              <a:prstDash val="dash"/>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180" name="Line 221"/>
            <p:cNvSpPr>
              <a:spLocks noChangeShapeType="1"/>
            </p:cNvSpPr>
            <p:nvPr>
              <p:custDataLst>
                <p:tags r:id="rId83"/>
              </p:custDataLst>
            </p:nvPr>
          </p:nvSpPr>
          <p:spPr bwMode="gray">
            <a:xfrm flipH="1" flipV="1">
              <a:off x="385" y="1423"/>
              <a:ext cx="204" cy="207"/>
            </a:xfrm>
            <a:prstGeom prst="line">
              <a:avLst/>
            </a:prstGeom>
            <a:noFill/>
            <a:ln w="12700">
              <a:solidFill>
                <a:schemeClr val="hlink"/>
              </a:solidFill>
              <a:prstDash val="dash"/>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181" name="Line 222"/>
            <p:cNvSpPr>
              <a:spLocks noChangeShapeType="1"/>
            </p:cNvSpPr>
            <p:nvPr>
              <p:custDataLst>
                <p:tags r:id="rId84"/>
              </p:custDataLst>
            </p:nvPr>
          </p:nvSpPr>
          <p:spPr bwMode="gray">
            <a:xfrm flipH="1" flipV="1">
              <a:off x="385" y="1340"/>
              <a:ext cx="612" cy="388"/>
            </a:xfrm>
            <a:prstGeom prst="line">
              <a:avLst/>
            </a:prstGeom>
            <a:noFill/>
            <a:ln w="12700">
              <a:solidFill>
                <a:schemeClr val="hlink"/>
              </a:solidFill>
              <a:prstDash val="dash"/>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grpSp>
      <p:sp>
        <p:nvSpPr>
          <p:cNvPr id="4132" name="Rectangle 234"/>
          <p:cNvSpPr>
            <a:spLocks noChangeArrowheads="1"/>
          </p:cNvSpPr>
          <p:nvPr>
            <p:custDataLst>
              <p:tags r:id="rId35"/>
            </p:custDataLst>
          </p:nvPr>
        </p:nvSpPr>
        <p:spPr bwMode="gray">
          <a:xfrm>
            <a:off x="2874959" y="4946701"/>
            <a:ext cx="1048037" cy="195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912556" fontAlgn="base">
              <a:spcBef>
                <a:spcPct val="0"/>
              </a:spcBef>
              <a:spcAft>
                <a:spcPct val="0"/>
              </a:spcAft>
              <a:buClr>
                <a:srgbClr val="036803"/>
              </a:buClr>
            </a:pPr>
            <a:r>
              <a:rPr lang="en-GB" altLang="ja-JP" sz="1500" b="1" dirty="0">
                <a:solidFill>
                  <a:srgbClr val="000000"/>
                </a:solidFill>
                <a:ea typeface="MS PGothic" pitchFamily="34" charset="-128"/>
                <a:cs typeface="Arial" charset="0"/>
              </a:rPr>
              <a:t>Midwives</a:t>
            </a:r>
          </a:p>
        </p:txBody>
      </p:sp>
      <p:sp>
        <p:nvSpPr>
          <p:cNvPr id="4133" name="Rectangle 234"/>
          <p:cNvSpPr>
            <a:spLocks noChangeArrowheads="1"/>
          </p:cNvSpPr>
          <p:nvPr>
            <p:custDataLst>
              <p:tags r:id="rId36"/>
            </p:custDataLst>
          </p:nvPr>
        </p:nvSpPr>
        <p:spPr bwMode="gray">
          <a:xfrm>
            <a:off x="7758767" y="1606798"/>
            <a:ext cx="805060" cy="166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912556" fontAlgn="base">
              <a:spcBef>
                <a:spcPct val="0"/>
              </a:spcBef>
              <a:spcAft>
                <a:spcPct val="0"/>
              </a:spcAft>
              <a:buClr>
                <a:srgbClr val="036803"/>
              </a:buClr>
            </a:pPr>
            <a:r>
              <a:rPr lang="en-GB" altLang="ja-JP" sz="1500" b="1" dirty="0">
                <a:solidFill>
                  <a:srgbClr val="000000"/>
                </a:solidFill>
                <a:ea typeface="MS PGothic" pitchFamily="34" charset="-128"/>
                <a:cs typeface="Arial" charset="0"/>
              </a:rPr>
              <a:t>Client</a:t>
            </a:r>
          </a:p>
        </p:txBody>
      </p:sp>
      <p:sp>
        <p:nvSpPr>
          <p:cNvPr id="4134" name="Rectangle 234"/>
          <p:cNvSpPr>
            <a:spLocks noChangeArrowheads="1"/>
          </p:cNvSpPr>
          <p:nvPr>
            <p:custDataLst>
              <p:tags r:id="rId37"/>
            </p:custDataLst>
          </p:nvPr>
        </p:nvSpPr>
        <p:spPr bwMode="gray">
          <a:xfrm>
            <a:off x="7729611" y="4846278"/>
            <a:ext cx="805060" cy="168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912556" fontAlgn="base">
              <a:spcBef>
                <a:spcPct val="0"/>
              </a:spcBef>
              <a:spcAft>
                <a:spcPct val="0"/>
              </a:spcAft>
              <a:buClr>
                <a:srgbClr val="036803"/>
              </a:buClr>
            </a:pPr>
            <a:r>
              <a:rPr lang="en-GB" altLang="ja-JP" sz="1500" b="1" dirty="0">
                <a:solidFill>
                  <a:srgbClr val="000000"/>
                </a:solidFill>
                <a:ea typeface="MS PGothic" pitchFamily="34" charset="-128"/>
                <a:cs typeface="Arial" charset="0"/>
              </a:rPr>
              <a:t>Client</a:t>
            </a:r>
          </a:p>
        </p:txBody>
      </p:sp>
      <p:sp>
        <p:nvSpPr>
          <p:cNvPr id="4135" name="Rectangle 234"/>
          <p:cNvSpPr>
            <a:spLocks noChangeArrowheads="1"/>
          </p:cNvSpPr>
          <p:nvPr>
            <p:custDataLst>
              <p:tags r:id="rId38"/>
            </p:custDataLst>
          </p:nvPr>
        </p:nvSpPr>
        <p:spPr bwMode="gray">
          <a:xfrm>
            <a:off x="6404580" y="1739606"/>
            <a:ext cx="1048036" cy="195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912556" fontAlgn="base">
              <a:spcBef>
                <a:spcPct val="0"/>
              </a:spcBef>
              <a:spcAft>
                <a:spcPct val="0"/>
              </a:spcAft>
              <a:buClr>
                <a:srgbClr val="036803"/>
              </a:buClr>
            </a:pPr>
            <a:r>
              <a:rPr lang="en-GB" altLang="ja-JP" sz="1500" b="1" dirty="0">
                <a:solidFill>
                  <a:srgbClr val="000000"/>
                </a:solidFill>
                <a:ea typeface="MS PGothic" pitchFamily="34" charset="-128"/>
                <a:cs typeface="Arial" charset="0"/>
              </a:rPr>
              <a:t>Midwives</a:t>
            </a:r>
          </a:p>
        </p:txBody>
      </p:sp>
      <p:grpSp>
        <p:nvGrpSpPr>
          <p:cNvPr id="4136" name="Group 241"/>
          <p:cNvGrpSpPr>
            <a:grpSpLocks/>
          </p:cNvGrpSpPr>
          <p:nvPr>
            <p:custDataLst>
              <p:tags r:id="rId39"/>
            </p:custDataLst>
          </p:nvPr>
        </p:nvGrpSpPr>
        <p:grpSpPr bwMode="auto">
          <a:xfrm flipH="1">
            <a:off x="6950467" y="1284458"/>
            <a:ext cx="1002682" cy="764520"/>
            <a:chOff x="385" y="1256"/>
            <a:chExt cx="619" cy="472"/>
          </a:xfrm>
        </p:grpSpPr>
        <p:sp>
          <p:nvSpPr>
            <p:cNvPr id="4176" name="Line 242"/>
            <p:cNvSpPr>
              <a:spLocks noChangeShapeType="1"/>
            </p:cNvSpPr>
            <p:nvPr>
              <p:custDataLst>
                <p:tags r:id="rId79"/>
              </p:custDataLst>
            </p:nvPr>
          </p:nvSpPr>
          <p:spPr bwMode="gray">
            <a:xfrm flipH="1">
              <a:off x="385" y="1256"/>
              <a:ext cx="619" cy="15"/>
            </a:xfrm>
            <a:prstGeom prst="line">
              <a:avLst/>
            </a:prstGeom>
            <a:noFill/>
            <a:ln w="12700">
              <a:solidFill>
                <a:schemeClr val="hlink"/>
              </a:solidFill>
              <a:prstDash val="dash"/>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177" name="Line 243"/>
            <p:cNvSpPr>
              <a:spLocks noChangeShapeType="1"/>
            </p:cNvSpPr>
            <p:nvPr>
              <p:custDataLst>
                <p:tags r:id="rId80"/>
              </p:custDataLst>
            </p:nvPr>
          </p:nvSpPr>
          <p:spPr bwMode="gray">
            <a:xfrm flipH="1" flipV="1">
              <a:off x="385" y="1423"/>
              <a:ext cx="204" cy="207"/>
            </a:xfrm>
            <a:prstGeom prst="line">
              <a:avLst/>
            </a:prstGeom>
            <a:noFill/>
            <a:ln w="12700">
              <a:solidFill>
                <a:schemeClr val="hlink"/>
              </a:solidFill>
              <a:prstDash val="dash"/>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178" name="Line 244"/>
            <p:cNvSpPr>
              <a:spLocks noChangeShapeType="1"/>
            </p:cNvSpPr>
            <p:nvPr>
              <p:custDataLst>
                <p:tags r:id="rId81"/>
              </p:custDataLst>
            </p:nvPr>
          </p:nvSpPr>
          <p:spPr bwMode="gray">
            <a:xfrm flipH="1" flipV="1">
              <a:off x="385" y="1340"/>
              <a:ext cx="612" cy="388"/>
            </a:xfrm>
            <a:prstGeom prst="line">
              <a:avLst/>
            </a:prstGeom>
            <a:noFill/>
            <a:ln w="12700">
              <a:solidFill>
                <a:schemeClr val="hlink"/>
              </a:solidFill>
              <a:prstDash val="dash"/>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grpSp>
      <p:grpSp>
        <p:nvGrpSpPr>
          <p:cNvPr id="4137" name="Group 251"/>
          <p:cNvGrpSpPr>
            <a:grpSpLocks/>
          </p:cNvGrpSpPr>
          <p:nvPr>
            <p:custDataLst>
              <p:tags r:id="rId40"/>
            </p:custDataLst>
          </p:nvPr>
        </p:nvGrpSpPr>
        <p:grpSpPr bwMode="auto">
          <a:xfrm flipH="1">
            <a:off x="6921316" y="4515849"/>
            <a:ext cx="1002682" cy="764520"/>
            <a:chOff x="385" y="1256"/>
            <a:chExt cx="619" cy="472"/>
          </a:xfrm>
        </p:grpSpPr>
        <p:sp>
          <p:nvSpPr>
            <p:cNvPr id="4173" name="Line 252"/>
            <p:cNvSpPr>
              <a:spLocks noChangeShapeType="1"/>
            </p:cNvSpPr>
            <p:nvPr>
              <p:custDataLst>
                <p:tags r:id="rId76"/>
              </p:custDataLst>
            </p:nvPr>
          </p:nvSpPr>
          <p:spPr bwMode="gray">
            <a:xfrm flipH="1">
              <a:off x="385" y="1256"/>
              <a:ext cx="619" cy="15"/>
            </a:xfrm>
            <a:prstGeom prst="line">
              <a:avLst/>
            </a:prstGeom>
            <a:noFill/>
            <a:ln w="12700">
              <a:solidFill>
                <a:schemeClr val="hlink"/>
              </a:solidFill>
              <a:prstDash val="dash"/>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174" name="Line 253"/>
            <p:cNvSpPr>
              <a:spLocks noChangeShapeType="1"/>
            </p:cNvSpPr>
            <p:nvPr>
              <p:custDataLst>
                <p:tags r:id="rId77"/>
              </p:custDataLst>
            </p:nvPr>
          </p:nvSpPr>
          <p:spPr bwMode="gray">
            <a:xfrm flipH="1" flipV="1">
              <a:off x="385" y="1423"/>
              <a:ext cx="204" cy="207"/>
            </a:xfrm>
            <a:prstGeom prst="line">
              <a:avLst/>
            </a:prstGeom>
            <a:noFill/>
            <a:ln w="12700">
              <a:solidFill>
                <a:schemeClr val="hlink"/>
              </a:solidFill>
              <a:prstDash val="dash"/>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sp>
          <p:nvSpPr>
            <p:cNvPr id="4175" name="Line 254"/>
            <p:cNvSpPr>
              <a:spLocks noChangeShapeType="1"/>
            </p:cNvSpPr>
            <p:nvPr>
              <p:custDataLst>
                <p:tags r:id="rId78"/>
              </p:custDataLst>
            </p:nvPr>
          </p:nvSpPr>
          <p:spPr bwMode="gray">
            <a:xfrm flipH="1" flipV="1">
              <a:off x="385" y="1340"/>
              <a:ext cx="612" cy="388"/>
            </a:xfrm>
            <a:prstGeom prst="line">
              <a:avLst/>
            </a:prstGeom>
            <a:noFill/>
            <a:ln w="12700">
              <a:solidFill>
                <a:schemeClr val="hlink"/>
              </a:solidFill>
              <a:prstDash val="dash"/>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GB" sz="1500" b="1" dirty="0">
                <a:solidFill>
                  <a:srgbClr val="000000"/>
                </a:solidFill>
                <a:ea typeface="ＭＳ Ｐゴシック" charset="0"/>
                <a:cs typeface="Arial" charset="0"/>
              </a:endParaRPr>
            </a:p>
          </p:txBody>
        </p:sp>
      </p:grpSp>
      <p:sp>
        <p:nvSpPr>
          <p:cNvPr id="4138" name="Rectangle 234"/>
          <p:cNvSpPr>
            <a:spLocks noChangeArrowheads="1"/>
          </p:cNvSpPr>
          <p:nvPr>
            <p:custDataLst>
              <p:tags r:id="rId41"/>
            </p:custDataLst>
          </p:nvPr>
        </p:nvSpPr>
        <p:spPr bwMode="gray">
          <a:xfrm>
            <a:off x="6375423" y="4956419"/>
            <a:ext cx="1048036" cy="195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912556" fontAlgn="base">
              <a:spcBef>
                <a:spcPct val="0"/>
              </a:spcBef>
              <a:spcAft>
                <a:spcPct val="0"/>
              </a:spcAft>
              <a:buClr>
                <a:srgbClr val="036803"/>
              </a:buClr>
            </a:pPr>
            <a:r>
              <a:rPr lang="en-GB" altLang="ja-JP" sz="1500" b="1" dirty="0">
                <a:solidFill>
                  <a:srgbClr val="000000"/>
                </a:solidFill>
                <a:ea typeface="MS PGothic" pitchFamily="34" charset="-128"/>
                <a:cs typeface="Arial" charset="0"/>
              </a:rPr>
              <a:t>Midwives</a:t>
            </a:r>
          </a:p>
        </p:txBody>
      </p:sp>
      <p:sp>
        <p:nvSpPr>
          <p:cNvPr id="4139" name="Rectangle 264"/>
          <p:cNvSpPr>
            <a:spLocks noChangeArrowheads="1"/>
          </p:cNvSpPr>
          <p:nvPr>
            <p:custDataLst>
              <p:tags r:id="rId42"/>
            </p:custDataLst>
          </p:nvPr>
        </p:nvSpPr>
        <p:spPr bwMode="gray">
          <a:xfrm>
            <a:off x="8573129" y="2750230"/>
            <a:ext cx="2067593" cy="1940768"/>
          </a:xfrm>
          <a:prstGeom prst="rect">
            <a:avLst/>
          </a:prstGeom>
          <a:solidFill>
            <a:schemeClr val="accent1"/>
          </a:solidFill>
          <a:ln w="19050">
            <a:solidFill>
              <a:schemeClr val="folHlink"/>
            </a:solidFill>
            <a:miter lim="800000"/>
            <a:headEnd/>
            <a:tailEnd/>
          </a:ln>
        </p:spPr>
        <p:txBody>
          <a:bodyPr wrap="square" lIns="46599" tIns="46599" rIns="46599" bIns="46599" anchor="ctr">
            <a:spAutoFit/>
          </a:bodyPr>
          <a:lstStyle/>
          <a:p>
            <a:pPr marL="197398" lvl="1" indent="-195781" defTabSz="912556" fontAlgn="base">
              <a:spcBef>
                <a:spcPct val="20000"/>
              </a:spcBef>
              <a:spcAft>
                <a:spcPct val="0"/>
              </a:spcAft>
              <a:buClr>
                <a:srgbClr val="036803"/>
              </a:buClr>
              <a:buSzPct val="125000"/>
              <a:buFont typeface="Arial" charset="0"/>
              <a:buChar char="▪"/>
            </a:pPr>
            <a:r>
              <a:rPr lang="en-GB" sz="2000" b="1" dirty="0" smtClean="0">
                <a:ln w="3175" cmpd="sng">
                  <a:noFill/>
                </a:ln>
                <a:solidFill>
                  <a:prstClr val="black">
                    <a:lumMod val="85000"/>
                    <a:lumOff val="15000"/>
                  </a:prstClr>
                </a:solidFill>
                <a:ea typeface="+mj-ea"/>
                <a:cs typeface="+mj-cs"/>
              </a:rPr>
              <a:t>HWs </a:t>
            </a:r>
            <a:r>
              <a:rPr lang="en-GB" sz="2000" b="1" dirty="0">
                <a:ln w="3175" cmpd="sng">
                  <a:noFill/>
                </a:ln>
                <a:solidFill>
                  <a:prstClr val="black">
                    <a:lumMod val="85000"/>
                    <a:lumOff val="15000"/>
                  </a:prstClr>
                </a:solidFill>
                <a:ea typeface="+mj-ea"/>
                <a:cs typeface="+mj-cs"/>
              </a:rPr>
              <a:t>deployed to reach deeper into target communities with </a:t>
            </a:r>
            <a:r>
              <a:rPr lang="en-GB" sz="2000" b="1" dirty="0" smtClean="0">
                <a:ln w="3175" cmpd="sng">
                  <a:noFill/>
                </a:ln>
                <a:solidFill>
                  <a:prstClr val="black">
                    <a:lumMod val="85000"/>
                    <a:lumOff val="15000"/>
                  </a:prstClr>
                </a:solidFill>
                <a:ea typeface="+mj-ea"/>
                <a:cs typeface="+mj-cs"/>
              </a:rPr>
              <a:t>help </a:t>
            </a:r>
            <a:r>
              <a:rPr lang="en-GB" sz="2000" b="1" dirty="0">
                <a:ln w="3175" cmpd="sng">
                  <a:noFill/>
                </a:ln>
                <a:solidFill>
                  <a:prstClr val="black">
                    <a:lumMod val="85000"/>
                    <a:lumOff val="15000"/>
                  </a:prstClr>
                </a:solidFill>
                <a:ea typeface="+mj-ea"/>
                <a:cs typeface="+mj-cs"/>
              </a:rPr>
              <a:t>of </a:t>
            </a:r>
            <a:r>
              <a:rPr lang="en-GB" sz="2000" b="1" dirty="0" smtClean="0">
                <a:ln w="3175" cmpd="sng">
                  <a:noFill/>
                </a:ln>
                <a:solidFill>
                  <a:prstClr val="black">
                    <a:lumMod val="85000"/>
                    <a:lumOff val="15000"/>
                  </a:prstClr>
                </a:solidFill>
                <a:ea typeface="+mj-ea"/>
                <a:cs typeface="+mj-cs"/>
              </a:rPr>
              <a:t>WDCs</a:t>
            </a:r>
            <a:endParaRPr lang="en-GB" sz="1500" b="1" dirty="0">
              <a:solidFill>
                <a:srgbClr val="000000"/>
              </a:solidFill>
              <a:ea typeface="ＭＳ Ｐゴシック" charset="0"/>
              <a:cs typeface="Arial" charset="0"/>
            </a:endParaRPr>
          </a:p>
        </p:txBody>
      </p:sp>
      <p:sp>
        <p:nvSpPr>
          <p:cNvPr id="4140" name="Rectangle 266"/>
          <p:cNvSpPr>
            <a:spLocks noChangeArrowheads="1"/>
          </p:cNvSpPr>
          <p:nvPr>
            <p:custDataLst>
              <p:tags r:id="rId43"/>
            </p:custDataLst>
          </p:nvPr>
        </p:nvSpPr>
        <p:spPr bwMode="gray">
          <a:xfrm>
            <a:off x="4692420" y="4096336"/>
            <a:ext cx="884433" cy="235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912556" fontAlgn="base">
              <a:spcBef>
                <a:spcPct val="0"/>
              </a:spcBef>
              <a:spcAft>
                <a:spcPct val="0"/>
              </a:spcAft>
              <a:buClr>
                <a:srgbClr val="036803"/>
              </a:buClr>
            </a:pPr>
            <a:r>
              <a:rPr lang="en-GB" sz="1500" b="1" dirty="0">
                <a:solidFill>
                  <a:srgbClr val="000000"/>
                </a:solidFill>
                <a:ea typeface="ＭＳ Ｐゴシック" charset="0"/>
                <a:cs typeface="Arial" charset="0"/>
              </a:rPr>
              <a:t>referral</a:t>
            </a:r>
          </a:p>
        </p:txBody>
      </p:sp>
      <p:pic>
        <p:nvPicPr>
          <p:cNvPr id="4141" name="Picture 184"/>
          <p:cNvPicPr>
            <a:picLocks noChangeAspect="1" noChangeArrowheads="1"/>
          </p:cNvPicPr>
          <p:nvPr>
            <p:custDataLst>
              <p:tags r:id="rId44"/>
            </p:custDataLst>
          </p:nvPr>
        </p:nvPicPr>
        <p:blipFill>
          <a:blip r:embed="rId255" cstate="email">
            <a:extLst>
              <a:ext uri="{28A0092B-C50C-407E-A947-70E740481C1C}">
                <a14:useLocalDpi xmlns:a14="http://schemas.microsoft.com/office/drawing/2010/main" val="0"/>
              </a:ext>
            </a:extLst>
          </a:blip>
          <a:srcRect l="35135" t="20874" r="36487" b="11143"/>
          <a:stretch>
            <a:fillRect/>
          </a:stretch>
        </p:blipFill>
        <p:spPr bwMode="gray">
          <a:xfrm>
            <a:off x="1833402" y="1103058"/>
            <a:ext cx="191141" cy="53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42" name="Picture 187"/>
          <p:cNvPicPr>
            <a:picLocks noChangeAspect="1" noChangeArrowheads="1"/>
          </p:cNvPicPr>
          <p:nvPr>
            <p:custDataLst>
              <p:tags r:id="rId45"/>
            </p:custDataLst>
          </p:nvPr>
        </p:nvPicPr>
        <p:blipFill>
          <a:blip r:embed="rId255" cstate="email">
            <a:extLst>
              <a:ext uri="{28A0092B-C50C-407E-A947-70E740481C1C}">
                <a14:useLocalDpi xmlns:a14="http://schemas.microsoft.com/office/drawing/2010/main" val="0"/>
              </a:ext>
            </a:extLst>
          </a:blip>
          <a:srcRect l="35135" t="20874" r="36487" b="11143"/>
          <a:stretch>
            <a:fillRect/>
          </a:stretch>
        </p:blipFill>
        <p:spPr bwMode="gray">
          <a:xfrm>
            <a:off x="3164911" y="1237485"/>
            <a:ext cx="191141" cy="539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43" name="Picture 190"/>
          <p:cNvPicPr>
            <a:picLocks noChangeAspect="1" noChangeArrowheads="1"/>
          </p:cNvPicPr>
          <p:nvPr>
            <p:custDataLst>
              <p:tags r:id="rId46"/>
            </p:custDataLst>
          </p:nvPr>
        </p:nvPicPr>
        <p:blipFill>
          <a:blip r:embed="rId255" cstate="email">
            <a:extLst>
              <a:ext uri="{28A0092B-C50C-407E-A947-70E740481C1C}">
                <a14:useLocalDpi xmlns:a14="http://schemas.microsoft.com/office/drawing/2010/main" val="0"/>
              </a:ext>
            </a:extLst>
          </a:blip>
          <a:srcRect l="35135" t="20874" r="36487" b="11143"/>
          <a:stretch>
            <a:fillRect/>
          </a:stretch>
        </p:blipFill>
        <p:spPr bwMode="gray">
          <a:xfrm>
            <a:off x="1911154" y="4284237"/>
            <a:ext cx="191141" cy="540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144" name="Group 198"/>
          <p:cNvGrpSpPr>
            <a:grpSpLocks/>
          </p:cNvGrpSpPr>
          <p:nvPr>
            <p:custDataLst>
              <p:tags r:id="rId47"/>
            </p:custDataLst>
          </p:nvPr>
        </p:nvGrpSpPr>
        <p:grpSpPr bwMode="auto">
          <a:xfrm>
            <a:off x="2939740" y="2050597"/>
            <a:ext cx="693292" cy="686772"/>
            <a:chOff x="4353" y="943"/>
            <a:chExt cx="563" cy="558"/>
          </a:xfrm>
        </p:grpSpPr>
        <p:sp>
          <p:nvSpPr>
            <p:cNvPr id="4171" name="Rectangle 234"/>
            <p:cNvSpPr>
              <a:spLocks noChangeArrowheads="1"/>
            </p:cNvSpPr>
            <p:nvPr>
              <p:custDataLst>
                <p:tags r:id="rId74"/>
              </p:custDataLst>
            </p:nvPr>
          </p:nvSpPr>
          <p:spPr bwMode="gray">
            <a:xfrm>
              <a:off x="4353" y="1391"/>
              <a:ext cx="563"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912556" fontAlgn="base">
                <a:spcBef>
                  <a:spcPct val="0"/>
                </a:spcBef>
                <a:spcAft>
                  <a:spcPct val="0"/>
                </a:spcAft>
                <a:buClr>
                  <a:srgbClr val="036803"/>
                </a:buClr>
              </a:pPr>
              <a:r>
                <a:rPr lang="en-GB" altLang="ja-JP" sz="1500" b="1" dirty="0" err="1">
                  <a:solidFill>
                    <a:srgbClr val="000000"/>
                  </a:solidFill>
                  <a:ea typeface="MS PGothic" pitchFamily="34" charset="-128"/>
                  <a:cs typeface="Arial" charset="0"/>
                </a:rPr>
                <a:t>VHWs</a:t>
              </a:r>
              <a:endParaRPr lang="en-GB" altLang="ja-JP" sz="1500" b="1" dirty="0">
                <a:solidFill>
                  <a:srgbClr val="000000"/>
                </a:solidFill>
                <a:ea typeface="MS PGothic" pitchFamily="34" charset="-128"/>
                <a:cs typeface="Arial" charset="0"/>
              </a:endParaRPr>
            </a:p>
          </p:txBody>
        </p:sp>
        <p:pic>
          <p:nvPicPr>
            <p:cNvPr id="4172" name="Picture 200"/>
            <p:cNvPicPr>
              <a:picLocks noChangeAspect="1" noChangeArrowheads="1"/>
            </p:cNvPicPr>
            <p:nvPr>
              <p:custDataLst>
                <p:tags r:id="rId75"/>
              </p:custDataLst>
            </p:nvPr>
          </p:nvPicPr>
          <p:blipFill>
            <a:blip r:embed="rId255" cstate="email">
              <a:extLst>
                <a:ext uri="{28A0092B-C50C-407E-A947-70E740481C1C}">
                  <a14:useLocalDpi xmlns:a14="http://schemas.microsoft.com/office/drawing/2010/main" val="0"/>
                </a:ext>
              </a:extLst>
            </a:blip>
            <a:srcRect l="35135" t="20874" r="36487" b="11143"/>
            <a:stretch>
              <a:fillRect/>
            </a:stretch>
          </p:blipFill>
          <p:spPr bwMode="gray">
            <a:xfrm>
              <a:off x="4536" y="943"/>
              <a:ext cx="155" cy="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5" name="Group 201"/>
          <p:cNvGrpSpPr>
            <a:grpSpLocks/>
          </p:cNvGrpSpPr>
          <p:nvPr>
            <p:custDataLst>
              <p:tags r:id="rId48"/>
            </p:custDataLst>
          </p:nvPr>
        </p:nvGrpSpPr>
        <p:grpSpPr bwMode="auto">
          <a:xfrm>
            <a:off x="2309623" y="1914539"/>
            <a:ext cx="693292" cy="688392"/>
            <a:chOff x="4353" y="943"/>
            <a:chExt cx="563" cy="558"/>
          </a:xfrm>
        </p:grpSpPr>
        <p:sp>
          <p:nvSpPr>
            <p:cNvPr id="4169" name="Rectangle 234"/>
            <p:cNvSpPr>
              <a:spLocks noChangeArrowheads="1"/>
            </p:cNvSpPr>
            <p:nvPr>
              <p:custDataLst>
                <p:tags r:id="rId72"/>
              </p:custDataLst>
            </p:nvPr>
          </p:nvSpPr>
          <p:spPr bwMode="gray">
            <a:xfrm>
              <a:off x="4353" y="1391"/>
              <a:ext cx="563"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912556" fontAlgn="base">
                <a:spcBef>
                  <a:spcPct val="0"/>
                </a:spcBef>
                <a:spcAft>
                  <a:spcPct val="0"/>
                </a:spcAft>
                <a:buClr>
                  <a:srgbClr val="036803"/>
                </a:buClr>
              </a:pPr>
              <a:r>
                <a:rPr lang="en-GB" altLang="ja-JP" sz="1400" b="1" dirty="0" err="1">
                  <a:solidFill>
                    <a:srgbClr val="000000"/>
                  </a:solidFill>
                  <a:ea typeface="MS PGothic" pitchFamily="34" charset="-128"/>
                  <a:cs typeface="Arial" charset="0"/>
                </a:rPr>
                <a:t>CHEWs</a:t>
              </a:r>
              <a:endParaRPr lang="en-GB" altLang="ja-JP" sz="1400" b="1" dirty="0">
                <a:solidFill>
                  <a:srgbClr val="000000"/>
                </a:solidFill>
                <a:ea typeface="MS PGothic" pitchFamily="34" charset="-128"/>
                <a:cs typeface="Arial" charset="0"/>
              </a:endParaRPr>
            </a:p>
          </p:txBody>
        </p:sp>
        <p:pic>
          <p:nvPicPr>
            <p:cNvPr id="4170" name="Picture 203"/>
            <p:cNvPicPr>
              <a:picLocks noChangeAspect="1" noChangeArrowheads="1"/>
            </p:cNvPicPr>
            <p:nvPr>
              <p:custDataLst>
                <p:tags r:id="rId73"/>
              </p:custDataLst>
            </p:nvPr>
          </p:nvPicPr>
          <p:blipFill>
            <a:blip r:embed="rId255" cstate="email">
              <a:extLst>
                <a:ext uri="{28A0092B-C50C-407E-A947-70E740481C1C}">
                  <a14:useLocalDpi xmlns:a14="http://schemas.microsoft.com/office/drawing/2010/main" val="0"/>
                </a:ext>
              </a:extLst>
            </a:blip>
            <a:srcRect l="35135" t="20874" r="36487" b="11143"/>
            <a:stretch>
              <a:fillRect/>
            </a:stretch>
          </p:blipFill>
          <p:spPr bwMode="gray">
            <a:xfrm>
              <a:off x="4536" y="943"/>
              <a:ext cx="155" cy="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146" name="Picture 225"/>
          <p:cNvPicPr>
            <a:picLocks noChangeAspect="1" noChangeArrowheads="1"/>
          </p:cNvPicPr>
          <p:nvPr>
            <p:custDataLst>
              <p:tags r:id="rId49"/>
            </p:custDataLst>
          </p:nvPr>
        </p:nvPicPr>
        <p:blipFill>
          <a:blip r:embed="rId255" cstate="email">
            <a:extLst>
              <a:ext uri="{28A0092B-C50C-407E-A947-70E740481C1C}">
                <a14:useLocalDpi xmlns:a14="http://schemas.microsoft.com/office/drawing/2010/main" val="0"/>
              </a:ext>
            </a:extLst>
          </a:blip>
          <a:srcRect l="35135" t="20874" r="36487" b="11143"/>
          <a:stretch>
            <a:fillRect/>
          </a:stretch>
        </p:blipFill>
        <p:spPr bwMode="gray">
          <a:xfrm>
            <a:off x="3242663" y="4395988"/>
            <a:ext cx="191141" cy="539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147" name="Group 226"/>
          <p:cNvGrpSpPr>
            <a:grpSpLocks/>
          </p:cNvGrpSpPr>
          <p:nvPr>
            <p:custDataLst>
              <p:tags r:id="rId50"/>
            </p:custDataLst>
          </p:nvPr>
        </p:nvGrpSpPr>
        <p:grpSpPr bwMode="auto">
          <a:xfrm>
            <a:off x="3017493" y="5209100"/>
            <a:ext cx="693292" cy="686772"/>
            <a:chOff x="4353" y="943"/>
            <a:chExt cx="563" cy="558"/>
          </a:xfrm>
        </p:grpSpPr>
        <p:sp>
          <p:nvSpPr>
            <p:cNvPr id="4167" name="Rectangle 234"/>
            <p:cNvSpPr>
              <a:spLocks noChangeArrowheads="1"/>
            </p:cNvSpPr>
            <p:nvPr>
              <p:custDataLst>
                <p:tags r:id="rId70"/>
              </p:custDataLst>
            </p:nvPr>
          </p:nvSpPr>
          <p:spPr bwMode="gray">
            <a:xfrm>
              <a:off x="4353" y="1391"/>
              <a:ext cx="563"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912556" fontAlgn="base">
                <a:spcBef>
                  <a:spcPct val="0"/>
                </a:spcBef>
                <a:spcAft>
                  <a:spcPct val="0"/>
                </a:spcAft>
                <a:buClr>
                  <a:srgbClr val="036803"/>
                </a:buClr>
              </a:pPr>
              <a:r>
                <a:rPr lang="en-GB" altLang="ja-JP" sz="1500" b="1" dirty="0" err="1">
                  <a:solidFill>
                    <a:srgbClr val="000000"/>
                  </a:solidFill>
                  <a:ea typeface="MS PGothic" pitchFamily="34" charset="-128"/>
                  <a:cs typeface="Arial" charset="0"/>
                </a:rPr>
                <a:t>VHWs</a:t>
              </a:r>
              <a:endParaRPr lang="en-GB" altLang="ja-JP" sz="1500" b="1" dirty="0">
                <a:solidFill>
                  <a:srgbClr val="000000"/>
                </a:solidFill>
                <a:ea typeface="MS PGothic" pitchFamily="34" charset="-128"/>
                <a:cs typeface="Arial" charset="0"/>
              </a:endParaRPr>
            </a:p>
          </p:txBody>
        </p:sp>
        <p:pic>
          <p:nvPicPr>
            <p:cNvPr id="4168" name="Picture 228"/>
            <p:cNvPicPr>
              <a:picLocks noChangeAspect="1" noChangeArrowheads="1"/>
            </p:cNvPicPr>
            <p:nvPr>
              <p:custDataLst>
                <p:tags r:id="rId71"/>
              </p:custDataLst>
            </p:nvPr>
          </p:nvPicPr>
          <p:blipFill>
            <a:blip r:embed="rId255" cstate="email">
              <a:extLst>
                <a:ext uri="{28A0092B-C50C-407E-A947-70E740481C1C}">
                  <a14:useLocalDpi xmlns:a14="http://schemas.microsoft.com/office/drawing/2010/main" val="0"/>
                </a:ext>
              </a:extLst>
            </a:blip>
            <a:srcRect l="35135" t="20874" r="36487" b="11143"/>
            <a:stretch>
              <a:fillRect/>
            </a:stretch>
          </p:blipFill>
          <p:spPr bwMode="gray">
            <a:xfrm>
              <a:off x="4536" y="943"/>
              <a:ext cx="155" cy="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48" name="Group 229"/>
          <p:cNvGrpSpPr>
            <a:grpSpLocks/>
          </p:cNvGrpSpPr>
          <p:nvPr>
            <p:custDataLst>
              <p:tags r:id="rId51"/>
            </p:custDataLst>
          </p:nvPr>
        </p:nvGrpSpPr>
        <p:grpSpPr bwMode="auto">
          <a:xfrm>
            <a:off x="2233450" y="5073040"/>
            <a:ext cx="847220" cy="764880"/>
            <a:chOff x="4228" y="943"/>
            <a:chExt cx="688" cy="620"/>
          </a:xfrm>
        </p:grpSpPr>
        <p:sp>
          <p:nvSpPr>
            <p:cNvPr id="4165" name="Rectangle 234"/>
            <p:cNvSpPr>
              <a:spLocks noChangeArrowheads="1"/>
            </p:cNvSpPr>
            <p:nvPr>
              <p:custDataLst>
                <p:tags r:id="rId68"/>
              </p:custDataLst>
            </p:nvPr>
          </p:nvSpPr>
          <p:spPr bwMode="gray">
            <a:xfrm>
              <a:off x="4228" y="1391"/>
              <a:ext cx="688" cy="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912556" fontAlgn="base">
                <a:spcBef>
                  <a:spcPct val="0"/>
                </a:spcBef>
                <a:spcAft>
                  <a:spcPct val="0"/>
                </a:spcAft>
                <a:buClr>
                  <a:srgbClr val="036803"/>
                </a:buClr>
              </a:pPr>
              <a:r>
                <a:rPr lang="en-GB" altLang="ja-JP" sz="1500" b="1" dirty="0" err="1">
                  <a:solidFill>
                    <a:srgbClr val="000000"/>
                  </a:solidFill>
                  <a:ea typeface="MS PGothic" pitchFamily="34" charset="-128"/>
                  <a:cs typeface="Arial" charset="0"/>
                </a:rPr>
                <a:t>CHEWs</a:t>
              </a:r>
              <a:endParaRPr lang="en-GB" altLang="ja-JP" sz="1500" b="1" dirty="0">
                <a:solidFill>
                  <a:srgbClr val="000000"/>
                </a:solidFill>
                <a:ea typeface="MS PGothic" pitchFamily="34" charset="-128"/>
                <a:cs typeface="Arial" charset="0"/>
              </a:endParaRPr>
            </a:p>
          </p:txBody>
        </p:sp>
        <p:pic>
          <p:nvPicPr>
            <p:cNvPr id="4166" name="Picture 231"/>
            <p:cNvPicPr>
              <a:picLocks noChangeAspect="1" noChangeArrowheads="1"/>
            </p:cNvPicPr>
            <p:nvPr>
              <p:custDataLst>
                <p:tags r:id="rId69"/>
              </p:custDataLst>
            </p:nvPr>
          </p:nvPicPr>
          <p:blipFill>
            <a:blip r:embed="rId255" cstate="email">
              <a:extLst>
                <a:ext uri="{28A0092B-C50C-407E-A947-70E740481C1C}">
                  <a14:useLocalDpi xmlns:a14="http://schemas.microsoft.com/office/drawing/2010/main" val="0"/>
                </a:ext>
              </a:extLst>
            </a:blip>
            <a:srcRect l="35135" t="20874" r="36487" b="11143"/>
            <a:stretch>
              <a:fillRect/>
            </a:stretch>
          </p:blipFill>
          <p:spPr bwMode="gray">
            <a:xfrm>
              <a:off x="4536" y="943"/>
              <a:ext cx="155" cy="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149" name="Picture 234"/>
          <p:cNvPicPr>
            <a:picLocks noChangeAspect="1" noChangeArrowheads="1"/>
          </p:cNvPicPr>
          <p:nvPr>
            <p:custDataLst>
              <p:tags r:id="rId52"/>
            </p:custDataLst>
          </p:nvPr>
        </p:nvPicPr>
        <p:blipFill>
          <a:blip r:embed="rId255" cstate="email">
            <a:extLst>
              <a:ext uri="{28A0092B-C50C-407E-A947-70E740481C1C}">
                <a14:useLocalDpi xmlns:a14="http://schemas.microsoft.com/office/drawing/2010/main" val="0"/>
              </a:ext>
            </a:extLst>
          </a:blip>
          <a:srcRect l="35135" t="20874" r="36487" b="11143"/>
          <a:stretch>
            <a:fillRect/>
          </a:stretch>
        </p:blipFill>
        <p:spPr bwMode="gray">
          <a:xfrm>
            <a:off x="8087605" y="1054466"/>
            <a:ext cx="191141" cy="53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50" name="Picture 240"/>
          <p:cNvPicPr>
            <a:picLocks noChangeAspect="1" noChangeArrowheads="1"/>
          </p:cNvPicPr>
          <p:nvPr>
            <p:custDataLst>
              <p:tags r:id="rId53"/>
            </p:custDataLst>
          </p:nvPr>
        </p:nvPicPr>
        <p:blipFill>
          <a:blip r:embed="rId255" cstate="email">
            <a:extLst>
              <a:ext uri="{28A0092B-C50C-407E-A947-70E740481C1C}">
                <a14:useLocalDpi xmlns:a14="http://schemas.microsoft.com/office/drawing/2010/main" val="0"/>
              </a:ext>
            </a:extLst>
          </a:blip>
          <a:srcRect l="35135" t="20874" r="36487" b="11143"/>
          <a:stretch>
            <a:fillRect/>
          </a:stretch>
        </p:blipFill>
        <p:spPr bwMode="gray">
          <a:xfrm>
            <a:off x="8058448" y="4293956"/>
            <a:ext cx="191141" cy="540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51" name="Picture 237"/>
          <p:cNvPicPr>
            <a:picLocks noChangeAspect="1" noChangeArrowheads="1"/>
          </p:cNvPicPr>
          <p:nvPr>
            <p:custDataLst>
              <p:tags r:id="rId54"/>
            </p:custDataLst>
          </p:nvPr>
        </p:nvPicPr>
        <p:blipFill>
          <a:blip r:embed="rId255" cstate="email">
            <a:extLst>
              <a:ext uri="{28A0092B-C50C-407E-A947-70E740481C1C}">
                <a14:useLocalDpi xmlns:a14="http://schemas.microsoft.com/office/drawing/2010/main" val="0"/>
              </a:ext>
            </a:extLst>
          </a:blip>
          <a:srcRect l="35135" t="20874" r="36487" b="11143"/>
          <a:stretch>
            <a:fillRect/>
          </a:stretch>
        </p:blipFill>
        <p:spPr bwMode="gray">
          <a:xfrm>
            <a:off x="6746377" y="1188893"/>
            <a:ext cx="191141" cy="539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152" name="Group 245"/>
          <p:cNvGrpSpPr>
            <a:grpSpLocks/>
          </p:cNvGrpSpPr>
          <p:nvPr>
            <p:custDataLst>
              <p:tags r:id="rId55"/>
            </p:custDataLst>
          </p:nvPr>
        </p:nvGrpSpPr>
        <p:grpSpPr bwMode="auto">
          <a:xfrm>
            <a:off x="6521208" y="2002005"/>
            <a:ext cx="693292" cy="686772"/>
            <a:chOff x="4353" y="943"/>
            <a:chExt cx="563" cy="558"/>
          </a:xfrm>
        </p:grpSpPr>
        <p:sp>
          <p:nvSpPr>
            <p:cNvPr id="4163" name="Rectangle 234"/>
            <p:cNvSpPr>
              <a:spLocks noChangeArrowheads="1"/>
            </p:cNvSpPr>
            <p:nvPr>
              <p:custDataLst>
                <p:tags r:id="rId66"/>
              </p:custDataLst>
            </p:nvPr>
          </p:nvSpPr>
          <p:spPr bwMode="gray">
            <a:xfrm>
              <a:off x="4353" y="1391"/>
              <a:ext cx="563"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912556" fontAlgn="base">
                <a:spcBef>
                  <a:spcPct val="0"/>
                </a:spcBef>
                <a:spcAft>
                  <a:spcPct val="0"/>
                </a:spcAft>
                <a:buClr>
                  <a:srgbClr val="036803"/>
                </a:buClr>
              </a:pPr>
              <a:r>
                <a:rPr lang="en-GB" altLang="ja-JP" sz="1500" b="1" dirty="0" err="1">
                  <a:solidFill>
                    <a:srgbClr val="000000"/>
                  </a:solidFill>
                  <a:ea typeface="MS PGothic" pitchFamily="34" charset="-128"/>
                  <a:cs typeface="Arial" charset="0"/>
                </a:rPr>
                <a:t>VHWs</a:t>
              </a:r>
              <a:endParaRPr lang="en-GB" altLang="ja-JP" sz="1500" b="1" dirty="0">
                <a:solidFill>
                  <a:srgbClr val="000000"/>
                </a:solidFill>
                <a:ea typeface="MS PGothic" pitchFamily="34" charset="-128"/>
                <a:cs typeface="Arial" charset="0"/>
              </a:endParaRPr>
            </a:p>
          </p:txBody>
        </p:sp>
        <p:pic>
          <p:nvPicPr>
            <p:cNvPr id="4164" name="Picture 247"/>
            <p:cNvPicPr>
              <a:picLocks noChangeAspect="1" noChangeArrowheads="1"/>
            </p:cNvPicPr>
            <p:nvPr>
              <p:custDataLst>
                <p:tags r:id="rId67"/>
              </p:custDataLst>
            </p:nvPr>
          </p:nvPicPr>
          <p:blipFill>
            <a:blip r:embed="rId255" cstate="email">
              <a:extLst>
                <a:ext uri="{28A0092B-C50C-407E-A947-70E740481C1C}">
                  <a14:useLocalDpi xmlns:a14="http://schemas.microsoft.com/office/drawing/2010/main" val="0"/>
                </a:ext>
              </a:extLst>
            </a:blip>
            <a:srcRect l="35135" t="20874" r="36487" b="11143"/>
            <a:stretch>
              <a:fillRect/>
            </a:stretch>
          </p:blipFill>
          <p:spPr bwMode="gray">
            <a:xfrm>
              <a:off x="4536" y="943"/>
              <a:ext cx="155" cy="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3" name="Group 248"/>
          <p:cNvGrpSpPr>
            <a:grpSpLocks/>
          </p:cNvGrpSpPr>
          <p:nvPr>
            <p:custDataLst>
              <p:tags r:id="rId56"/>
            </p:custDataLst>
          </p:nvPr>
        </p:nvGrpSpPr>
        <p:grpSpPr bwMode="auto">
          <a:xfrm>
            <a:off x="7151328" y="1865947"/>
            <a:ext cx="825054" cy="752543"/>
            <a:chOff x="4353" y="943"/>
            <a:chExt cx="670" cy="610"/>
          </a:xfrm>
        </p:grpSpPr>
        <p:sp>
          <p:nvSpPr>
            <p:cNvPr id="4161" name="Rectangle 234"/>
            <p:cNvSpPr>
              <a:spLocks noChangeArrowheads="1"/>
            </p:cNvSpPr>
            <p:nvPr>
              <p:custDataLst>
                <p:tags r:id="rId64"/>
              </p:custDataLst>
            </p:nvPr>
          </p:nvSpPr>
          <p:spPr bwMode="gray">
            <a:xfrm>
              <a:off x="4353" y="1391"/>
              <a:ext cx="670" cy="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912556" fontAlgn="base">
                <a:spcBef>
                  <a:spcPct val="0"/>
                </a:spcBef>
                <a:spcAft>
                  <a:spcPct val="0"/>
                </a:spcAft>
                <a:buClr>
                  <a:srgbClr val="036803"/>
                </a:buClr>
              </a:pPr>
              <a:r>
                <a:rPr lang="en-GB" altLang="ja-JP" sz="1500" b="1" dirty="0" err="1">
                  <a:solidFill>
                    <a:srgbClr val="000000"/>
                  </a:solidFill>
                  <a:ea typeface="MS PGothic" pitchFamily="34" charset="-128"/>
                  <a:cs typeface="Arial" charset="0"/>
                </a:rPr>
                <a:t>CHEWs</a:t>
              </a:r>
              <a:endParaRPr lang="en-GB" altLang="ja-JP" sz="1500" b="1" dirty="0">
                <a:solidFill>
                  <a:srgbClr val="000000"/>
                </a:solidFill>
                <a:ea typeface="MS PGothic" pitchFamily="34" charset="-128"/>
                <a:cs typeface="Arial" charset="0"/>
              </a:endParaRPr>
            </a:p>
          </p:txBody>
        </p:sp>
        <p:pic>
          <p:nvPicPr>
            <p:cNvPr id="4162" name="Picture 250"/>
            <p:cNvPicPr>
              <a:picLocks noChangeAspect="1" noChangeArrowheads="1"/>
            </p:cNvPicPr>
            <p:nvPr>
              <p:custDataLst>
                <p:tags r:id="rId65"/>
              </p:custDataLst>
            </p:nvPr>
          </p:nvPicPr>
          <p:blipFill>
            <a:blip r:embed="rId255" cstate="email">
              <a:extLst>
                <a:ext uri="{28A0092B-C50C-407E-A947-70E740481C1C}">
                  <a14:useLocalDpi xmlns:a14="http://schemas.microsoft.com/office/drawing/2010/main" val="0"/>
                </a:ext>
              </a:extLst>
            </a:blip>
            <a:srcRect l="35135" t="20874" r="36487" b="11143"/>
            <a:stretch>
              <a:fillRect/>
            </a:stretch>
          </p:blipFill>
          <p:spPr bwMode="gray">
            <a:xfrm>
              <a:off x="4536" y="943"/>
              <a:ext cx="155" cy="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154" name="Picture 257"/>
          <p:cNvPicPr>
            <a:picLocks noChangeAspect="1" noChangeArrowheads="1"/>
          </p:cNvPicPr>
          <p:nvPr>
            <p:custDataLst>
              <p:tags r:id="rId57"/>
            </p:custDataLst>
          </p:nvPr>
        </p:nvPicPr>
        <p:blipFill>
          <a:blip r:embed="rId255" cstate="email">
            <a:extLst>
              <a:ext uri="{28A0092B-C50C-407E-A947-70E740481C1C}">
                <a14:useLocalDpi xmlns:a14="http://schemas.microsoft.com/office/drawing/2010/main" val="0"/>
              </a:ext>
            </a:extLst>
          </a:blip>
          <a:srcRect l="35135" t="20874" r="36487" b="11143"/>
          <a:stretch>
            <a:fillRect/>
          </a:stretch>
        </p:blipFill>
        <p:spPr bwMode="gray">
          <a:xfrm>
            <a:off x="6717220" y="4405706"/>
            <a:ext cx="191141" cy="539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155" name="Group 258"/>
          <p:cNvGrpSpPr>
            <a:grpSpLocks/>
          </p:cNvGrpSpPr>
          <p:nvPr>
            <p:custDataLst>
              <p:tags r:id="rId58"/>
            </p:custDataLst>
          </p:nvPr>
        </p:nvGrpSpPr>
        <p:grpSpPr bwMode="auto">
          <a:xfrm>
            <a:off x="6492051" y="5218818"/>
            <a:ext cx="693292" cy="686772"/>
            <a:chOff x="4353" y="943"/>
            <a:chExt cx="563" cy="558"/>
          </a:xfrm>
        </p:grpSpPr>
        <p:sp>
          <p:nvSpPr>
            <p:cNvPr id="4159" name="Rectangle 234"/>
            <p:cNvSpPr>
              <a:spLocks noChangeArrowheads="1"/>
            </p:cNvSpPr>
            <p:nvPr>
              <p:custDataLst>
                <p:tags r:id="rId62"/>
              </p:custDataLst>
            </p:nvPr>
          </p:nvSpPr>
          <p:spPr bwMode="gray">
            <a:xfrm>
              <a:off x="4353" y="1391"/>
              <a:ext cx="563"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912556" fontAlgn="base">
                <a:spcBef>
                  <a:spcPct val="0"/>
                </a:spcBef>
                <a:spcAft>
                  <a:spcPct val="0"/>
                </a:spcAft>
                <a:buClr>
                  <a:srgbClr val="036803"/>
                </a:buClr>
              </a:pPr>
              <a:r>
                <a:rPr lang="en-GB" altLang="ja-JP" sz="1500" b="1" dirty="0" err="1">
                  <a:solidFill>
                    <a:srgbClr val="000000"/>
                  </a:solidFill>
                  <a:ea typeface="MS PGothic" pitchFamily="34" charset="-128"/>
                  <a:cs typeface="Arial" charset="0"/>
                </a:rPr>
                <a:t>VHWs</a:t>
              </a:r>
              <a:endParaRPr lang="en-GB" altLang="ja-JP" sz="1500" b="1" dirty="0">
                <a:solidFill>
                  <a:srgbClr val="000000"/>
                </a:solidFill>
                <a:ea typeface="MS PGothic" pitchFamily="34" charset="-128"/>
                <a:cs typeface="Arial" charset="0"/>
              </a:endParaRPr>
            </a:p>
          </p:txBody>
        </p:sp>
        <p:pic>
          <p:nvPicPr>
            <p:cNvPr id="4160" name="Picture 260"/>
            <p:cNvPicPr>
              <a:picLocks noChangeAspect="1" noChangeArrowheads="1"/>
            </p:cNvPicPr>
            <p:nvPr>
              <p:custDataLst>
                <p:tags r:id="rId63"/>
              </p:custDataLst>
            </p:nvPr>
          </p:nvPicPr>
          <p:blipFill>
            <a:blip r:embed="rId255" cstate="email">
              <a:extLst>
                <a:ext uri="{28A0092B-C50C-407E-A947-70E740481C1C}">
                  <a14:useLocalDpi xmlns:a14="http://schemas.microsoft.com/office/drawing/2010/main" val="0"/>
                </a:ext>
              </a:extLst>
            </a:blip>
            <a:srcRect l="35135" t="20874" r="36487" b="11143"/>
            <a:stretch>
              <a:fillRect/>
            </a:stretch>
          </p:blipFill>
          <p:spPr bwMode="gray">
            <a:xfrm>
              <a:off x="4536" y="943"/>
              <a:ext cx="155" cy="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56" name="Group 261"/>
          <p:cNvGrpSpPr>
            <a:grpSpLocks/>
          </p:cNvGrpSpPr>
          <p:nvPr>
            <p:custDataLst>
              <p:tags r:id="rId59"/>
            </p:custDataLst>
          </p:nvPr>
        </p:nvGrpSpPr>
        <p:grpSpPr bwMode="auto">
          <a:xfrm>
            <a:off x="7122172" y="5082762"/>
            <a:ext cx="826286" cy="700729"/>
            <a:chOff x="4353" y="943"/>
            <a:chExt cx="671" cy="568"/>
          </a:xfrm>
        </p:grpSpPr>
        <p:sp>
          <p:nvSpPr>
            <p:cNvPr id="4157" name="Rectangle 234"/>
            <p:cNvSpPr>
              <a:spLocks noChangeArrowheads="1"/>
            </p:cNvSpPr>
            <p:nvPr>
              <p:custDataLst>
                <p:tags r:id="rId60"/>
              </p:custDataLst>
            </p:nvPr>
          </p:nvSpPr>
          <p:spPr bwMode="gray">
            <a:xfrm>
              <a:off x="4353" y="1391"/>
              <a:ext cx="671" cy="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912556" fontAlgn="base">
                <a:spcBef>
                  <a:spcPct val="0"/>
                </a:spcBef>
                <a:spcAft>
                  <a:spcPct val="0"/>
                </a:spcAft>
                <a:buClr>
                  <a:srgbClr val="036803"/>
                </a:buClr>
              </a:pPr>
              <a:r>
                <a:rPr lang="en-GB" altLang="ja-JP" sz="1500" b="1" dirty="0" err="1">
                  <a:solidFill>
                    <a:srgbClr val="000000"/>
                  </a:solidFill>
                  <a:ea typeface="MS PGothic" pitchFamily="34" charset="-128"/>
                  <a:cs typeface="Arial" charset="0"/>
                </a:rPr>
                <a:t>CHEWs</a:t>
              </a:r>
              <a:endParaRPr lang="en-GB" altLang="ja-JP" sz="1500" b="1" dirty="0">
                <a:solidFill>
                  <a:srgbClr val="000000"/>
                </a:solidFill>
                <a:ea typeface="MS PGothic" pitchFamily="34" charset="-128"/>
                <a:cs typeface="Arial" charset="0"/>
              </a:endParaRPr>
            </a:p>
          </p:txBody>
        </p:sp>
        <p:pic>
          <p:nvPicPr>
            <p:cNvPr id="4158" name="Picture 263"/>
            <p:cNvPicPr>
              <a:picLocks noChangeAspect="1" noChangeArrowheads="1"/>
            </p:cNvPicPr>
            <p:nvPr>
              <p:custDataLst>
                <p:tags r:id="rId61"/>
              </p:custDataLst>
            </p:nvPr>
          </p:nvPicPr>
          <p:blipFill>
            <a:blip r:embed="rId255" cstate="email">
              <a:extLst>
                <a:ext uri="{28A0092B-C50C-407E-A947-70E740481C1C}">
                  <a14:useLocalDpi xmlns:a14="http://schemas.microsoft.com/office/drawing/2010/main" val="0"/>
                </a:ext>
              </a:extLst>
            </a:blip>
            <a:srcRect l="35135" t="20874" r="36487" b="11143"/>
            <a:stretch>
              <a:fillRect/>
            </a:stretch>
          </p:blipFill>
          <p:spPr bwMode="gray">
            <a:xfrm>
              <a:off x="4536" y="943"/>
              <a:ext cx="155" cy="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9116717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PROGRAMME STRUCTURE</a:t>
            </a:r>
            <a:endParaRPr lang="en-GB" dirty="0"/>
          </a:p>
        </p:txBody>
      </p:sp>
      <p:pic>
        <p:nvPicPr>
          <p:cNvPr id="7" name="Content Placeholder 6"/>
          <p:cNvPicPr>
            <a:picLocks noGrp="1" noChangeAspect="1"/>
          </p:cNvPicPr>
          <p:nvPr>
            <p:ph idx="1"/>
          </p:nvPr>
        </p:nvPicPr>
        <p:blipFill>
          <a:blip r:embed="rId2"/>
          <a:stretch>
            <a:fillRect/>
          </a:stretch>
        </p:blipFill>
        <p:spPr>
          <a:xfrm>
            <a:off x="8487901" y="3440696"/>
            <a:ext cx="1707028" cy="1043189"/>
          </a:xfrm>
          <a:prstGeom prst="rect">
            <a:avLst/>
          </a:prstGeom>
          <a:noFill/>
        </p:spPr>
      </p:pic>
      <p:pic>
        <p:nvPicPr>
          <p:cNvPr id="4" name="Picture 3"/>
          <p:cNvPicPr>
            <a:picLocks noChangeAspect="1"/>
          </p:cNvPicPr>
          <p:nvPr/>
        </p:nvPicPr>
        <p:blipFill>
          <a:blip r:embed="rId3"/>
          <a:stretch>
            <a:fillRect/>
          </a:stretch>
        </p:blipFill>
        <p:spPr>
          <a:xfrm>
            <a:off x="1563320" y="1287511"/>
            <a:ext cx="1054699" cy="755970"/>
          </a:xfrm>
          <a:prstGeom prst="rect">
            <a:avLst/>
          </a:prstGeom>
        </p:spPr>
      </p:pic>
      <p:sp>
        <p:nvSpPr>
          <p:cNvPr id="5" name="Rectangle 4"/>
          <p:cNvSpPr/>
          <p:nvPr/>
        </p:nvSpPr>
        <p:spPr>
          <a:xfrm>
            <a:off x="1931831" y="3284114"/>
            <a:ext cx="1687132" cy="141667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Oval 7"/>
          <p:cNvSpPr/>
          <p:nvPr/>
        </p:nvSpPr>
        <p:spPr>
          <a:xfrm>
            <a:off x="5151495" y="3773510"/>
            <a:ext cx="1661429" cy="81136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Left-Right Arrow 8"/>
          <p:cNvSpPr/>
          <p:nvPr/>
        </p:nvSpPr>
        <p:spPr>
          <a:xfrm>
            <a:off x="3691917" y="4159875"/>
            <a:ext cx="1378040" cy="180304"/>
          </a:xfrm>
          <a:prstGeom prst="lef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p:nvPicPr>
        <p:blipFill>
          <a:blip r:embed="rId4"/>
          <a:stretch>
            <a:fillRect/>
          </a:stretch>
        </p:blipFill>
        <p:spPr>
          <a:xfrm>
            <a:off x="6971708" y="4134551"/>
            <a:ext cx="1396105" cy="201185"/>
          </a:xfrm>
          <a:prstGeom prst="rect">
            <a:avLst/>
          </a:prstGeom>
        </p:spPr>
      </p:pic>
      <p:sp>
        <p:nvSpPr>
          <p:cNvPr id="14" name="TextBox 13"/>
          <p:cNvSpPr txBox="1"/>
          <p:nvPr/>
        </p:nvSpPr>
        <p:spPr>
          <a:xfrm>
            <a:off x="8539055" y="3500626"/>
            <a:ext cx="1724927" cy="923330"/>
          </a:xfrm>
          <a:prstGeom prst="rect">
            <a:avLst/>
          </a:prstGeom>
          <a:noFill/>
        </p:spPr>
        <p:txBody>
          <a:bodyPr wrap="square" rtlCol="0">
            <a:spAutoFit/>
          </a:bodyPr>
          <a:lstStyle/>
          <a:p>
            <a:r>
              <a:rPr lang="en-GB" dirty="0" smtClean="0"/>
              <a:t>Community-</a:t>
            </a:r>
          </a:p>
          <a:p>
            <a:r>
              <a:rPr lang="en-GB" dirty="0" smtClean="0"/>
              <a:t>WDCs,  </a:t>
            </a:r>
            <a:r>
              <a:rPr lang="en-GB" dirty="0"/>
              <a:t>U</a:t>
            </a:r>
            <a:r>
              <a:rPr lang="en-GB" dirty="0" smtClean="0"/>
              <a:t>sers/families</a:t>
            </a:r>
            <a:endParaRPr lang="en-GB" dirty="0"/>
          </a:p>
        </p:txBody>
      </p:sp>
      <p:sp>
        <p:nvSpPr>
          <p:cNvPr id="15" name="TextBox 14"/>
          <p:cNvSpPr txBox="1"/>
          <p:nvPr/>
        </p:nvSpPr>
        <p:spPr>
          <a:xfrm>
            <a:off x="2180784" y="3601618"/>
            <a:ext cx="1326524" cy="923330"/>
          </a:xfrm>
          <a:prstGeom prst="rect">
            <a:avLst/>
          </a:prstGeom>
          <a:noFill/>
        </p:spPr>
        <p:txBody>
          <a:bodyPr wrap="square" rtlCol="0">
            <a:spAutoFit/>
          </a:bodyPr>
          <a:lstStyle/>
          <a:p>
            <a:r>
              <a:rPr lang="en-GB" dirty="0" smtClean="0"/>
              <a:t>Facilities- HWs, managers</a:t>
            </a:r>
            <a:endParaRPr lang="en-GB" dirty="0"/>
          </a:p>
        </p:txBody>
      </p:sp>
      <p:sp>
        <p:nvSpPr>
          <p:cNvPr id="16" name="TextBox 15"/>
          <p:cNvSpPr txBox="1"/>
          <p:nvPr/>
        </p:nvSpPr>
        <p:spPr>
          <a:xfrm>
            <a:off x="5520714" y="4054624"/>
            <a:ext cx="944480" cy="369332"/>
          </a:xfrm>
          <a:prstGeom prst="rect">
            <a:avLst/>
          </a:prstGeom>
          <a:noFill/>
        </p:spPr>
        <p:txBody>
          <a:bodyPr wrap="square" rtlCol="0">
            <a:spAutoFit/>
          </a:bodyPr>
          <a:lstStyle/>
          <a:p>
            <a:r>
              <a:rPr lang="en-GB" dirty="0" smtClean="0"/>
              <a:t>VHWs</a:t>
            </a:r>
            <a:endParaRPr lang="en-GB" dirty="0"/>
          </a:p>
        </p:txBody>
      </p:sp>
      <p:sp>
        <p:nvSpPr>
          <p:cNvPr id="3" name="TextBox 2"/>
          <p:cNvSpPr txBox="1"/>
          <p:nvPr/>
        </p:nvSpPr>
        <p:spPr>
          <a:xfrm>
            <a:off x="4945488" y="5241701"/>
            <a:ext cx="2292440" cy="369332"/>
          </a:xfrm>
          <a:prstGeom prst="rect">
            <a:avLst/>
          </a:prstGeom>
          <a:noFill/>
        </p:spPr>
        <p:txBody>
          <a:bodyPr wrap="square" rtlCol="0">
            <a:spAutoFit/>
          </a:bodyPr>
          <a:lstStyle/>
          <a:p>
            <a:r>
              <a:rPr lang="en-GB" b="1" dirty="0" smtClean="0">
                <a:solidFill>
                  <a:srgbClr val="00B050"/>
                </a:solidFill>
              </a:rPr>
              <a:t>   Improved MCH</a:t>
            </a:r>
            <a:endParaRPr lang="en-GB" b="1" dirty="0">
              <a:solidFill>
                <a:srgbClr val="00B050"/>
              </a:solidFill>
            </a:endParaRPr>
          </a:p>
        </p:txBody>
      </p:sp>
      <p:cxnSp>
        <p:nvCxnSpPr>
          <p:cNvPr id="13" name="Straight Arrow Connector 12"/>
          <p:cNvCxnSpPr/>
          <p:nvPr/>
        </p:nvCxnSpPr>
        <p:spPr>
          <a:xfrm>
            <a:off x="2758199" y="4758538"/>
            <a:ext cx="2170091" cy="725577"/>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H="1">
            <a:off x="6971708" y="4640306"/>
            <a:ext cx="2426302" cy="725577"/>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8" idx="4"/>
          </p:cNvCxnSpPr>
          <p:nvPr/>
        </p:nvCxnSpPr>
        <p:spPr>
          <a:xfrm flipH="1">
            <a:off x="5982209" y="4584879"/>
            <a:ext cx="1" cy="656822"/>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94548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ETHODS</a:t>
            </a:r>
            <a:endParaRPr lang="en-GB" dirty="0"/>
          </a:p>
        </p:txBody>
      </p:sp>
      <p:sp>
        <p:nvSpPr>
          <p:cNvPr id="3" name="Content Placeholder 2"/>
          <p:cNvSpPr>
            <a:spLocks noGrp="1"/>
          </p:cNvSpPr>
          <p:nvPr>
            <p:ph idx="1"/>
          </p:nvPr>
        </p:nvSpPr>
        <p:spPr/>
        <p:txBody>
          <a:bodyPr>
            <a:normAutofit lnSpcReduction="10000"/>
          </a:bodyPr>
          <a:lstStyle/>
          <a:p>
            <a:r>
              <a:rPr lang="en-GB" dirty="0" smtClean="0"/>
              <a:t>June 2015 to May 2020</a:t>
            </a:r>
          </a:p>
          <a:p>
            <a:r>
              <a:rPr lang="en-GB" dirty="0" smtClean="0"/>
              <a:t>Study sites -2 SURE-P clusters and 1 non SURE-P cluster as a Control</a:t>
            </a:r>
          </a:p>
          <a:p>
            <a:r>
              <a:rPr lang="en-GB" dirty="0" smtClean="0"/>
              <a:t>In-depth interviews, Focus Group Discussions (FGDs) with  HWs, VHWs, WDCs and Service users</a:t>
            </a:r>
          </a:p>
          <a:p>
            <a:r>
              <a:rPr lang="en-GB" dirty="0" smtClean="0"/>
              <a:t>Observations at facilities </a:t>
            </a:r>
          </a:p>
          <a:p>
            <a:r>
              <a:rPr lang="en-GB" dirty="0" smtClean="0"/>
              <a:t>Survey</a:t>
            </a:r>
          </a:p>
          <a:p>
            <a:r>
              <a:rPr lang="en-GB" dirty="0" smtClean="0"/>
              <a:t>HMIS data analysis</a:t>
            </a:r>
            <a:endParaRPr lang="en-GB" dirty="0"/>
          </a:p>
        </p:txBody>
      </p:sp>
      <p:pic>
        <p:nvPicPr>
          <p:cNvPr id="4" name="Picture 3"/>
          <p:cNvPicPr>
            <a:picLocks noChangeAspect="1"/>
          </p:cNvPicPr>
          <p:nvPr/>
        </p:nvPicPr>
        <p:blipFill>
          <a:blip r:embed="rId2"/>
          <a:stretch>
            <a:fillRect/>
          </a:stretch>
        </p:blipFill>
        <p:spPr>
          <a:xfrm>
            <a:off x="1614836" y="1402519"/>
            <a:ext cx="1054699" cy="755970"/>
          </a:xfrm>
          <a:prstGeom prst="rect">
            <a:avLst/>
          </a:prstGeom>
        </p:spPr>
      </p:pic>
    </p:spTree>
    <p:extLst>
      <p:ext uri="{BB962C8B-B14F-4D97-AF65-F5344CB8AC3E}">
        <p14:creationId xmlns:p14="http://schemas.microsoft.com/office/powerpoint/2010/main" val="5633132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PROGRAMME THEORIES</a:t>
            </a:r>
            <a:endParaRPr lang="en-GB" dirty="0"/>
          </a:p>
        </p:txBody>
      </p:sp>
      <p:sp>
        <p:nvSpPr>
          <p:cNvPr id="3" name="Content Placeholder 2"/>
          <p:cNvSpPr>
            <a:spLocks noGrp="1"/>
          </p:cNvSpPr>
          <p:nvPr>
            <p:ph sz="half" idx="1"/>
          </p:nvPr>
        </p:nvSpPr>
        <p:spPr/>
        <p:txBody>
          <a:bodyPr>
            <a:normAutofit fontScale="92500"/>
          </a:bodyPr>
          <a:lstStyle/>
          <a:p>
            <a:r>
              <a:rPr lang="en-GB" b="1" dirty="0" smtClean="0"/>
              <a:t>Supply……</a:t>
            </a:r>
            <a:r>
              <a:rPr lang="en-GB" dirty="0" smtClean="0"/>
              <a:t>If  </a:t>
            </a:r>
            <a:r>
              <a:rPr lang="en-GB" dirty="0"/>
              <a:t>health workers are </a:t>
            </a:r>
            <a:r>
              <a:rPr lang="en-GB" b="1" dirty="0" smtClean="0">
                <a:solidFill>
                  <a:srgbClr val="00B050"/>
                </a:solidFill>
              </a:rPr>
              <a:t>deployed </a:t>
            </a:r>
            <a:r>
              <a:rPr lang="en-GB" b="1" dirty="0">
                <a:solidFill>
                  <a:srgbClr val="00B050"/>
                </a:solidFill>
              </a:rPr>
              <a:t>to health facilities </a:t>
            </a:r>
            <a:r>
              <a:rPr lang="en-GB" b="1" dirty="0" smtClean="0">
                <a:solidFill>
                  <a:srgbClr val="00B050"/>
                </a:solidFill>
              </a:rPr>
              <a:t>that </a:t>
            </a:r>
            <a:r>
              <a:rPr lang="en-GB" b="1" dirty="0">
                <a:solidFill>
                  <a:srgbClr val="00B050"/>
                </a:solidFill>
              </a:rPr>
              <a:t>have security men</a:t>
            </a:r>
            <a:r>
              <a:rPr lang="en-GB" dirty="0"/>
              <a:t>, comfortable </a:t>
            </a:r>
            <a:r>
              <a:rPr lang="en-GB" dirty="0" smtClean="0"/>
              <a:t>accommodation within the facilities, </a:t>
            </a:r>
            <a:r>
              <a:rPr lang="en-GB" dirty="0" smtClean="0"/>
              <a:t>(</a:t>
            </a:r>
            <a:r>
              <a:rPr lang="en-GB" b="1" dirty="0"/>
              <a:t>C</a:t>
            </a:r>
            <a:r>
              <a:rPr lang="en-GB" dirty="0"/>
              <a:t>), </a:t>
            </a:r>
            <a:r>
              <a:rPr lang="en-GB" b="1" dirty="0" smtClean="0">
                <a:solidFill>
                  <a:srgbClr val="00B050"/>
                </a:solidFill>
              </a:rPr>
              <a:t>they </a:t>
            </a:r>
            <a:r>
              <a:rPr lang="en-GB" b="1" dirty="0">
                <a:solidFill>
                  <a:srgbClr val="00B050"/>
                </a:solidFill>
              </a:rPr>
              <a:t>will feel </a:t>
            </a:r>
            <a:r>
              <a:rPr lang="en-GB" b="1" dirty="0" smtClean="0">
                <a:solidFill>
                  <a:srgbClr val="00B050"/>
                </a:solidFill>
              </a:rPr>
              <a:t>safe and confident to provide round the clock services </a:t>
            </a:r>
            <a:r>
              <a:rPr lang="en-GB" dirty="0"/>
              <a:t>(</a:t>
            </a:r>
            <a:r>
              <a:rPr lang="en-GB" b="1" dirty="0"/>
              <a:t>M)</a:t>
            </a:r>
            <a:r>
              <a:rPr lang="en-GB" dirty="0"/>
              <a:t> which </a:t>
            </a:r>
            <a:r>
              <a:rPr lang="en-GB" dirty="0" smtClean="0"/>
              <a:t>will likely lead </a:t>
            </a:r>
            <a:r>
              <a:rPr lang="en-GB" dirty="0"/>
              <a:t>to </a:t>
            </a:r>
            <a:r>
              <a:rPr lang="en-GB" dirty="0" smtClean="0"/>
              <a:t>improved </a:t>
            </a:r>
            <a:r>
              <a:rPr lang="en-GB" dirty="0"/>
              <a:t>MCH services, </a:t>
            </a:r>
            <a:r>
              <a:rPr lang="en-GB" dirty="0" smtClean="0"/>
              <a:t>and  </a:t>
            </a:r>
            <a:r>
              <a:rPr lang="en-GB" dirty="0"/>
              <a:t>outcomes (</a:t>
            </a:r>
            <a:r>
              <a:rPr lang="en-GB" b="1" dirty="0"/>
              <a:t>O)</a:t>
            </a:r>
            <a:r>
              <a:rPr lang="en-GB" dirty="0"/>
              <a:t>.</a:t>
            </a:r>
          </a:p>
        </p:txBody>
      </p:sp>
      <p:sp>
        <p:nvSpPr>
          <p:cNvPr id="4" name="Content Placeholder 3"/>
          <p:cNvSpPr>
            <a:spLocks noGrp="1"/>
          </p:cNvSpPr>
          <p:nvPr>
            <p:ph sz="half" idx="2"/>
          </p:nvPr>
        </p:nvSpPr>
        <p:spPr/>
        <p:txBody>
          <a:bodyPr>
            <a:normAutofit fontScale="92500"/>
          </a:bodyPr>
          <a:lstStyle/>
          <a:p>
            <a:r>
              <a:rPr lang="en-GB" b="1" dirty="0" smtClean="0"/>
              <a:t>Demand</a:t>
            </a:r>
            <a:r>
              <a:rPr lang="en-GB" dirty="0" smtClean="0"/>
              <a:t>…If </a:t>
            </a:r>
            <a:r>
              <a:rPr lang="en-GB" b="1" dirty="0" smtClean="0">
                <a:solidFill>
                  <a:srgbClr val="00B050"/>
                </a:solidFill>
              </a:rPr>
              <a:t>WDCs are mobilized </a:t>
            </a:r>
            <a:r>
              <a:rPr lang="en-GB" b="1" dirty="0" smtClean="0">
                <a:solidFill>
                  <a:srgbClr val="00B050"/>
                </a:solidFill>
              </a:rPr>
              <a:t>to provide security for the facilities</a:t>
            </a:r>
            <a:r>
              <a:rPr lang="en-GB" dirty="0" smtClean="0"/>
              <a:t>, </a:t>
            </a:r>
            <a:r>
              <a:rPr lang="en-GB" dirty="0" smtClean="0"/>
              <a:t>pregnant </a:t>
            </a:r>
            <a:r>
              <a:rPr lang="en-GB" dirty="0"/>
              <a:t>women </a:t>
            </a:r>
            <a:r>
              <a:rPr lang="en-GB" dirty="0" smtClean="0"/>
              <a:t> provided CCT and </a:t>
            </a:r>
            <a:r>
              <a:rPr lang="en-GB" b="1" dirty="0" smtClean="0">
                <a:solidFill>
                  <a:srgbClr val="00B050"/>
                </a:solidFill>
              </a:rPr>
              <a:t>encouraged by VHWs to </a:t>
            </a:r>
            <a:r>
              <a:rPr lang="en-GB" b="1" dirty="0">
                <a:solidFill>
                  <a:srgbClr val="00B050"/>
                </a:solidFill>
              </a:rPr>
              <a:t>attend </a:t>
            </a:r>
            <a:r>
              <a:rPr lang="en-GB" b="1" dirty="0" smtClean="0">
                <a:solidFill>
                  <a:srgbClr val="00B050"/>
                </a:solidFill>
              </a:rPr>
              <a:t>facilities </a:t>
            </a:r>
            <a:r>
              <a:rPr lang="en-GB" b="1" dirty="0" smtClean="0"/>
              <a:t>(C ) </a:t>
            </a:r>
            <a:r>
              <a:rPr lang="en-GB" dirty="0" smtClean="0"/>
              <a:t>, </a:t>
            </a:r>
            <a:r>
              <a:rPr lang="en-GB" b="1" dirty="0" smtClean="0">
                <a:solidFill>
                  <a:srgbClr val="00B050"/>
                </a:solidFill>
              </a:rPr>
              <a:t>pregnant </a:t>
            </a:r>
            <a:r>
              <a:rPr lang="en-GB" b="1" dirty="0">
                <a:solidFill>
                  <a:srgbClr val="00B050"/>
                </a:solidFill>
              </a:rPr>
              <a:t>women will feel safer and confident to </a:t>
            </a:r>
            <a:r>
              <a:rPr lang="en-GB" b="1" dirty="0" smtClean="0">
                <a:solidFill>
                  <a:srgbClr val="00B050"/>
                </a:solidFill>
              </a:rPr>
              <a:t> </a:t>
            </a:r>
            <a:r>
              <a:rPr lang="en-GB" b="1" dirty="0">
                <a:solidFill>
                  <a:srgbClr val="00B050"/>
                </a:solidFill>
              </a:rPr>
              <a:t>attend health facilities </a:t>
            </a:r>
            <a:r>
              <a:rPr lang="en-GB" b="1" dirty="0"/>
              <a:t>(M)</a:t>
            </a:r>
            <a:r>
              <a:rPr lang="en-GB" dirty="0"/>
              <a:t>, </a:t>
            </a:r>
            <a:r>
              <a:rPr lang="en-GB" dirty="0" smtClean="0"/>
              <a:t> </a:t>
            </a:r>
            <a:r>
              <a:rPr lang="en-GB" dirty="0"/>
              <a:t>leading to increased </a:t>
            </a:r>
            <a:r>
              <a:rPr lang="en-GB" dirty="0" smtClean="0"/>
              <a:t> </a:t>
            </a:r>
            <a:r>
              <a:rPr lang="en-GB" dirty="0"/>
              <a:t>utilization </a:t>
            </a:r>
            <a:r>
              <a:rPr lang="en-GB" dirty="0" smtClean="0"/>
              <a:t>of facility-based </a:t>
            </a:r>
            <a:r>
              <a:rPr lang="en-GB" dirty="0"/>
              <a:t>MCH </a:t>
            </a:r>
            <a:r>
              <a:rPr lang="en-GB" dirty="0" smtClean="0"/>
              <a:t>services</a:t>
            </a:r>
            <a:endParaRPr lang="en-GB" dirty="0">
              <a:latin typeface="Garamond" panose="02020404030301010803" pitchFamily="18" charset="0"/>
            </a:endParaRPr>
          </a:p>
        </p:txBody>
      </p:sp>
    </p:spTree>
    <p:extLst>
      <p:ext uri="{BB962C8B-B14F-4D97-AF65-F5344CB8AC3E}">
        <p14:creationId xmlns:p14="http://schemas.microsoft.com/office/powerpoint/2010/main" val="11939069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EXPERIENCES DIFFERED</a:t>
            </a:r>
            <a:endParaRPr lang="en-GB" dirty="0"/>
          </a:p>
        </p:txBody>
      </p:sp>
      <p:sp>
        <p:nvSpPr>
          <p:cNvPr id="3" name="Content Placeholder 2"/>
          <p:cNvSpPr>
            <a:spLocks noGrp="1"/>
          </p:cNvSpPr>
          <p:nvPr>
            <p:ph idx="1"/>
          </p:nvPr>
        </p:nvSpPr>
        <p:spPr/>
        <p:txBody>
          <a:bodyPr>
            <a:normAutofit/>
          </a:bodyPr>
          <a:lstStyle/>
          <a:p>
            <a:endParaRPr lang="en-GB" dirty="0" smtClean="0"/>
          </a:p>
          <a:p>
            <a:r>
              <a:rPr lang="en-GB" dirty="0" smtClean="0"/>
              <a:t>Night time security was a recurring issue across all study facilities for providers who were all female</a:t>
            </a:r>
          </a:p>
          <a:p>
            <a:r>
              <a:rPr lang="en-GB" dirty="0" smtClean="0"/>
              <a:t>Experiences differed depending on whether action was taken or not to provide human security (security guards)</a:t>
            </a:r>
          </a:p>
          <a:p>
            <a:r>
              <a:rPr lang="en-GB" dirty="0"/>
              <a:t>A</a:t>
            </a:r>
            <a:r>
              <a:rPr lang="en-GB" dirty="0" smtClean="0"/>
              <a:t>ctions usually taken by the community and not by SURE-P</a:t>
            </a:r>
            <a:endParaRPr lang="en-GB" dirty="0"/>
          </a:p>
        </p:txBody>
      </p:sp>
      <p:pic>
        <p:nvPicPr>
          <p:cNvPr id="4" name="Picture 3"/>
          <p:cNvPicPr>
            <a:picLocks noChangeAspect="1"/>
          </p:cNvPicPr>
          <p:nvPr/>
        </p:nvPicPr>
        <p:blipFill>
          <a:blip r:embed="rId2"/>
          <a:stretch>
            <a:fillRect/>
          </a:stretch>
        </p:blipFill>
        <p:spPr>
          <a:xfrm>
            <a:off x="1627715" y="1287511"/>
            <a:ext cx="1054699" cy="755970"/>
          </a:xfrm>
          <a:prstGeom prst="rect">
            <a:avLst/>
          </a:prstGeom>
        </p:spPr>
      </p:pic>
    </p:spTree>
    <p:extLst>
      <p:ext uri="{BB962C8B-B14F-4D97-AF65-F5344CB8AC3E}">
        <p14:creationId xmlns:p14="http://schemas.microsoft.com/office/powerpoint/2010/main" val="219808502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AElBXyMC0GgCsXMK4ZnT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IkaTK9TeqUmxW0dEcSTsZ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QY7h7oJKUaV.74mV4ban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kw11uCnIqkiAeUXgw1zFY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KR91ulW0ixRyxxYt.Ok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Yih27wcAUuObS9emsHob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Co96Ci63.EGTuClAjZqMQ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afNUpHjdkagVEYtOOXD9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HL1Yh1oL06SRCDGaLAlt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k3BwSK9xkaX7IZrV9SvY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ncZUR1wzEEOArrfGEH9d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YZOIT2GJ0ai0frtGHTob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a83gMUGz0aIlv49thYb6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QBLWLpWWk.rWKRDZKWgL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vjccnMeMPEmaeYoDnXPyT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MoBSrpsQ_069KhabtebVS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0FVdE4dCJki35MKWip5Wh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5QBx54axb0iHTgYNsOUsf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cEj1NnuWCEy9_QzOuVHvQ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iQwkSHCeQ0GSOhXCkgvOL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F2EaDkFU5UShiYaN6pP1d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7tdp5.loCki7zfoAby19M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t4_f6buTEO2_ZYqX2ASD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E6ZTqQy8L0qL9mx.APYc0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vHgputDhX0ab_ZT2NCHhg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UZrMAiE_okmdSfGxILW83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FaUiCa6cY0OOryRqeJrf5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l6D8slO_2E2Jbt463mKZ0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gyoIH9n9dkyJn8QmXlImX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D5XAVANd.E2G7S22CBjsB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o_UfwBSUGE2QRxUVbItUY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1xgYnFb2zk64EFDyalRVx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VRv4aQ6XUOpzaglN45hW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lxK4IbWU0Kx400rSk.lv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ASShZNwbYkSTzKtjp6TVy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WfFrNbHpXUq.V8R9ow7IW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8YeGUddFS0uZYNn3Vg8ZF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O5cOw1lbxkmZ0zZMNqNej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ez2rNTL.r0e3fGhRUBorT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buawObqB8UmOdP6wzMdzR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a7dY64voGkegoh4DOasXk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6gkfAnBUEOmc5qhv_VEU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Gj5Blq.Wf0m6wxqaozyuh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IkaTK9TeqUmxW0dEcSTs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geO15yURkWq.mxzvSZtw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iQY7h7oJKUaV.74mV4ban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kw11uCnIqkiAeUXgw1zFY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i.KR91ulW0ixRyxxYt.Ok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lYih27wcAUuObS9emsHob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Co96Ci63.EGTuClAjZqMQ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IafNUpHjdkagVEYtOOXD9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cHL1Yh1oL06SRCDGaLAlt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ck3BwSK9xkaX7IZrV9SvY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ncZUR1wzEEOArrfGEH9dS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la83gMUGz0aIlv49thYb6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2HB4.Ge4U2usvXgtP.KC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RQBLWLpWWk.rWKRDZKWgL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vjccnMeMPEmaeYoDnXPyT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MoBSrpsQ_069KhabtebVS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0FVdE4dCJki35MKWip5Wh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5QBx54axb0iHTgYNsOUsf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cEj1NnuWCEy9_QzOuVHvQ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iQwkSHCeQ0GSOhXCkgvOL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2EaDkFU5UShiYaN6pP1d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7tdp5.loCki7zfoAby19M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E6ZTqQy8L0qL9mx.APYc0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zZStXB12UKSSh.0JjLCI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vHgputDhX0ab_ZT2NCHhg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UZrMAiE_okmdSfGxILW83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FaUiCa6cY0OOryRqeJrf5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l6D8slO_2E2Jbt463mKZ0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gyoIH9n9dkyJn8QmXlImX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D5XAVANd.E2G7S22CBjsB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o_UfwBSUGE2QRxUVbItUY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1xgYnFb2zk64EFDyalRVx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RVRv4aQ6XUOpzaglN45hW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ASShZNwbYkSTzKtjp6TVy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4loyAtFtUer6K5Stz_2h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WfFrNbHpXUq.V8R9ow7IW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8YeGUddFS0uZYNn3Vg8ZF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O5cOw1lbxkmZ0zZMNqNej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ez2rNTL.r0e3fGhRUBorT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buawObqB8UmOdP6wzMdzR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a7dY64voGkegoh4DOasXk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6gkfAnBUEOmc5qhv_VEU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Gj5Blq.Wf0m6wxqaozyuh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IkaTK9TeqUmxW0dEcSTsZ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iQY7h7oJKUaV.74mV4ban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U5wjHFvI40OANQvRrZESV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kw11uCnIqkiAeUXgw1zFY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i.KR91ulW0ixRyxxYt.Ok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lYih27wcAUuObS9emsHob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Co96Ci63.EGTuClAjZqMQ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IafNUpHjdkagVEYtOOXD9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cHL1Yh1oL06SRCDGaLAlt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ck3BwSK9xkaX7IZrV9SvY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ncZUR1wzEEOArrfGEH9dS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a83gMUGz0aIlv49thYb6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RQBLWLpWWk.rWKRDZKWg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ElwaJfny0OoHh5LNgNgo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vjccnMeMPEmaeYoDnXPyT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MoBSrpsQ_069KhabtebVS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0FVdE4dCJki35MKWip5Wh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5QBx54axb0iHTgYNsOUsf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cEj1NnuWCEy9_QzOuVHvQ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QwkSHCeQ0GSOhXCkgvOL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F2EaDkFU5UShiYaN6pP1d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7tdp5.loCki7zfoAby19M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E6ZTqQy8L0qL9mx.APYc0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vHgputDhX0ab_ZT2NCHh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r_L9S0Wo0OJxQGUpZVsh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tp_Bvh5UEa7hofoGLC9a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UZrMAiE_okmdSfGxILW83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FaUiCa6cY0OOryRqeJrf5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l6D8slO_2E2Jbt463mKZ0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gyoIH9n9dkyJn8QmXlImX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D5XAVANd.E2G7S22CBjsB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o_UfwBSUGE2QRxUVbItUY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1xgYnFb2zk64EFDyalRVx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RVRv4aQ6XUOpzaglN45hW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ASShZNwbYkSTzKtjp6TVy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WfFrNbHpXUq.V8R9ow7IW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cN37QsKTEW1GJkhTQJO9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8YeGUddFS0uZYNn3Vg8ZF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5cOw1lbxkmZ0zZMNqNej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ez2rNTL.r0e3fGhRUBorT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buawObqB8UmOdP6wzMdzR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a7dY64voGkegoh4DOasXk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6gkfAnBUEOmc5qhv_VEU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Gj5Blq.Wf0m6wxqaozyuh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IkaTK9TeqUmxW0dEcSTsZ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iQY7h7oJKUaV.74mV4ban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kw11uCnIqkiAeUXgw1zFY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Ax0njWbU02rmfUYYZ71_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i.KR91ulW0ixRyxxYt.Ok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lYih27wcAUuObS9emsHob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o96Ci63.EGTuClAjZqMQ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IafNUpHjdkagVEYtOOXD9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cHL1Yh1oL06SRCDGaLAlt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ck3BwSK9xkaX7IZrV9SvY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ncZUR1wzEEOArrfGEH9dS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la83gMUGz0aIlv49thYb6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RQBLWLpWWk.rWKRDZKWgL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vjccnMeMPEmaeYoDnXPy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_HKlhIAqcUOxl6exf4ru7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MoBSrpsQ_069KhabtebVS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0FVdE4dCJki35MKWip5Wh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5QBx54axb0iHTgYNsOUsf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cEj1NnuWCEy9_QzOuVHvQ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iQwkSHCeQ0GSOhXCkgvOL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F2EaDkFU5UShiYaN6pP1d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7tdp5.loCki7zfoAby19M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E6ZTqQy8L0qL9mx.APYc0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vHgputDhX0ab_ZT2NCHh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UZrMAiE_okmdSfGxILW83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K7iVtv0zkCu.AJls.4ug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FaUiCa6cY0OOryRqeJrf5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l6D8slO_2E2Jbt463mKZ0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gyoIH9n9dkyJn8QmXlImX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D5XAVANd.E2G7S22CBjsB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o_UfwBSUGE2QRxUVbItUY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1xgYnFb2zk64EFDyalRVx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RVRv4aQ6XUOpzaglN45hW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ASShZNwbYkSTzKtjp6TVy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WfFrNbHpXUq.V8R9ow7IW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8YeGUddFS0uZYNn3Vg8ZF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J2fkjZldUeEHANo4iH1W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2sjKuAdhk2q0b3AiSMxN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3evkypm0OUqLKCP079n.z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OgK78jJE0OL6kIg6OGb6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Vdh8eWkoEkGBuJFSc17W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Np3xw3K10K7F_pb0iDOW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dMx_O4LjESE_ru0awLI1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nnWEDyaqEW0M_cM31VOx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4y9BnlmpUacr7sqTLLIq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5ZsRM7aOS0OZwmUyuiL5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3jhnWXRgnEaURE0.HwZm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KYisyS5bk.O6YNBT1_fl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WRNBMw4m0Kv.1bnDCTQz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5BAhfopqoEeCXosSmInR7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ObITWrJzUeRXc6EeTWoS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XmNy_FdyUejgUvLYKPJ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l63Th0mGEiUL4DFClZ7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0QQi6FRkFE6LlrKuYpKFh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zYqgTM.6UajwAAnjqcfW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xsJ0lErxcEKLt43avgA70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KiGuiV6IQ0ODAawjENHi2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RE0apfCP0m1rd0mYGKnm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OPIZBYM6U66RGjNRv8an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YkvDNAfrzUGe2DML6yRsk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l3_CqIJHU2k84RaV6TgR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jXyesPDAqk60YJLLRywU5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AH.l3rSWkOdNEjYZSGH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_i48B1Ic0SYNxSjJ4i_S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M6XZ1qcoUqlKbZG7pslj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AM8qxX6k0aD3Fa8XIvDm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y5ov9VPA6kG6tTvyrdZI8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5N_o7.O3ZkiaDX7D4jsl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EuXrXgviKkKk8k4fr1n2B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dG2Ya1Pi0eoBcdMVLrN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MBej2hqC0Gn70Sy3ijKD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1eoDXVdekCA6In7uS4RM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E1ktRgqmUasfquZBWIkD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5lXrjnrrs06IAI1g2ZbBk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_yEbPZ96Eeh0RKGO9gzj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8uk6f4JP2U.FrEdX8BeXR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5lXrjnrrs06IAI1g2ZbBk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uk6f4JP2U.FrEdX8BeXR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5lXrjnrrs06IAI1g2ZbBk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8uk6f4JP2U.FrEdX8BeXR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5lXrjnrrs06IAI1g2ZbBk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8uk6f4JP2U.FrEdX8BeX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5lXrjnrrs06IAI1g2ZbBk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uk6f4JP2U.FrEdX8BeXR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5lXrjnrrs06IAI1g2ZbBkg"/>
</p:tagLst>
</file>

<file path=ppt/tags/tag7.xml><?xml version="1.0" encoding="utf-8"?>
<p:tagLst xmlns:a="http://schemas.openxmlformats.org/drawingml/2006/main" xmlns:r="http://schemas.openxmlformats.org/officeDocument/2006/relationships" xmlns:p="http://schemas.openxmlformats.org/presentationml/2006/main">
  <p:tag name="RESIZE" val="Yes"/>
  <p:tag name="THINKCELLSHAPEDONOTDELETE" val="pXJvf0TuDJUCgS9yAiFPU6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uk6f4JP2U.FrEdX8BeXR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5lXrjnrrs06IAI1g2ZbBk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8uk6f4JP2U.FrEdX8BeXR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5lXrjnrrs06IAI1g2ZbBk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8uk6f4JP2U.FrEdX8BeXR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TTAluWLbFUKeQsWoz5sph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QJ6zY25IUeyr0IdOHVq7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_TsntQiwk.BUG9LXi65Z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TTAluWLbFUKeQsWoz5sph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nQJ6zY25IUeyr0IdOHVq7w"/>
</p:tagLst>
</file>

<file path=ppt/tags/tag8.xml><?xml version="1.0" encoding="utf-8"?>
<p:tagLst xmlns:a="http://schemas.openxmlformats.org/drawingml/2006/main" xmlns:r="http://schemas.openxmlformats.org/officeDocument/2006/relationships" xmlns:p="http://schemas.openxmlformats.org/presentationml/2006/main">
  <p:tag name="RESIZE" val="Yes"/>
  <p:tag name="THINKCELLSHAPEDONOTDELETE" val="pAHPBU0YetUKv5FAEd2OAq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h_TsntQiwk.BUG9LXi65Z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TTAluWLbFUKeQsWoz5sph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nQJ6zY25IUeyr0IdOHVq7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h_TsntQiwk.BUG9LXi65Z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TTAluWLbFUKeQsWoz5sph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nQJ6zY25IUeyr0IdOHVq7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h_TsntQiwk.BUG9LXi65Z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5lXrjnrrs06IAI1g2ZbBk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1Ddp49q.jEmctIXb2I.to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9OfNrExZh0ajAArG1XUz1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xNhTD_adUqXT.l1hw4pr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hroZeZXcC0aDfVlugV4Wh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UpxhjVnS30Gz6L0ecZUI6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I1YiY5ZW6kCN1FFRJgyiP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LNyyLPfRakqdS2ocvrj_V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O5cOw1lbxkmZ0zZMNqNe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ez2rNTL.r0e3fGhRUBorT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uawObqB8UmOdP6wzMdzR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a7dY64voGkegoh4DOasXk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6gkfAnBUEOmc5qhv_VEU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j5Blq.Wf0m6wxqaozyuhw"/>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Organic">
  <a:themeElements>
    <a:clrScheme name="Organic">
      <a:dk1>
        <a:sysClr val="windowText" lastClr="000000"/>
      </a:dk1>
      <a:lt1>
        <a:sysClr val="window" lastClr="FFFFFF"/>
      </a:lt1>
      <a:dk2>
        <a:srgbClr val="212121"/>
      </a:dk2>
      <a:lt2>
        <a:srgbClr val="DADADA"/>
      </a:lt2>
      <a:accent1>
        <a:srgbClr val="D9B247"/>
      </a:accent1>
      <a:accent2>
        <a:srgbClr val="CC702D"/>
      </a:accent2>
      <a:accent3>
        <a:srgbClr val="B53A31"/>
      </a:accent3>
      <a:accent4>
        <a:srgbClr val="815F56"/>
      </a:accent4>
      <a:accent5>
        <a:srgbClr val="AE9E7C"/>
      </a:accent5>
      <a:accent6>
        <a:srgbClr val="7B8865"/>
      </a:accent6>
      <a:hlink>
        <a:srgbClr val="BB7826"/>
      </a:hlink>
      <a:folHlink>
        <a:srgbClr val="CF9C5F"/>
      </a:folHlink>
    </a:clrScheme>
    <a:fontScheme name="Organic">
      <a:majorFont>
        <a:latin typeface="Garamond" panose="020204040303010108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aramond" panose="02020404030301010803"/>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rganic">
      <a:fillStyleLst>
        <a:solidFill>
          <a:schemeClr val="phClr"/>
        </a:solidFill>
        <a:gradFill rotWithShape="1">
          <a:gsLst>
            <a:gs pos="0">
              <a:schemeClr val="phClr">
                <a:tint val="60000"/>
                <a:lumMod val="110000"/>
              </a:schemeClr>
            </a:gs>
            <a:gs pos="100000">
              <a:schemeClr val="phClr">
                <a:tint val="82000"/>
              </a:schemeClr>
            </a:gs>
          </a:gsLst>
          <a:lin ang="5400000" scaled="0"/>
        </a:gradFill>
        <a:blipFill>
          <a:blip xmlns:r="http://schemas.openxmlformats.org/officeDocument/2006/relationships" r:embed="rId1">
            <a:duotone>
              <a:schemeClr val="phClr">
                <a:shade val="74000"/>
                <a:satMod val="130000"/>
                <a:lumMod val="90000"/>
              </a:schemeClr>
              <a:schemeClr val="phClr">
                <a:tint val="94000"/>
                <a:satMod val="120000"/>
                <a:lumMod val="104000"/>
              </a:schemeClr>
            </a:duotone>
          </a:blip>
          <a:tile tx="0" ty="0" sx="100000" sy="100000" flip="none" algn="tl"/>
        </a:blipFill>
      </a:fillStyleLst>
      <a:lnStyleLst>
        <a:ln w="9525"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innerShdw blurRad="25400" dist="12700" dir="13500000">
              <a:srgbClr val="000000">
                <a:alpha val="45000"/>
              </a:srgbClr>
            </a:innerShdw>
          </a:effectLst>
        </a:effectStyle>
        <a:effectStyle>
          <a:effectLst>
            <a:outerShdw blurRad="38100" dist="25400" dir="5400000" rotWithShape="0">
              <a:srgbClr val="000000">
                <a:alpha val="60000"/>
              </a:srgbClr>
            </a:outerShdw>
          </a:effectLst>
        </a:effectStyle>
      </a:effectStyleLst>
      <a:bgFillStyleLst>
        <a:solidFill>
          <a:schemeClr val="phClr"/>
        </a:solidFill>
        <a:gradFill rotWithShape="1">
          <a:gsLst>
            <a:gs pos="0">
              <a:schemeClr val="phClr">
                <a:tint val="90000"/>
                <a:lumMod val="110000"/>
              </a:schemeClr>
            </a:gs>
            <a:gs pos="100000">
              <a:schemeClr val="phClr">
                <a:shade val="88000"/>
                <a:lumMod val="98000"/>
              </a:schemeClr>
            </a:gs>
          </a:gsLst>
          <a:lin ang="5400000" scaled="0"/>
        </a:gradFill>
        <a:blipFill>
          <a:blip xmlns:r="http://schemas.openxmlformats.org/officeDocument/2006/relationships" r:embed="rId2"/>
          <a:stretch/>
        </a:blipFill>
      </a:bgFillStyleLst>
    </a:fmtScheme>
  </a:themeElements>
  <a:objectDefaults/>
  <a:extraClrSchemeLst/>
  <a:extLst>
    <a:ext uri="{05A4C25C-085E-4340-85A3-A5531E510DB2}">
      <thm15:themeFamily xmlns:thm15="http://schemas.microsoft.com/office/thememl/2012/main" name="Organic" id="{28CDC826-8792-45C0-861B-85EB3ADEDA33}" vid="{E4E49EB0-FB00-41F5-9359-4843D783A23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rganic</Template>
  <TotalTime>938</TotalTime>
  <Words>1167</Words>
  <Application>Microsoft Office PowerPoint</Application>
  <PresentationFormat>Widescreen</PresentationFormat>
  <Paragraphs>102</Paragraphs>
  <Slides>17</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5" baseType="lpstr">
      <vt:lpstr>MS PGothic</vt:lpstr>
      <vt:lpstr>MS PGothic</vt:lpstr>
      <vt:lpstr>Arial</vt:lpstr>
      <vt:lpstr>Calibri</vt:lpstr>
      <vt:lpstr>Garamond</vt:lpstr>
      <vt:lpstr>Times New Roman</vt:lpstr>
      <vt:lpstr>Organic</vt:lpstr>
      <vt:lpstr>think-cell Slide</vt:lpstr>
      <vt:lpstr>   </vt:lpstr>
      <vt:lpstr>NIGERIA</vt:lpstr>
      <vt:lpstr> SURE-P—SUbsidy Reinvestment and Empowerment Programme </vt:lpstr>
      <vt:lpstr>    PROGRAMME COMPONENTS</vt:lpstr>
      <vt:lpstr>PROGRAMME STRUCTURE</vt:lpstr>
      <vt:lpstr>PROGRAMME STRUCTURE</vt:lpstr>
      <vt:lpstr>METHODS</vt:lpstr>
      <vt:lpstr>PROGRAMME THEORIES</vt:lpstr>
      <vt:lpstr>EXPERIENCES DIFFERED</vt:lpstr>
      <vt:lpstr>POSITIVE EXPERIENCES..</vt:lpstr>
      <vt:lpstr>POSITIVE EXPERIENCES..</vt:lpstr>
      <vt:lpstr>PowerPoint Presentation</vt:lpstr>
      <vt:lpstr>NOT SO POSITIVE…..</vt:lpstr>
      <vt:lpstr>NOT SO POSITIVE….. </vt:lpstr>
      <vt:lpstr>NOT SO POSITIVE….. </vt:lpstr>
      <vt:lpstr>CONTROL CLUSTER </vt:lpstr>
      <vt:lpstr>KEY MESSAG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LTH SYSTEMS GLOBAL SYMPOSIUM LIVERPOOL, UNITED KINGDOM OCTOBER 8-12, 2018</dc:title>
  <dc:creator>Enyi Etiaba</dc:creator>
  <cp:lastModifiedBy>HP</cp:lastModifiedBy>
  <cp:revision>60</cp:revision>
  <dcterms:created xsi:type="dcterms:W3CDTF">2018-09-23T04:36:45Z</dcterms:created>
  <dcterms:modified xsi:type="dcterms:W3CDTF">2019-03-13T09:04:38Z</dcterms:modified>
</cp:coreProperties>
</file>